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8.xml" ContentType="application/vnd.openxmlformats-officedocument.presentationml.tags+xml"/>
  <Override PartName="/ppt/notesSlides/notesSlide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40"/>
  </p:notesMasterIdLst>
  <p:handoutMasterIdLst>
    <p:handoutMasterId r:id="rId41"/>
  </p:handoutMasterIdLst>
  <p:sldIdLst>
    <p:sldId id="256" r:id="rId5"/>
    <p:sldId id="2145706529" r:id="rId6"/>
    <p:sldId id="437" r:id="rId7"/>
    <p:sldId id="259" r:id="rId8"/>
    <p:sldId id="2147472876" r:id="rId9"/>
    <p:sldId id="4752" r:id="rId10"/>
    <p:sldId id="2145706518" r:id="rId11"/>
    <p:sldId id="2147472973" r:id="rId12"/>
    <p:sldId id="2145706520" r:id="rId13"/>
    <p:sldId id="2147472996" r:id="rId14"/>
    <p:sldId id="2147473005" r:id="rId15"/>
    <p:sldId id="2145706521" r:id="rId16"/>
    <p:sldId id="2147472970" r:id="rId17"/>
    <p:sldId id="2147472999" r:id="rId18"/>
    <p:sldId id="2147473001" r:id="rId19"/>
    <p:sldId id="2147473002" r:id="rId20"/>
    <p:sldId id="2147473011" r:id="rId21"/>
    <p:sldId id="2147473003" r:id="rId22"/>
    <p:sldId id="2147473004" r:id="rId23"/>
    <p:sldId id="2147473026" r:id="rId24"/>
    <p:sldId id="2147473007" r:id="rId25"/>
    <p:sldId id="2147473027" r:id="rId26"/>
    <p:sldId id="332" r:id="rId27"/>
    <p:sldId id="2147473015" r:id="rId28"/>
    <p:sldId id="334" r:id="rId29"/>
    <p:sldId id="338" r:id="rId30"/>
    <p:sldId id="2147473029" r:id="rId31"/>
    <p:sldId id="2147473022" r:id="rId32"/>
    <p:sldId id="2147473023" r:id="rId33"/>
    <p:sldId id="2145706519" r:id="rId34"/>
    <p:sldId id="2147473024" r:id="rId35"/>
    <p:sldId id="258" r:id="rId36"/>
    <p:sldId id="257" r:id="rId37"/>
    <p:sldId id="393" r:id="rId38"/>
    <p:sldId id="395" r:id="rId39"/>
  </p:sldIdLst>
  <p:sldSz cx="12192000" cy="6858000"/>
  <p:notesSz cx="7010400" cy="9296400"/>
  <p:defaultTextStyle>
    <a:defPPr>
      <a:defRPr lang="de-DE"/>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4CA1225-4A23-0420-2C19-96E78E14BCD3}" name="Kremser, Sven" initials="SK" userId="S::Sven.Kremser@altana.com::65c36d3a-0a75-4cf7-987a-897a48cbf40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nes" initials="I" lastIdx="1" clrIdx="0">
    <p:extLst>
      <p:ext uri="{19B8F6BF-5375-455C-9EA6-DF929625EA0E}">
        <p15:presenceInfo xmlns:p15="http://schemas.microsoft.com/office/powerpoint/2012/main" userId="Ines" providerId="None"/>
      </p:ext>
    </p:extLst>
  </p:cmAuthor>
  <p:cmAuthor id="2" name="Robertz, Bettina" initials="RB" lastIdx="2" clrIdx="1">
    <p:extLst>
      <p:ext uri="{19B8F6BF-5375-455C-9EA6-DF929625EA0E}">
        <p15:presenceInfo xmlns:p15="http://schemas.microsoft.com/office/powerpoint/2012/main" userId="S::Bettina.Robertz@altana.com::02f1d0c0-f65e-4917-965c-93a14dc66c75" providerId="AD"/>
      </p:ext>
    </p:extLst>
  </p:cmAuthor>
  <p:cmAuthor id="3" name="Kremser, Sven" initials="KS" lastIdx="1" clrIdx="2">
    <p:extLst>
      <p:ext uri="{19B8F6BF-5375-455C-9EA6-DF929625EA0E}">
        <p15:presenceInfo xmlns:p15="http://schemas.microsoft.com/office/powerpoint/2012/main" userId="S::sven.kremser@altana.com::65c36d3a-0a75-4cf7-987a-897a48cbf4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FBE3"/>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971" autoAdjust="0"/>
    <p:restoredTop sz="94627" autoAdjust="0"/>
  </p:normalViewPr>
  <p:slideViewPr>
    <p:cSldViewPr showGuides="1">
      <p:cViewPr varScale="1">
        <p:scale>
          <a:sx n="112" d="100"/>
          <a:sy n="112" d="100"/>
        </p:scale>
        <p:origin x="1146" y="96"/>
      </p:cViewPr>
      <p:guideLst/>
    </p:cSldViewPr>
  </p:slideViewPr>
  <p:outlineViewPr>
    <p:cViewPr>
      <p:scale>
        <a:sx n="33" d="100"/>
        <a:sy n="33" d="100"/>
      </p:scale>
      <p:origin x="0" y="26154"/>
    </p:cViewPr>
  </p:outlineViewPr>
  <p:notesTextViewPr>
    <p:cViewPr>
      <p:scale>
        <a:sx n="3" d="2"/>
        <a:sy n="3" d="2"/>
      </p:scale>
      <p:origin x="0" y="0"/>
    </p:cViewPr>
  </p:notesTextViewPr>
  <p:sorterViewPr>
    <p:cViewPr>
      <p:scale>
        <a:sx n="66" d="100"/>
        <a:sy n="66" d="100"/>
      </p:scale>
      <p:origin x="0" y="0"/>
    </p:cViewPr>
  </p:sorterViewPr>
  <p:notesViewPr>
    <p:cSldViewPr showGuides="1">
      <p:cViewPr varScale="1">
        <p:scale>
          <a:sx n="99" d="100"/>
          <a:sy n="99" d="100"/>
        </p:scale>
        <p:origin x="-3528" y="-96"/>
      </p:cViewPr>
      <p:guideLst>
        <p:guide orient="horz" pos="2928"/>
        <p:guide pos="220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a:t>Gloss 60/85</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F$29</c:f>
              <c:strCache>
                <c:ptCount val="1"/>
                <c:pt idx="0">
                  <c:v>60 Gloss</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E$30:$E$37</c:f>
              <c:strCache>
                <c:ptCount val="8"/>
                <c:pt idx="0">
                  <c:v>BYK-Leveling Additive</c:v>
                </c:pt>
                <c:pt idx="1">
                  <c:v>PTFE-Additive</c:v>
                </c:pt>
                <c:pt idx="2">
                  <c:v>ORGANOCLAY-C (HY)</c:v>
                </c:pt>
                <c:pt idx="3">
                  <c:v>ORGANOCLAY-C (40)</c:v>
                </c:pt>
                <c:pt idx="4">
                  <c:v>ORGANOCLAY-G (7305)</c:v>
                </c:pt>
                <c:pt idx="5">
                  <c:v>ORGANOCLAY-G (1958)</c:v>
                </c:pt>
                <c:pt idx="6">
                  <c:v>CLAY-HY/GA-7305(2%/2%)</c:v>
                </c:pt>
                <c:pt idx="7">
                  <c:v>CLAY-HY/GA-7305/HDPE(1%)</c:v>
                </c:pt>
              </c:strCache>
            </c:strRef>
          </c:cat>
          <c:val>
            <c:numRef>
              <c:f>Sheet1!$F$30:$F$37</c:f>
              <c:numCache>
                <c:formatCode>General</c:formatCode>
                <c:ptCount val="8"/>
                <c:pt idx="0">
                  <c:v>76.2</c:v>
                </c:pt>
                <c:pt idx="1">
                  <c:v>1.9</c:v>
                </c:pt>
                <c:pt idx="2">
                  <c:v>2</c:v>
                </c:pt>
                <c:pt idx="3">
                  <c:v>2.1</c:v>
                </c:pt>
                <c:pt idx="4">
                  <c:v>11</c:v>
                </c:pt>
                <c:pt idx="5">
                  <c:v>9.1</c:v>
                </c:pt>
                <c:pt idx="6">
                  <c:v>2.2999999999999998</c:v>
                </c:pt>
                <c:pt idx="7">
                  <c:v>1.2</c:v>
                </c:pt>
              </c:numCache>
            </c:numRef>
          </c:val>
          <c:extLst>
            <c:ext xmlns:c16="http://schemas.microsoft.com/office/drawing/2014/chart" uri="{C3380CC4-5D6E-409C-BE32-E72D297353CC}">
              <c16:uniqueId val="{00000000-6325-447A-816B-DD94881C6406}"/>
            </c:ext>
          </c:extLst>
        </c:ser>
        <c:ser>
          <c:idx val="1"/>
          <c:order val="1"/>
          <c:tx>
            <c:strRef>
              <c:f>Sheet1!$G$29</c:f>
              <c:strCache>
                <c:ptCount val="1"/>
                <c:pt idx="0">
                  <c:v>85 Gloss </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E$30:$E$37</c:f>
              <c:strCache>
                <c:ptCount val="8"/>
                <c:pt idx="0">
                  <c:v>BYK-Leveling Additive</c:v>
                </c:pt>
                <c:pt idx="1">
                  <c:v>PTFE-Additive</c:v>
                </c:pt>
                <c:pt idx="2">
                  <c:v>ORGANOCLAY-C (HY)</c:v>
                </c:pt>
                <c:pt idx="3">
                  <c:v>ORGANOCLAY-C (40)</c:v>
                </c:pt>
                <c:pt idx="4">
                  <c:v>ORGANOCLAY-G (7305)</c:v>
                </c:pt>
                <c:pt idx="5">
                  <c:v>ORGANOCLAY-G (1958)</c:v>
                </c:pt>
                <c:pt idx="6">
                  <c:v>CLAY-HY/GA-7305(2%/2%)</c:v>
                </c:pt>
                <c:pt idx="7">
                  <c:v>CLAY-HY/GA-7305/HDPE(1%)</c:v>
                </c:pt>
              </c:strCache>
            </c:strRef>
          </c:cat>
          <c:val>
            <c:numRef>
              <c:f>Sheet1!$G$30:$G$37</c:f>
              <c:numCache>
                <c:formatCode>General</c:formatCode>
                <c:ptCount val="8"/>
                <c:pt idx="0">
                  <c:v>91.5</c:v>
                </c:pt>
                <c:pt idx="1">
                  <c:v>1.5</c:v>
                </c:pt>
                <c:pt idx="2">
                  <c:v>2.6</c:v>
                </c:pt>
                <c:pt idx="3">
                  <c:v>2.7</c:v>
                </c:pt>
                <c:pt idx="4">
                  <c:v>14.1</c:v>
                </c:pt>
                <c:pt idx="5">
                  <c:v>11.7</c:v>
                </c:pt>
                <c:pt idx="6">
                  <c:v>2.6</c:v>
                </c:pt>
                <c:pt idx="7">
                  <c:v>1.1000000000000001</c:v>
                </c:pt>
              </c:numCache>
            </c:numRef>
          </c:val>
          <c:extLst>
            <c:ext xmlns:c16="http://schemas.microsoft.com/office/drawing/2014/chart" uri="{C3380CC4-5D6E-409C-BE32-E72D297353CC}">
              <c16:uniqueId val="{00000001-6325-447A-816B-DD94881C6406}"/>
            </c:ext>
          </c:extLst>
        </c:ser>
        <c:dLbls>
          <c:showLegendKey val="0"/>
          <c:showVal val="0"/>
          <c:showCatName val="0"/>
          <c:showSerName val="0"/>
          <c:showPercent val="0"/>
          <c:showBubbleSize val="0"/>
        </c:dLbls>
        <c:gapWidth val="100"/>
        <c:overlap val="-24"/>
        <c:axId val="780656688"/>
        <c:axId val="780655248"/>
      </c:barChart>
      <c:catAx>
        <c:axId val="780656688"/>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0655248"/>
        <c:crosses val="autoZero"/>
        <c:auto val="1"/>
        <c:lblAlgn val="ctr"/>
        <c:lblOffset val="100"/>
        <c:noMultiLvlLbl val="0"/>
      </c:catAx>
      <c:valAx>
        <c:axId val="780655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06566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US"/>
              <a:t>Incline Pill Flow </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Pt>
            <c:idx val="1"/>
            <c:invertIfNegative val="0"/>
            <c:bubble3D val="0"/>
            <c:spPr>
              <a:solidFill>
                <a:srgbClr val="92D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1-072B-49D2-93C0-7B33A9D1182F}"/>
              </c:ext>
            </c:extLst>
          </c:dPt>
          <c:cat>
            <c:strRef>
              <c:f>'[Chart in Microsoft PowerPoint]Sheet1'!$E$16:$E$23</c:f>
              <c:strCache>
                <c:ptCount val="8"/>
                <c:pt idx="0">
                  <c:v>BYK-Leveling Additive</c:v>
                </c:pt>
                <c:pt idx="1">
                  <c:v>PTFE-Additive</c:v>
                </c:pt>
                <c:pt idx="2">
                  <c:v>ORGANOCLAY-C (HY)</c:v>
                </c:pt>
                <c:pt idx="3">
                  <c:v>ORGANOCLAY-C (40)</c:v>
                </c:pt>
                <c:pt idx="4">
                  <c:v>ORGANOCLAY-G (7305)</c:v>
                </c:pt>
                <c:pt idx="5">
                  <c:v>ORGANOCLAY-G (1958)</c:v>
                </c:pt>
                <c:pt idx="6">
                  <c:v>CLAY-HY/GA-7305(2%/2%)</c:v>
                </c:pt>
                <c:pt idx="7">
                  <c:v>CLAY-HY/GA-7305/HDPE(1%)</c:v>
                </c:pt>
              </c:strCache>
            </c:strRef>
          </c:cat>
          <c:val>
            <c:numRef>
              <c:f>'[Chart in Microsoft PowerPoint]Sheet1'!$F$16:$F$23</c:f>
              <c:numCache>
                <c:formatCode>General</c:formatCode>
                <c:ptCount val="8"/>
                <c:pt idx="0">
                  <c:v>1.4</c:v>
                </c:pt>
                <c:pt idx="1">
                  <c:v>0.5</c:v>
                </c:pt>
                <c:pt idx="2">
                  <c:v>0.5</c:v>
                </c:pt>
                <c:pt idx="3">
                  <c:v>0.55000000000000004</c:v>
                </c:pt>
                <c:pt idx="4">
                  <c:v>0.55000000000000004</c:v>
                </c:pt>
                <c:pt idx="5">
                  <c:v>0.4</c:v>
                </c:pt>
                <c:pt idx="6">
                  <c:v>0.3</c:v>
                </c:pt>
                <c:pt idx="7">
                  <c:v>0.2</c:v>
                </c:pt>
              </c:numCache>
            </c:numRef>
          </c:val>
          <c:extLst>
            <c:ext xmlns:c16="http://schemas.microsoft.com/office/drawing/2014/chart" uri="{C3380CC4-5D6E-409C-BE32-E72D297353CC}">
              <c16:uniqueId val="{00000000-072B-49D2-93C0-7B33A9D1182F}"/>
            </c:ext>
          </c:extLst>
        </c:ser>
        <c:dLbls>
          <c:showLegendKey val="0"/>
          <c:showVal val="0"/>
          <c:showCatName val="0"/>
          <c:showSerName val="0"/>
          <c:showPercent val="0"/>
          <c:showBubbleSize val="0"/>
        </c:dLbls>
        <c:gapWidth val="100"/>
        <c:overlap val="-24"/>
        <c:axId val="473961944"/>
        <c:axId val="473962304"/>
      </c:barChart>
      <c:catAx>
        <c:axId val="47396194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3962304"/>
        <c:crosses val="autoZero"/>
        <c:auto val="1"/>
        <c:lblAlgn val="ctr"/>
        <c:lblOffset val="100"/>
        <c:noMultiLvlLbl val="0"/>
      </c:catAx>
      <c:valAx>
        <c:axId val="4739623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39619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_rels/data5.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_rels/data6.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sv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2.sv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svg"/><Relationship Id="rId4" Type="http://schemas.openxmlformats.org/officeDocument/2006/relationships/image" Target="../media/image50.svg"/><Relationship Id="rId9" Type="http://schemas.openxmlformats.org/officeDocument/2006/relationships/image" Target="../media/image55.png"/><Relationship Id="rId14" Type="http://schemas.openxmlformats.org/officeDocument/2006/relationships/image" Target="../media/image60.svg"/></Relationships>
</file>

<file path=ppt/diagrams/_rels/drawing5.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_rels/drawing6.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sv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2.sv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svg"/><Relationship Id="rId4" Type="http://schemas.openxmlformats.org/officeDocument/2006/relationships/image" Target="../media/image50.svg"/><Relationship Id="rId9" Type="http://schemas.openxmlformats.org/officeDocument/2006/relationships/image" Target="../media/image55.png"/><Relationship Id="rId14" Type="http://schemas.openxmlformats.org/officeDocument/2006/relationships/image" Target="../media/image60.sv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495073-B86B-4171-9B78-AC617EB9E95A}" type="doc">
      <dgm:prSet loTypeId="urn:microsoft.com/office/officeart/2008/layout/LinedList" loCatId="list" qsTypeId="urn:microsoft.com/office/officeart/2005/8/quickstyle/simple2" qsCatId="simple" csTypeId="urn:microsoft.com/office/officeart/2005/8/colors/accent3_2" csCatId="accent3" phldr="1"/>
      <dgm:spPr/>
      <dgm:t>
        <a:bodyPr/>
        <a:lstStyle/>
        <a:p>
          <a:endParaRPr lang="en-US"/>
        </a:p>
      </dgm:t>
    </dgm:pt>
    <dgm:pt modelId="{519E48E9-9732-4321-BE95-59EB19491659}">
      <dgm:prSet/>
      <dgm:spPr/>
      <dgm:t>
        <a:bodyPr/>
        <a:lstStyle/>
        <a:p>
          <a:r>
            <a:rPr lang="en-US"/>
            <a:t>Regulatory Pressures and PFAS concerns</a:t>
          </a:r>
        </a:p>
      </dgm:t>
    </dgm:pt>
    <dgm:pt modelId="{EEFF642A-6876-4B1B-BC31-BEC5172308ED}" type="parTrans" cxnId="{4D9E790B-69D3-430D-BB84-6C30E1C0E928}">
      <dgm:prSet/>
      <dgm:spPr/>
      <dgm:t>
        <a:bodyPr/>
        <a:lstStyle/>
        <a:p>
          <a:endParaRPr lang="en-US"/>
        </a:p>
      </dgm:t>
    </dgm:pt>
    <dgm:pt modelId="{75914728-CB5F-45FD-97EA-A7431E89E369}" type="sibTrans" cxnId="{4D9E790B-69D3-430D-BB84-6C30E1C0E928}">
      <dgm:prSet/>
      <dgm:spPr/>
      <dgm:t>
        <a:bodyPr/>
        <a:lstStyle/>
        <a:p>
          <a:endParaRPr lang="en-US"/>
        </a:p>
      </dgm:t>
    </dgm:pt>
    <dgm:pt modelId="{E02B5F11-549F-4799-9890-5F953B499BCF}">
      <dgm:prSet/>
      <dgm:spPr/>
      <dgm:t>
        <a:bodyPr/>
        <a:lstStyle/>
        <a:p>
          <a:r>
            <a:rPr lang="en-US"/>
            <a:t>Functional Role of PTFE in Powder Coatings</a:t>
          </a:r>
        </a:p>
      </dgm:t>
    </dgm:pt>
    <dgm:pt modelId="{9BCAEFB7-BE49-4341-9E2E-B1FF1D2723D6}" type="parTrans" cxnId="{F537DB3E-66AA-47CD-B9FD-1BD8951D8620}">
      <dgm:prSet/>
      <dgm:spPr/>
      <dgm:t>
        <a:bodyPr/>
        <a:lstStyle/>
        <a:p>
          <a:endParaRPr lang="en-US"/>
        </a:p>
      </dgm:t>
    </dgm:pt>
    <dgm:pt modelId="{D49B47CE-BA8B-4963-9738-B264410CD98B}" type="sibTrans" cxnId="{F537DB3E-66AA-47CD-B9FD-1BD8951D8620}">
      <dgm:prSet/>
      <dgm:spPr/>
      <dgm:t>
        <a:bodyPr/>
        <a:lstStyle/>
        <a:p>
          <a:endParaRPr lang="en-US"/>
        </a:p>
      </dgm:t>
    </dgm:pt>
    <dgm:pt modelId="{5B38CBE9-619D-4728-B6F6-40CB63751061}">
      <dgm:prSet/>
      <dgm:spPr/>
      <dgm:t>
        <a:bodyPr/>
        <a:lstStyle/>
        <a:p>
          <a:r>
            <a:rPr lang="en-US"/>
            <a:t>PTFE-Free Alternatives (race to the finish line)</a:t>
          </a:r>
        </a:p>
      </dgm:t>
    </dgm:pt>
    <dgm:pt modelId="{2260DB19-6E16-4305-B396-B301202190D7}" type="parTrans" cxnId="{D86DF37B-C45A-4FF1-AE12-A48FF3EAFE85}">
      <dgm:prSet/>
      <dgm:spPr/>
      <dgm:t>
        <a:bodyPr/>
        <a:lstStyle/>
        <a:p>
          <a:endParaRPr lang="en-US"/>
        </a:p>
      </dgm:t>
    </dgm:pt>
    <dgm:pt modelId="{66C0D1C8-1059-44C0-8D1F-49E7CAD19C93}" type="sibTrans" cxnId="{D86DF37B-C45A-4FF1-AE12-A48FF3EAFE85}">
      <dgm:prSet/>
      <dgm:spPr/>
      <dgm:t>
        <a:bodyPr/>
        <a:lstStyle/>
        <a:p>
          <a:endParaRPr lang="en-US"/>
        </a:p>
      </dgm:t>
    </dgm:pt>
    <dgm:pt modelId="{848205B8-0A30-42D9-B5E6-7BC926949C18}">
      <dgm:prSet/>
      <dgm:spPr/>
      <dgm:t>
        <a:bodyPr/>
        <a:lstStyle/>
        <a:p>
          <a:r>
            <a:rPr lang="en-US"/>
            <a:t>Formulation Strategies for PTFE-Free Powder Coatings</a:t>
          </a:r>
        </a:p>
      </dgm:t>
    </dgm:pt>
    <dgm:pt modelId="{59176EE5-9640-458F-B825-C6D40B7305CA}" type="parTrans" cxnId="{8F9B31E4-8C32-4BFF-BDD6-747345F41439}">
      <dgm:prSet/>
      <dgm:spPr/>
      <dgm:t>
        <a:bodyPr/>
        <a:lstStyle/>
        <a:p>
          <a:endParaRPr lang="en-US"/>
        </a:p>
      </dgm:t>
    </dgm:pt>
    <dgm:pt modelId="{731AE2CE-26AB-4CBB-A2FC-7787ECB62C9D}" type="sibTrans" cxnId="{8F9B31E4-8C32-4BFF-BDD6-747345F41439}">
      <dgm:prSet/>
      <dgm:spPr/>
      <dgm:t>
        <a:bodyPr/>
        <a:lstStyle/>
        <a:p>
          <a:endParaRPr lang="en-US"/>
        </a:p>
      </dgm:t>
    </dgm:pt>
    <dgm:pt modelId="{8D175794-41DA-43DE-9AA0-4C0A7C564D27}">
      <dgm:prSet/>
      <dgm:spPr/>
      <dgm:t>
        <a:bodyPr/>
        <a:lstStyle/>
        <a:p>
          <a:r>
            <a:rPr lang="en-US" dirty="0"/>
            <a:t>Case Study – Texture Effects</a:t>
          </a:r>
        </a:p>
      </dgm:t>
    </dgm:pt>
    <dgm:pt modelId="{E17C868F-E86C-420B-875B-154DF2CBDCCA}" type="parTrans" cxnId="{64BB6321-ED4C-4BEF-AC84-FB9625BA1D59}">
      <dgm:prSet/>
      <dgm:spPr/>
      <dgm:t>
        <a:bodyPr/>
        <a:lstStyle/>
        <a:p>
          <a:endParaRPr lang="en-US"/>
        </a:p>
      </dgm:t>
    </dgm:pt>
    <dgm:pt modelId="{D8B8F3EA-4A71-4ADF-9892-1370228C822A}" type="sibTrans" cxnId="{64BB6321-ED4C-4BEF-AC84-FB9625BA1D59}">
      <dgm:prSet/>
      <dgm:spPr/>
      <dgm:t>
        <a:bodyPr/>
        <a:lstStyle/>
        <a:p>
          <a:endParaRPr lang="en-US"/>
        </a:p>
      </dgm:t>
    </dgm:pt>
    <dgm:pt modelId="{8ABA2A88-B8BC-4AEC-A6CA-04661182BA4E}">
      <dgm:prSet/>
      <dgm:spPr/>
      <dgm:t>
        <a:bodyPr/>
        <a:lstStyle/>
        <a:p>
          <a:r>
            <a:rPr lang="en-US"/>
            <a:t>Durability Evaluation/ Tests</a:t>
          </a:r>
        </a:p>
      </dgm:t>
    </dgm:pt>
    <dgm:pt modelId="{54F40121-1B2C-4C93-99C3-5315C515084E}" type="parTrans" cxnId="{7B8EF214-C0C2-41B3-887A-6A910B3AB4D0}">
      <dgm:prSet/>
      <dgm:spPr/>
      <dgm:t>
        <a:bodyPr/>
        <a:lstStyle/>
        <a:p>
          <a:endParaRPr lang="en-US"/>
        </a:p>
      </dgm:t>
    </dgm:pt>
    <dgm:pt modelId="{D4A3B77C-E33A-426D-A6EF-8B056BC149B1}" type="sibTrans" cxnId="{7B8EF214-C0C2-41B3-887A-6A910B3AB4D0}">
      <dgm:prSet/>
      <dgm:spPr/>
      <dgm:t>
        <a:bodyPr/>
        <a:lstStyle/>
        <a:p>
          <a:endParaRPr lang="en-US"/>
        </a:p>
      </dgm:t>
    </dgm:pt>
    <dgm:pt modelId="{62F9E625-E6CF-4C8D-95BA-C5843CBDEF01}">
      <dgm:prSet/>
      <dgm:spPr/>
      <dgm:t>
        <a:bodyPr/>
        <a:lstStyle/>
        <a:p>
          <a:r>
            <a:rPr lang="en-US"/>
            <a:t>Outlook</a:t>
          </a:r>
        </a:p>
      </dgm:t>
    </dgm:pt>
    <dgm:pt modelId="{1536916D-EC1B-4657-902E-AAE4DDB5CEDA}" type="parTrans" cxnId="{0D16C0F3-DF86-4333-9301-E15CFC0872AD}">
      <dgm:prSet/>
      <dgm:spPr/>
      <dgm:t>
        <a:bodyPr/>
        <a:lstStyle/>
        <a:p>
          <a:endParaRPr lang="en-US"/>
        </a:p>
      </dgm:t>
    </dgm:pt>
    <dgm:pt modelId="{9C2C302A-5340-4A95-8E04-05BDAC175A0A}" type="sibTrans" cxnId="{0D16C0F3-DF86-4333-9301-E15CFC0872AD}">
      <dgm:prSet/>
      <dgm:spPr/>
      <dgm:t>
        <a:bodyPr/>
        <a:lstStyle/>
        <a:p>
          <a:endParaRPr lang="en-US"/>
        </a:p>
      </dgm:t>
    </dgm:pt>
    <dgm:pt modelId="{FE02C7FE-0711-4B93-8E95-B0768333AD23}">
      <dgm:prSet/>
      <dgm:spPr/>
      <dgm:t>
        <a:bodyPr/>
        <a:lstStyle/>
        <a:p>
          <a:r>
            <a:rPr lang="en-US"/>
            <a:t>Summary and Conclusion</a:t>
          </a:r>
        </a:p>
      </dgm:t>
    </dgm:pt>
    <dgm:pt modelId="{285BCD86-B73A-4F71-8891-52A13EE778D6}" type="parTrans" cxnId="{8B0D92DC-B865-44CA-888A-0CCEB00C3193}">
      <dgm:prSet/>
      <dgm:spPr/>
      <dgm:t>
        <a:bodyPr/>
        <a:lstStyle/>
        <a:p>
          <a:endParaRPr lang="en-US"/>
        </a:p>
      </dgm:t>
    </dgm:pt>
    <dgm:pt modelId="{501A617C-16DD-4E22-A22E-44BA76544D20}" type="sibTrans" cxnId="{8B0D92DC-B865-44CA-888A-0CCEB00C3193}">
      <dgm:prSet/>
      <dgm:spPr/>
      <dgm:t>
        <a:bodyPr/>
        <a:lstStyle/>
        <a:p>
          <a:endParaRPr lang="en-US"/>
        </a:p>
      </dgm:t>
    </dgm:pt>
    <dgm:pt modelId="{CD816DD2-3AEF-4382-ABD9-840EF6A8D267}" type="pres">
      <dgm:prSet presAssocID="{EA495073-B86B-4171-9B78-AC617EB9E95A}" presName="vert0" presStyleCnt="0">
        <dgm:presLayoutVars>
          <dgm:dir/>
          <dgm:animOne val="branch"/>
          <dgm:animLvl val="lvl"/>
        </dgm:presLayoutVars>
      </dgm:prSet>
      <dgm:spPr/>
    </dgm:pt>
    <dgm:pt modelId="{F6AE3445-2033-4AF2-9655-A746946891D2}" type="pres">
      <dgm:prSet presAssocID="{519E48E9-9732-4321-BE95-59EB19491659}" presName="thickLine" presStyleLbl="alignNode1" presStyleIdx="0" presStyleCnt="8"/>
      <dgm:spPr/>
    </dgm:pt>
    <dgm:pt modelId="{B7152D58-AE15-42C4-9AAB-F1B9A8C7F807}" type="pres">
      <dgm:prSet presAssocID="{519E48E9-9732-4321-BE95-59EB19491659}" presName="horz1" presStyleCnt="0"/>
      <dgm:spPr/>
    </dgm:pt>
    <dgm:pt modelId="{ECE72C43-CFF5-456D-B9EC-041493BB7A99}" type="pres">
      <dgm:prSet presAssocID="{519E48E9-9732-4321-BE95-59EB19491659}" presName="tx1" presStyleLbl="revTx" presStyleIdx="0" presStyleCnt="8"/>
      <dgm:spPr/>
    </dgm:pt>
    <dgm:pt modelId="{A165F4C1-B836-4EBA-85CE-6F71E108388B}" type="pres">
      <dgm:prSet presAssocID="{519E48E9-9732-4321-BE95-59EB19491659}" presName="vert1" presStyleCnt="0"/>
      <dgm:spPr/>
    </dgm:pt>
    <dgm:pt modelId="{57C78333-AF1B-49AE-B4A2-F83763128AA7}" type="pres">
      <dgm:prSet presAssocID="{E02B5F11-549F-4799-9890-5F953B499BCF}" presName="thickLine" presStyleLbl="alignNode1" presStyleIdx="1" presStyleCnt="8"/>
      <dgm:spPr/>
    </dgm:pt>
    <dgm:pt modelId="{E0AFC380-56EA-46AE-AF17-CFAA282DC8DB}" type="pres">
      <dgm:prSet presAssocID="{E02B5F11-549F-4799-9890-5F953B499BCF}" presName="horz1" presStyleCnt="0"/>
      <dgm:spPr/>
    </dgm:pt>
    <dgm:pt modelId="{B0F99F8F-71A3-4AA1-84E3-1257C9EF4CCE}" type="pres">
      <dgm:prSet presAssocID="{E02B5F11-549F-4799-9890-5F953B499BCF}" presName="tx1" presStyleLbl="revTx" presStyleIdx="1" presStyleCnt="8"/>
      <dgm:spPr/>
    </dgm:pt>
    <dgm:pt modelId="{D0578159-78F5-4509-BC9A-774DDA290276}" type="pres">
      <dgm:prSet presAssocID="{E02B5F11-549F-4799-9890-5F953B499BCF}" presName="vert1" presStyleCnt="0"/>
      <dgm:spPr/>
    </dgm:pt>
    <dgm:pt modelId="{3007CDB7-6319-4964-A9B5-339BB330A428}" type="pres">
      <dgm:prSet presAssocID="{5B38CBE9-619D-4728-B6F6-40CB63751061}" presName="thickLine" presStyleLbl="alignNode1" presStyleIdx="2" presStyleCnt="8"/>
      <dgm:spPr/>
    </dgm:pt>
    <dgm:pt modelId="{29076748-BD83-4DA9-91EE-DD05C8934C1B}" type="pres">
      <dgm:prSet presAssocID="{5B38CBE9-619D-4728-B6F6-40CB63751061}" presName="horz1" presStyleCnt="0"/>
      <dgm:spPr/>
    </dgm:pt>
    <dgm:pt modelId="{17650C84-D2FB-47A3-91DE-75FA4AAA90CA}" type="pres">
      <dgm:prSet presAssocID="{5B38CBE9-619D-4728-B6F6-40CB63751061}" presName="tx1" presStyleLbl="revTx" presStyleIdx="2" presStyleCnt="8"/>
      <dgm:spPr/>
    </dgm:pt>
    <dgm:pt modelId="{9F0634A4-9E2B-4002-9DF9-61D42C936D1D}" type="pres">
      <dgm:prSet presAssocID="{5B38CBE9-619D-4728-B6F6-40CB63751061}" presName="vert1" presStyleCnt="0"/>
      <dgm:spPr/>
    </dgm:pt>
    <dgm:pt modelId="{8D260BEA-0457-4658-8DF8-83D680A0EFAC}" type="pres">
      <dgm:prSet presAssocID="{848205B8-0A30-42D9-B5E6-7BC926949C18}" presName="thickLine" presStyleLbl="alignNode1" presStyleIdx="3" presStyleCnt="8"/>
      <dgm:spPr/>
    </dgm:pt>
    <dgm:pt modelId="{D1422D28-7344-4ED1-9563-97D1CAFA832A}" type="pres">
      <dgm:prSet presAssocID="{848205B8-0A30-42D9-B5E6-7BC926949C18}" presName="horz1" presStyleCnt="0"/>
      <dgm:spPr/>
    </dgm:pt>
    <dgm:pt modelId="{8390D50E-9B9F-40BE-9391-257DA49A125B}" type="pres">
      <dgm:prSet presAssocID="{848205B8-0A30-42D9-B5E6-7BC926949C18}" presName="tx1" presStyleLbl="revTx" presStyleIdx="3" presStyleCnt="8"/>
      <dgm:spPr/>
    </dgm:pt>
    <dgm:pt modelId="{B8B0233D-659F-4B24-B4C4-106D17C54DA7}" type="pres">
      <dgm:prSet presAssocID="{848205B8-0A30-42D9-B5E6-7BC926949C18}" presName="vert1" presStyleCnt="0"/>
      <dgm:spPr/>
    </dgm:pt>
    <dgm:pt modelId="{B34C0BE2-741B-478F-91CB-C389118E6202}" type="pres">
      <dgm:prSet presAssocID="{8D175794-41DA-43DE-9AA0-4C0A7C564D27}" presName="thickLine" presStyleLbl="alignNode1" presStyleIdx="4" presStyleCnt="8"/>
      <dgm:spPr/>
    </dgm:pt>
    <dgm:pt modelId="{5922886D-C9F3-441A-AECE-BF032AD11820}" type="pres">
      <dgm:prSet presAssocID="{8D175794-41DA-43DE-9AA0-4C0A7C564D27}" presName="horz1" presStyleCnt="0"/>
      <dgm:spPr/>
    </dgm:pt>
    <dgm:pt modelId="{ABD014F7-9172-4BB2-8A00-7B5E2CD451A5}" type="pres">
      <dgm:prSet presAssocID="{8D175794-41DA-43DE-9AA0-4C0A7C564D27}" presName="tx1" presStyleLbl="revTx" presStyleIdx="4" presStyleCnt="8"/>
      <dgm:spPr/>
    </dgm:pt>
    <dgm:pt modelId="{BA896E01-4095-4391-AE91-CC4FD5DCA9C8}" type="pres">
      <dgm:prSet presAssocID="{8D175794-41DA-43DE-9AA0-4C0A7C564D27}" presName="vert1" presStyleCnt="0"/>
      <dgm:spPr/>
    </dgm:pt>
    <dgm:pt modelId="{D167C5DB-498A-4388-8424-C2D03E7C0842}" type="pres">
      <dgm:prSet presAssocID="{8ABA2A88-B8BC-4AEC-A6CA-04661182BA4E}" presName="thickLine" presStyleLbl="alignNode1" presStyleIdx="5" presStyleCnt="8"/>
      <dgm:spPr/>
    </dgm:pt>
    <dgm:pt modelId="{4129C99E-D1F2-4706-9D12-138BF19988AE}" type="pres">
      <dgm:prSet presAssocID="{8ABA2A88-B8BC-4AEC-A6CA-04661182BA4E}" presName="horz1" presStyleCnt="0"/>
      <dgm:spPr/>
    </dgm:pt>
    <dgm:pt modelId="{41F255D3-FD69-458B-BD75-5D4A76CD8D2D}" type="pres">
      <dgm:prSet presAssocID="{8ABA2A88-B8BC-4AEC-A6CA-04661182BA4E}" presName="tx1" presStyleLbl="revTx" presStyleIdx="5" presStyleCnt="8"/>
      <dgm:spPr/>
    </dgm:pt>
    <dgm:pt modelId="{D944D49C-CE43-41E9-A49C-7A998F911FE7}" type="pres">
      <dgm:prSet presAssocID="{8ABA2A88-B8BC-4AEC-A6CA-04661182BA4E}" presName="vert1" presStyleCnt="0"/>
      <dgm:spPr/>
    </dgm:pt>
    <dgm:pt modelId="{9BE7E402-95A3-400C-953F-CF598CB2C153}" type="pres">
      <dgm:prSet presAssocID="{62F9E625-E6CF-4C8D-95BA-C5843CBDEF01}" presName="thickLine" presStyleLbl="alignNode1" presStyleIdx="6" presStyleCnt="8"/>
      <dgm:spPr/>
    </dgm:pt>
    <dgm:pt modelId="{542B8745-E61F-4527-9282-8949D3DA6BB6}" type="pres">
      <dgm:prSet presAssocID="{62F9E625-E6CF-4C8D-95BA-C5843CBDEF01}" presName="horz1" presStyleCnt="0"/>
      <dgm:spPr/>
    </dgm:pt>
    <dgm:pt modelId="{E5888AF7-775C-4B20-B8C6-33BF94B9F3A2}" type="pres">
      <dgm:prSet presAssocID="{62F9E625-E6CF-4C8D-95BA-C5843CBDEF01}" presName="tx1" presStyleLbl="revTx" presStyleIdx="6" presStyleCnt="8"/>
      <dgm:spPr/>
    </dgm:pt>
    <dgm:pt modelId="{F5E819DB-11EE-4C10-BB14-F879C54A946F}" type="pres">
      <dgm:prSet presAssocID="{62F9E625-E6CF-4C8D-95BA-C5843CBDEF01}" presName="vert1" presStyleCnt="0"/>
      <dgm:spPr/>
    </dgm:pt>
    <dgm:pt modelId="{88369436-EF1F-4941-B7E7-BB01FD015EA5}" type="pres">
      <dgm:prSet presAssocID="{FE02C7FE-0711-4B93-8E95-B0768333AD23}" presName="thickLine" presStyleLbl="alignNode1" presStyleIdx="7" presStyleCnt="8"/>
      <dgm:spPr/>
    </dgm:pt>
    <dgm:pt modelId="{E3DCD9C5-011B-4997-B63F-7B73FAA23B26}" type="pres">
      <dgm:prSet presAssocID="{FE02C7FE-0711-4B93-8E95-B0768333AD23}" presName="horz1" presStyleCnt="0"/>
      <dgm:spPr/>
    </dgm:pt>
    <dgm:pt modelId="{1ECADFD6-8BD9-45BB-A1B2-599AAE8F8FEF}" type="pres">
      <dgm:prSet presAssocID="{FE02C7FE-0711-4B93-8E95-B0768333AD23}" presName="tx1" presStyleLbl="revTx" presStyleIdx="7" presStyleCnt="8"/>
      <dgm:spPr/>
    </dgm:pt>
    <dgm:pt modelId="{ACAB048D-1BD6-47E5-ABC9-0B1AEFD616E2}" type="pres">
      <dgm:prSet presAssocID="{FE02C7FE-0711-4B93-8E95-B0768333AD23}" presName="vert1" presStyleCnt="0"/>
      <dgm:spPr/>
    </dgm:pt>
  </dgm:ptLst>
  <dgm:cxnLst>
    <dgm:cxn modelId="{4D9E790B-69D3-430D-BB84-6C30E1C0E928}" srcId="{EA495073-B86B-4171-9B78-AC617EB9E95A}" destId="{519E48E9-9732-4321-BE95-59EB19491659}" srcOrd="0" destOrd="0" parTransId="{EEFF642A-6876-4B1B-BC31-BEC5172308ED}" sibTransId="{75914728-CB5F-45FD-97EA-A7431E89E369}"/>
    <dgm:cxn modelId="{7B8EF214-C0C2-41B3-887A-6A910B3AB4D0}" srcId="{EA495073-B86B-4171-9B78-AC617EB9E95A}" destId="{8ABA2A88-B8BC-4AEC-A6CA-04661182BA4E}" srcOrd="5" destOrd="0" parTransId="{54F40121-1B2C-4C93-99C3-5315C515084E}" sibTransId="{D4A3B77C-E33A-426D-A6EF-8B056BC149B1}"/>
    <dgm:cxn modelId="{64BB6321-ED4C-4BEF-AC84-FB9625BA1D59}" srcId="{EA495073-B86B-4171-9B78-AC617EB9E95A}" destId="{8D175794-41DA-43DE-9AA0-4C0A7C564D27}" srcOrd="4" destOrd="0" parTransId="{E17C868F-E86C-420B-875B-154DF2CBDCCA}" sibTransId="{D8B8F3EA-4A71-4ADF-9892-1370228C822A}"/>
    <dgm:cxn modelId="{D1DF8323-294F-4C88-BA56-8B6892D780CB}" type="presOf" srcId="{8ABA2A88-B8BC-4AEC-A6CA-04661182BA4E}" destId="{41F255D3-FD69-458B-BD75-5D4A76CD8D2D}" srcOrd="0" destOrd="0" presId="urn:microsoft.com/office/officeart/2008/layout/LinedList"/>
    <dgm:cxn modelId="{F537DB3E-66AA-47CD-B9FD-1BD8951D8620}" srcId="{EA495073-B86B-4171-9B78-AC617EB9E95A}" destId="{E02B5F11-549F-4799-9890-5F953B499BCF}" srcOrd="1" destOrd="0" parTransId="{9BCAEFB7-BE49-4341-9E2E-B1FF1D2723D6}" sibTransId="{D49B47CE-BA8B-4963-9738-B264410CD98B}"/>
    <dgm:cxn modelId="{3CFD4947-CE32-47DD-8739-26E04A7BE49B}" type="presOf" srcId="{EA495073-B86B-4171-9B78-AC617EB9E95A}" destId="{CD816DD2-3AEF-4382-ABD9-840EF6A8D267}" srcOrd="0" destOrd="0" presId="urn:microsoft.com/office/officeart/2008/layout/LinedList"/>
    <dgm:cxn modelId="{D86DF37B-C45A-4FF1-AE12-A48FF3EAFE85}" srcId="{EA495073-B86B-4171-9B78-AC617EB9E95A}" destId="{5B38CBE9-619D-4728-B6F6-40CB63751061}" srcOrd="2" destOrd="0" parTransId="{2260DB19-6E16-4305-B396-B301202190D7}" sibTransId="{66C0D1C8-1059-44C0-8D1F-49E7CAD19C93}"/>
    <dgm:cxn modelId="{442D12BC-71B4-4D27-8D50-494CB9F09708}" type="presOf" srcId="{848205B8-0A30-42D9-B5E6-7BC926949C18}" destId="{8390D50E-9B9F-40BE-9391-257DA49A125B}" srcOrd="0" destOrd="0" presId="urn:microsoft.com/office/officeart/2008/layout/LinedList"/>
    <dgm:cxn modelId="{43FFD3C9-6FC8-481F-A040-E8106C9BD727}" type="presOf" srcId="{62F9E625-E6CF-4C8D-95BA-C5843CBDEF01}" destId="{E5888AF7-775C-4B20-B8C6-33BF94B9F3A2}" srcOrd="0" destOrd="0" presId="urn:microsoft.com/office/officeart/2008/layout/LinedList"/>
    <dgm:cxn modelId="{3EB953CB-44E9-4156-9C6F-E2B573FD34F5}" type="presOf" srcId="{5B38CBE9-619D-4728-B6F6-40CB63751061}" destId="{17650C84-D2FB-47A3-91DE-75FA4AAA90CA}" srcOrd="0" destOrd="0" presId="urn:microsoft.com/office/officeart/2008/layout/LinedList"/>
    <dgm:cxn modelId="{2F2535CC-8316-47D6-9FD5-4FC0726C152E}" type="presOf" srcId="{E02B5F11-549F-4799-9890-5F953B499BCF}" destId="{B0F99F8F-71A3-4AA1-84E3-1257C9EF4CCE}" srcOrd="0" destOrd="0" presId="urn:microsoft.com/office/officeart/2008/layout/LinedList"/>
    <dgm:cxn modelId="{9DD6F0D7-9C31-4F4C-9A2E-60DB6166BBFD}" type="presOf" srcId="{FE02C7FE-0711-4B93-8E95-B0768333AD23}" destId="{1ECADFD6-8BD9-45BB-A1B2-599AAE8F8FEF}" srcOrd="0" destOrd="0" presId="urn:microsoft.com/office/officeart/2008/layout/LinedList"/>
    <dgm:cxn modelId="{8B0D92DC-B865-44CA-888A-0CCEB00C3193}" srcId="{EA495073-B86B-4171-9B78-AC617EB9E95A}" destId="{FE02C7FE-0711-4B93-8E95-B0768333AD23}" srcOrd="7" destOrd="0" parTransId="{285BCD86-B73A-4F71-8891-52A13EE778D6}" sibTransId="{501A617C-16DD-4E22-A22E-44BA76544D20}"/>
    <dgm:cxn modelId="{FEF1C0DD-EDD5-4DF7-ADEA-26342F636F22}" type="presOf" srcId="{8D175794-41DA-43DE-9AA0-4C0A7C564D27}" destId="{ABD014F7-9172-4BB2-8A00-7B5E2CD451A5}" srcOrd="0" destOrd="0" presId="urn:microsoft.com/office/officeart/2008/layout/LinedList"/>
    <dgm:cxn modelId="{8A0ADBE0-598D-4327-956B-508280E6A2ED}" type="presOf" srcId="{519E48E9-9732-4321-BE95-59EB19491659}" destId="{ECE72C43-CFF5-456D-B9EC-041493BB7A99}" srcOrd="0" destOrd="0" presId="urn:microsoft.com/office/officeart/2008/layout/LinedList"/>
    <dgm:cxn modelId="{8F9B31E4-8C32-4BFF-BDD6-747345F41439}" srcId="{EA495073-B86B-4171-9B78-AC617EB9E95A}" destId="{848205B8-0A30-42D9-B5E6-7BC926949C18}" srcOrd="3" destOrd="0" parTransId="{59176EE5-9640-458F-B825-C6D40B7305CA}" sibTransId="{731AE2CE-26AB-4CBB-A2FC-7787ECB62C9D}"/>
    <dgm:cxn modelId="{0D16C0F3-DF86-4333-9301-E15CFC0872AD}" srcId="{EA495073-B86B-4171-9B78-AC617EB9E95A}" destId="{62F9E625-E6CF-4C8D-95BA-C5843CBDEF01}" srcOrd="6" destOrd="0" parTransId="{1536916D-EC1B-4657-902E-AAE4DDB5CEDA}" sibTransId="{9C2C302A-5340-4A95-8E04-05BDAC175A0A}"/>
    <dgm:cxn modelId="{DE5AE8A4-FE73-40D3-A3FB-42C2CE40E320}" type="presParOf" srcId="{CD816DD2-3AEF-4382-ABD9-840EF6A8D267}" destId="{F6AE3445-2033-4AF2-9655-A746946891D2}" srcOrd="0" destOrd="0" presId="urn:microsoft.com/office/officeart/2008/layout/LinedList"/>
    <dgm:cxn modelId="{56375001-601D-46FB-B0CF-4A73033116AA}" type="presParOf" srcId="{CD816DD2-3AEF-4382-ABD9-840EF6A8D267}" destId="{B7152D58-AE15-42C4-9AAB-F1B9A8C7F807}" srcOrd="1" destOrd="0" presId="urn:microsoft.com/office/officeart/2008/layout/LinedList"/>
    <dgm:cxn modelId="{4B352D59-E3E6-4B8E-B3CF-026304ABA86F}" type="presParOf" srcId="{B7152D58-AE15-42C4-9AAB-F1B9A8C7F807}" destId="{ECE72C43-CFF5-456D-B9EC-041493BB7A99}" srcOrd="0" destOrd="0" presId="urn:microsoft.com/office/officeart/2008/layout/LinedList"/>
    <dgm:cxn modelId="{AFFFBAC5-18B1-4419-B097-094570A8057A}" type="presParOf" srcId="{B7152D58-AE15-42C4-9AAB-F1B9A8C7F807}" destId="{A165F4C1-B836-4EBA-85CE-6F71E108388B}" srcOrd="1" destOrd="0" presId="urn:microsoft.com/office/officeart/2008/layout/LinedList"/>
    <dgm:cxn modelId="{6E5C6137-07AE-4BC3-A244-94D677C6149B}" type="presParOf" srcId="{CD816DD2-3AEF-4382-ABD9-840EF6A8D267}" destId="{57C78333-AF1B-49AE-B4A2-F83763128AA7}" srcOrd="2" destOrd="0" presId="urn:microsoft.com/office/officeart/2008/layout/LinedList"/>
    <dgm:cxn modelId="{01A786E1-7AC0-4C64-906D-B5155E9945FF}" type="presParOf" srcId="{CD816DD2-3AEF-4382-ABD9-840EF6A8D267}" destId="{E0AFC380-56EA-46AE-AF17-CFAA282DC8DB}" srcOrd="3" destOrd="0" presId="urn:microsoft.com/office/officeart/2008/layout/LinedList"/>
    <dgm:cxn modelId="{0EDB8D83-5275-4027-8E9B-C4B8B7C7B886}" type="presParOf" srcId="{E0AFC380-56EA-46AE-AF17-CFAA282DC8DB}" destId="{B0F99F8F-71A3-4AA1-84E3-1257C9EF4CCE}" srcOrd="0" destOrd="0" presId="urn:microsoft.com/office/officeart/2008/layout/LinedList"/>
    <dgm:cxn modelId="{51344CE5-14EB-4795-94E1-4497C593038A}" type="presParOf" srcId="{E0AFC380-56EA-46AE-AF17-CFAA282DC8DB}" destId="{D0578159-78F5-4509-BC9A-774DDA290276}" srcOrd="1" destOrd="0" presId="urn:microsoft.com/office/officeart/2008/layout/LinedList"/>
    <dgm:cxn modelId="{90C4D685-B9DE-48E7-AC72-D8EFCD15C82C}" type="presParOf" srcId="{CD816DD2-3AEF-4382-ABD9-840EF6A8D267}" destId="{3007CDB7-6319-4964-A9B5-339BB330A428}" srcOrd="4" destOrd="0" presId="urn:microsoft.com/office/officeart/2008/layout/LinedList"/>
    <dgm:cxn modelId="{F7DCBF19-0AF2-4EC1-B5F1-A9B0A0A81A2A}" type="presParOf" srcId="{CD816DD2-3AEF-4382-ABD9-840EF6A8D267}" destId="{29076748-BD83-4DA9-91EE-DD05C8934C1B}" srcOrd="5" destOrd="0" presId="urn:microsoft.com/office/officeart/2008/layout/LinedList"/>
    <dgm:cxn modelId="{8B320A76-AE2D-4A2B-9E09-1D89504F6DC3}" type="presParOf" srcId="{29076748-BD83-4DA9-91EE-DD05C8934C1B}" destId="{17650C84-D2FB-47A3-91DE-75FA4AAA90CA}" srcOrd="0" destOrd="0" presId="urn:microsoft.com/office/officeart/2008/layout/LinedList"/>
    <dgm:cxn modelId="{9D47635D-7BFB-4035-958D-7632A4097F7B}" type="presParOf" srcId="{29076748-BD83-4DA9-91EE-DD05C8934C1B}" destId="{9F0634A4-9E2B-4002-9DF9-61D42C936D1D}" srcOrd="1" destOrd="0" presId="urn:microsoft.com/office/officeart/2008/layout/LinedList"/>
    <dgm:cxn modelId="{32844FC9-4518-400B-AC84-E00331CD897C}" type="presParOf" srcId="{CD816DD2-3AEF-4382-ABD9-840EF6A8D267}" destId="{8D260BEA-0457-4658-8DF8-83D680A0EFAC}" srcOrd="6" destOrd="0" presId="urn:microsoft.com/office/officeart/2008/layout/LinedList"/>
    <dgm:cxn modelId="{87E51A8D-FF51-4423-B0B8-B1AFE529A32B}" type="presParOf" srcId="{CD816DD2-3AEF-4382-ABD9-840EF6A8D267}" destId="{D1422D28-7344-4ED1-9563-97D1CAFA832A}" srcOrd="7" destOrd="0" presId="urn:microsoft.com/office/officeart/2008/layout/LinedList"/>
    <dgm:cxn modelId="{8B7BF54E-2C7B-4E2A-8B13-64708D316818}" type="presParOf" srcId="{D1422D28-7344-4ED1-9563-97D1CAFA832A}" destId="{8390D50E-9B9F-40BE-9391-257DA49A125B}" srcOrd="0" destOrd="0" presId="urn:microsoft.com/office/officeart/2008/layout/LinedList"/>
    <dgm:cxn modelId="{6406B422-33E9-449B-975A-69E1262B54B0}" type="presParOf" srcId="{D1422D28-7344-4ED1-9563-97D1CAFA832A}" destId="{B8B0233D-659F-4B24-B4C4-106D17C54DA7}" srcOrd="1" destOrd="0" presId="urn:microsoft.com/office/officeart/2008/layout/LinedList"/>
    <dgm:cxn modelId="{7BB7FDB1-EECE-49D4-ADD1-12B6BD170CFC}" type="presParOf" srcId="{CD816DD2-3AEF-4382-ABD9-840EF6A8D267}" destId="{B34C0BE2-741B-478F-91CB-C389118E6202}" srcOrd="8" destOrd="0" presId="urn:microsoft.com/office/officeart/2008/layout/LinedList"/>
    <dgm:cxn modelId="{5DAF3811-B724-4CB6-BF62-A5450E60EAA1}" type="presParOf" srcId="{CD816DD2-3AEF-4382-ABD9-840EF6A8D267}" destId="{5922886D-C9F3-441A-AECE-BF032AD11820}" srcOrd="9" destOrd="0" presId="urn:microsoft.com/office/officeart/2008/layout/LinedList"/>
    <dgm:cxn modelId="{6B687195-F24E-4814-8F2D-10E3454A3416}" type="presParOf" srcId="{5922886D-C9F3-441A-AECE-BF032AD11820}" destId="{ABD014F7-9172-4BB2-8A00-7B5E2CD451A5}" srcOrd="0" destOrd="0" presId="urn:microsoft.com/office/officeart/2008/layout/LinedList"/>
    <dgm:cxn modelId="{2C7FF098-C634-45E6-8C8D-93AC2C9E3F68}" type="presParOf" srcId="{5922886D-C9F3-441A-AECE-BF032AD11820}" destId="{BA896E01-4095-4391-AE91-CC4FD5DCA9C8}" srcOrd="1" destOrd="0" presId="urn:microsoft.com/office/officeart/2008/layout/LinedList"/>
    <dgm:cxn modelId="{2C75ABC9-5BA0-42FC-A2F7-946DDCAD17BD}" type="presParOf" srcId="{CD816DD2-3AEF-4382-ABD9-840EF6A8D267}" destId="{D167C5DB-498A-4388-8424-C2D03E7C0842}" srcOrd="10" destOrd="0" presId="urn:microsoft.com/office/officeart/2008/layout/LinedList"/>
    <dgm:cxn modelId="{70331A81-0878-45D1-A6DC-EF96790835E6}" type="presParOf" srcId="{CD816DD2-3AEF-4382-ABD9-840EF6A8D267}" destId="{4129C99E-D1F2-4706-9D12-138BF19988AE}" srcOrd="11" destOrd="0" presId="urn:microsoft.com/office/officeart/2008/layout/LinedList"/>
    <dgm:cxn modelId="{F85A020A-DC41-4F34-91BA-8764E5591A86}" type="presParOf" srcId="{4129C99E-D1F2-4706-9D12-138BF19988AE}" destId="{41F255D3-FD69-458B-BD75-5D4A76CD8D2D}" srcOrd="0" destOrd="0" presId="urn:microsoft.com/office/officeart/2008/layout/LinedList"/>
    <dgm:cxn modelId="{D6C7D373-6E86-4902-A4FB-DAB7705A0564}" type="presParOf" srcId="{4129C99E-D1F2-4706-9D12-138BF19988AE}" destId="{D944D49C-CE43-41E9-A49C-7A998F911FE7}" srcOrd="1" destOrd="0" presId="urn:microsoft.com/office/officeart/2008/layout/LinedList"/>
    <dgm:cxn modelId="{C829D22F-A22C-41F5-A7C5-CC046C61CA3F}" type="presParOf" srcId="{CD816DD2-3AEF-4382-ABD9-840EF6A8D267}" destId="{9BE7E402-95A3-400C-953F-CF598CB2C153}" srcOrd="12" destOrd="0" presId="urn:microsoft.com/office/officeart/2008/layout/LinedList"/>
    <dgm:cxn modelId="{F4930D26-2B99-4BD5-A0E5-F05A2C933C30}" type="presParOf" srcId="{CD816DD2-3AEF-4382-ABD9-840EF6A8D267}" destId="{542B8745-E61F-4527-9282-8949D3DA6BB6}" srcOrd="13" destOrd="0" presId="urn:microsoft.com/office/officeart/2008/layout/LinedList"/>
    <dgm:cxn modelId="{F75E899F-2FF5-4703-801E-21BB77AF6D8C}" type="presParOf" srcId="{542B8745-E61F-4527-9282-8949D3DA6BB6}" destId="{E5888AF7-775C-4B20-B8C6-33BF94B9F3A2}" srcOrd="0" destOrd="0" presId="urn:microsoft.com/office/officeart/2008/layout/LinedList"/>
    <dgm:cxn modelId="{E57DA4AE-ABBA-4AC9-ABBE-01616CFF9E19}" type="presParOf" srcId="{542B8745-E61F-4527-9282-8949D3DA6BB6}" destId="{F5E819DB-11EE-4C10-BB14-F879C54A946F}" srcOrd="1" destOrd="0" presId="urn:microsoft.com/office/officeart/2008/layout/LinedList"/>
    <dgm:cxn modelId="{9CCF03CD-7FA5-4333-B2AF-6E16C434CD49}" type="presParOf" srcId="{CD816DD2-3AEF-4382-ABD9-840EF6A8D267}" destId="{88369436-EF1F-4941-B7E7-BB01FD015EA5}" srcOrd="14" destOrd="0" presId="urn:microsoft.com/office/officeart/2008/layout/LinedList"/>
    <dgm:cxn modelId="{EF7CA8B7-53B0-4DE7-B503-2CD4055CDAFE}" type="presParOf" srcId="{CD816DD2-3AEF-4382-ABD9-840EF6A8D267}" destId="{E3DCD9C5-011B-4997-B63F-7B73FAA23B26}" srcOrd="15" destOrd="0" presId="urn:microsoft.com/office/officeart/2008/layout/LinedList"/>
    <dgm:cxn modelId="{5EF81D50-CD96-428E-9BAF-384323597BB1}" type="presParOf" srcId="{E3DCD9C5-011B-4997-B63F-7B73FAA23B26}" destId="{1ECADFD6-8BD9-45BB-A1B2-599AAE8F8FEF}" srcOrd="0" destOrd="0" presId="urn:microsoft.com/office/officeart/2008/layout/LinedList"/>
    <dgm:cxn modelId="{11A8D4BD-6075-4708-BB30-E69544AD18BF}" type="presParOf" srcId="{E3DCD9C5-011B-4997-B63F-7B73FAA23B26}" destId="{ACAB048D-1BD6-47E5-ABC9-0B1AEFD616E2}"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286007-CA3B-4878-89E0-DB07D4CEB1C8}" type="doc">
      <dgm:prSet loTypeId="urn:microsoft.com/office/officeart/2005/8/layout/chevron1" loCatId="process" qsTypeId="urn:microsoft.com/office/officeart/2005/8/quickstyle/simple2" qsCatId="simple" csTypeId="urn:microsoft.com/office/officeart/2005/8/colors/accent3_2" csCatId="accent3" phldr="1"/>
      <dgm:spPr/>
      <dgm:t>
        <a:bodyPr/>
        <a:lstStyle/>
        <a:p>
          <a:endParaRPr lang="en-US"/>
        </a:p>
      </dgm:t>
    </dgm:pt>
    <dgm:pt modelId="{57161ACD-3E80-4E8E-AB02-D75D7F841A0A}">
      <dgm:prSet custT="1"/>
      <dgm:spPr>
        <a:solidFill>
          <a:schemeClr val="accent2">
            <a:lumMod val="75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2400" dirty="0"/>
            <a:t>PFAS – Per- and Polyfluoroalkyl Substances are largely a family of synthetic fluorinated compounds</a:t>
          </a:r>
        </a:p>
      </dgm:t>
    </dgm:pt>
    <dgm:pt modelId="{371EAECD-579F-4867-A9B3-39906DB147B7}" type="parTrans" cxnId="{28D5AA4B-918F-4390-A842-9226AB6E8FB4}">
      <dgm:prSet/>
      <dgm:spPr/>
      <dgm:t>
        <a:bodyPr/>
        <a:lstStyle/>
        <a:p>
          <a:endParaRPr lang="en-US"/>
        </a:p>
      </dgm:t>
    </dgm:pt>
    <dgm:pt modelId="{3A610419-CC8C-4927-929B-62781C265EA1}" type="sibTrans" cxnId="{28D5AA4B-918F-4390-A842-9226AB6E8FB4}">
      <dgm:prSet/>
      <dgm:spPr/>
      <dgm:t>
        <a:bodyPr/>
        <a:lstStyle/>
        <a:p>
          <a:endParaRPr lang="en-US"/>
        </a:p>
      </dgm:t>
    </dgm:pt>
    <dgm:pt modelId="{D47CE2F7-59B6-4ED8-B7BE-6299FEF13C66}">
      <dgm:prSet custT="1"/>
      <dgm:spPr>
        <a:ln>
          <a:noFill/>
        </a:ln>
        <a:effectLst/>
        <a:scene3d>
          <a:camera prst="orthographicFront">
            <a:rot lat="0" lon="0" rev="0"/>
          </a:camera>
          <a:lightRig rig="contrasting" dir="t">
            <a:rot lat="0" lon="0" rev="7800000"/>
          </a:lightRig>
        </a:scene3d>
        <a:sp3d>
          <a:bevelT w="139700" h="139700"/>
        </a:sp3d>
      </dgm:spPr>
      <dgm:t>
        <a:bodyPr/>
        <a:lstStyle/>
        <a:p>
          <a:pPr algn="l"/>
          <a:r>
            <a:rPr lang="en-US" sz="2000" dirty="0"/>
            <a:t>Extremely stable – Highly resistant to heat, and chemical breakdown</a:t>
          </a:r>
        </a:p>
      </dgm:t>
    </dgm:pt>
    <dgm:pt modelId="{3A13A5EE-F4DA-4A4F-8AEC-EBDC5953CFDB}" type="parTrans" cxnId="{D638C543-8F6C-41E5-B277-B0924841C7A0}">
      <dgm:prSet/>
      <dgm:spPr/>
      <dgm:t>
        <a:bodyPr/>
        <a:lstStyle/>
        <a:p>
          <a:endParaRPr lang="en-US"/>
        </a:p>
      </dgm:t>
    </dgm:pt>
    <dgm:pt modelId="{949EAF61-C839-4356-B703-C4281AFD1294}" type="sibTrans" cxnId="{D638C543-8F6C-41E5-B277-B0924841C7A0}">
      <dgm:prSet/>
      <dgm:spPr/>
      <dgm:t>
        <a:bodyPr/>
        <a:lstStyle/>
        <a:p>
          <a:endParaRPr lang="en-US"/>
        </a:p>
      </dgm:t>
    </dgm:pt>
    <dgm:pt modelId="{2B67667A-2582-4947-899E-E66DD3E73649}">
      <dgm:prSet custT="1"/>
      <dgm:spPr>
        <a:ln>
          <a:noFill/>
        </a:ln>
        <a:effectLst/>
        <a:scene3d>
          <a:camera prst="orthographicFront">
            <a:rot lat="0" lon="0" rev="0"/>
          </a:camera>
          <a:lightRig rig="contrasting" dir="t">
            <a:rot lat="0" lon="0" rev="7800000"/>
          </a:lightRig>
        </a:scene3d>
        <a:sp3d>
          <a:bevelT w="139700" h="139700"/>
        </a:sp3d>
      </dgm:spPr>
      <dgm:t>
        <a:bodyPr/>
        <a:lstStyle/>
        <a:p>
          <a:pPr algn="l"/>
          <a:r>
            <a:rPr lang="en-US" sz="2000" dirty="0"/>
            <a:t>Very Persistent – They don’t degrade easily in the environment </a:t>
          </a:r>
        </a:p>
      </dgm:t>
    </dgm:pt>
    <dgm:pt modelId="{D311E2F0-CEE1-49ED-9D64-8FB04E7CB567}" type="parTrans" cxnId="{AC2849E7-FD24-4A27-9714-F15D7A84F929}">
      <dgm:prSet/>
      <dgm:spPr/>
      <dgm:t>
        <a:bodyPr/>
        <a:lstStyle/>
        <a:p>
          <a:endParaRPr lang="en-US"/>
        </a:p>
      </dgm:t>
    </dgm:pt>
    <dgm:pt modelId="{252CCB56-0850-4364-A003-D92D4EE8B85A}" type="sibTrans" cxnId="{AC2849E7-FD24-4A27-9714-F15D7A84F929}">
      <dgm:prSet/>
      <dgm:spPr/>
      <dgm:t>
        <a:bodyPr/>
        <a:lstStyle/>
        <a:p>
          <a:endParaRPr lang="en-US"/>
        </a:p>
      </dgm:t>
    </dgm:pt>
    <dgm:pt modelId="{487DDB35-3F80-4995-816F-928AC87C23A1}">
      <dgm:prSet custT="1"/>
      <dgm:spPr>
        <a:ln>
          <a:noFill/>
        </a:ln>
        <a:effectLst/>
        <a:scene3d>
          <a:camera prst="orthographicFront">
            <a:rot lat="0" lon="0" rev="0"/>
          </a:camera>
          <a:lightRig rig="contrasting" dir="t">
            <a:rot lat="0" lon="0" rev="7800000"/>
          </a:lightRig>
        </a:scene3d>
        <a:sp3d>
          <a:bevelT w="139700" h="139700"/>
        </a:sp3d>
      </dgm:spPr>
      <dgm:t>
        <a:bodyPr/>
        <a:lstStyle/>
        <a:p>
          <a:pPr algn="l"/>
          <a:r>
            <a:rPr lang="en-US" sz="2000" dirty="0"/>
            <a:t>Ubiquitous – widespread presence in drinking water, wildlife and even accumulate in humans over time</a:t>
          </a:r>
        </a:p>
      </dgm:t>
    </dgm:pt>
    <dgm:pt modelId="{9D86F8CA-75E9-4103-A5AC-93574104EE33}" type="parTrans" cxnId="{55C4B67A-8F1B-429A-9245-23CEA6365A83}">
      <dgm:prSet/>
      <dgm:spPr/>
      <dgm:t>
        <a:bodyPr/>
        <a:lstStyle/>
        <a:p>
          <a:endParaRPr lang="en-US"/>
        </a:p>
      </dgm:t>
    </dgm:pt>
    <dgm:pt modelId="{705265BB-8C35-4B4E-8D5D-881254443D0C}" type="sibTrans" cxnId="{55C4B67A-8F1B-429A-9245-23CEA6365A83}">
      <dgm:prSet/>
      <dgm:spPr/>
      <dgm:t>
        <a:bodyPr/>
        <a:lstStyle/>
        <a:p>
          <a:endParaRPr lang="en-US"/>
        </a:p>
      </dgm:t>
    </dgm:pt>
    <dgm:pt modelId="{51A660CE-E4E2-47D6-8BCD-4D71A69BE630}">
      <dgm:prSet custT="1"/>
      <dgm:spPr>
        <a:ln>
          <a:noFill/>
        </a:ln>
        <a:effectLst/>
        <a:scene3d>
          <a:camera prst="orthographicFront">
            <a:rot lat="0" lon="0" rev="0"/>
          </a:camera>
          <a:lightRig rig="contrasting" dir="t">
            <a:rot lat="0" lon="0" rev="7800000"/>
          </a:lightRig>
        </a:scene3d>
        <a:sp3d>
          <a:bevelT w="139700" h="139700"/>
        </a:sp3d>
      </dgm:spPr>
      <dgm:t>
        <a:bodyPr/>
        <a:lstStyle/>
        <a:p>
          <a:pPr algn="l"/>
          <a:r>
            <a:rPr lang="en-US" sz="2000" dirty="0"/>
            <a:t>PTFE, is a polymerized tetrafluoroethylene &amp; chemically inert</a:t>
          </a:r>
        </a:p>
      </dgm:t>
    </dgm:pt>
    <dgm:pt modelId="{0D08E801-5D63-48DB-9458-59DD091DDB0F}" type="parTrans" cxnId="{7225BE9B-59EE-4E4D-B921-044CC8F54D0E}">
      <dgm:prSet/>
      <dgm:spPr/>
      <dgm:t>
        <a:bodyPr/>
        <a:lstStyle/>
        <a:p>
          <a:endParaRPr lang="en-US"/>
        </a:p>
      </dgm:t>
    </dgm:pt>
    <dgm:pt modelId="{70984100-701F-4CF4-8F28-CB4AB271AD11}" type="sibTrans" cxnId="{7225BE9B-59EE-4E4D-B921-044CC8F54D0E}">
      <dgm:prSet/>
      <dgm:spPr/>
      <dgm:t>
        <a:bodyPr/>
        <a:lstStyle/>
        <a:p>
          <a:endParaRPr lang="en-US"/>
        </a:p>
      </dgm:t>
    </dgm:pt>
    <dgm:pt modelId="{4165C56C-2FAE-4498-B4F5-3D98AD011862}">
      <dgm:prSet custT="1"/>
      <dgm:spPr>
        <a:ln>
          <a:noFill/>
        </a:ln>
        <a:effectLst/>
        <a:scene3d>
          <a:camera prst="orthographicFront">
            <a:rot lat="0" lon="0" rev="0"/>
          </a:camera>
          <a:lightRig rig="contrasting" dir="t">
            <a:rot lat="0" lon="0" rev="7800000"/>
          </a:lightRig>
        </a:scene3d>
        <a:sp3d>
          <a:bevelT w="139700" h="139700"/>
        </a:sp3d>
      </dgm:spPr>
      <dgm:t>
        <a:bodyPr/>
        <a:lstStyle/>
        <a:p>
          <a:pPr algn="l"/>
          <a:r>
            <a:rPr lang="en-US" sz="2000" dirty="0"/>
            <a:t>It is in this light, that regulators often target PFAS as a class, meaning inert polymers like PTFE are getting phased out entirely.</a:t>
          </a:r>
        </a:p>
      </dgm:t>
    </dgm:pt>
    <dgm:pt modelId="{6B9145FE-75F0-43AA-93D5-7B4E681099A9}" type="parTrans" cxnId="{0DE29673-486D-49B1-BEF6-96247F2AC972}">
      <dgm:prSet/>
      <dgm:spPr/>
      <dgm:t>
        <a:bodyPr/>
        <a:lstStyle/>
        <a:p>
          <a:endParaRPr lang="en-US"/>
        </a:p>
      </dgm:t>
    </dgm:pt>
    <dgm:pt modelId="{3ECC33DD-E2B6-4014-A7D2-7F045B0DE824}" type="sibTrans" cxnId="{0DE29673-486D-49B1-BEF6-96247F2AC972}">
      <dgm:prSet/>
      <dgm:spPr/>
      <dgm:t>
        <a:bodyPr/>
        <a:lstStyle/>
        <a:p>
          <a:endParaRPr lang="en-US"/>
        </a:p>
      </dgm:t>
    </dgm:pt>
    <dgm:pt modelId="{0B402D77-32D5-4D4A-9308-E2522B0955EF}">
      <dgm:prSet custT="1"/>
      <dgm:spPr>
        <a:ln>
          <a:noFill/>
        </a:ln>
        <a:effectLst/>
        <a:scene3d>
          <a:camera prst="orthographicFront">
            <a:rot lat="0" lon="0" rev="0"/>
          </a:camera>
          <a:lightRig rig="contrasting" dir="t">
            <a:rot lat="0" lon="0" rev="7800000"/>
          </a:lightRig>
        </a:scene3d>
        <a:sp3d>
          <a:bevelT w="139700" h="139700"/>
        </a:sp3d>
      </dgm:spPr>
      <dgm:t>
        <a:bodyPr/>
        <a:lstStyle/>
        <a:p>
          <a:pPr algn="l"/>
          <a:endParaRPr lang="en-US" sz="2000" dirty="0"/>
        </a:p>
      </dgm:t>
    </dgm:pt>
    <dgm:pt modelId="{80625B80-E133-455D-8163-4DE27B4EDEE9}" type="parTrans" cxnId="{62299D48-D96A-4435-967F-10AC5A081006}">
      <dgm:prSet/>
      <dgm:spPr/>
      <dgm:t>
        <a:bodyPr/>
        <a:lstStyle/>
        <a:p>
          <a:endParaRPr lang="en-US"/>
        </a:p>
      </dgm:t>
    </dgm:pt>
    <dgm:pt modelId="{8552031D-90A9-43DA-B891-ED8E7B7637A2}" type="sibTrans" cxnId="{62299D48-D96A-4435-967F-10AC5A081006}">
      <dgm:prSet/>
      <dgm:spPr/>
      <dgm:t>
        <a:bodyPr/>
        <a:lstStyle/>
        <a:p>
          <a:endParaRPr lang="en-US"/>
        </a:p>
      </dgm:t>
    </dgm:pt>
    <dgm:pt modelId="{C5193DC2-D26F-422E-AEA9-111F95CEA86B}">
      <dgm:prSet custT="1"/>
      <dgm:spPr>
        <a:ln>
          <a:noFill/>
        </a:ln>
        <a:effectLst/>
        <a:scene3d>
          <a:camera prst="orthographicFront">
            <a:rot lat="0" lon="0" rev="0"/>
          </a:camera>
          <a:lightRig rig="contrasting" dir="t">
            <a:rot lat="0" lon="0" rev="7800000"/>
          </a:lightRig>
        </a:scene3d>
        <a:sp3d>
          <a:bevelT w="139700" h="139700"/>
        </a:sp3d>
      </dgm:spPr>
      <dgm:t>
        <a:bodyPr/>
        <a:lstStyle/>
        <a:p>
          <a:pPr algn="l"/>
          <a:endParaRPr lang="en-US" sz="2000" dirty="0"/>
        </a:p>
      </dgm:t>
    </dgm:pt>
    <dgm:pt modelId="{CA57327E-CDDE-44E8-B793-699C9B459F62}" type="parTrans" cxnId="{4B44B06A-A935-4DAB-9A3B-7439C2D1BAB9}">
      <dgm:prSet/>
      <dgm:spPr/>
      <dgm:t>
        <a:bodyPr/>
        <a:lstStyle/>
        <a:p>
          <a:endParaRPr lang="en-US"/>
        </a:p>
      </dgm:t>
    </dgm:pt>
    <dgm:pt modelId="{8A16E9A4-06ED-4F52-95CD-3AC4218AC4E0}" type="sibTrans" cxnId="{4B44B06A-A935-4DAB-9A3B-7439C2D1BAB9}">
      <dgm:prSet/>
      <dgm:spPr/>
      <dgm:t>
        <a:bodyPr/>
        <a:lstStyle/>
        <a:p>
          <a:endParaRPr lang="en-US"/>
        </a:p>
      </dgm:t>
    </dgm:pt>
    <dgm:pt modelId="{A6DDB80F-B568-49D9-B9AE-8FFB5AAFF150}">
      <dgm:prSet custT="1"/>
      <dgm:spPr>
        <a:ln>
          <a:noFill/>
        </a:ln>
        <a:effectLst/>
        <a:scene3d>
          <a:camera prst="orthographicFront">
            <a:rot lat="0" lon="0" rev="0"/>
          </a:camera>
          <a:lightRig rig="contrasting" dir="t">
            <a:rot lat="0" lon="0" rev="7800000"/>
          </a:lightRig>
        </a:scene3d>
        <a:sp3d>
          <a:bevelT w="139700" h="139700"/>
        </a:sp3d>
      </dgm:spPr>
      <dgm:t>
        <a:bodyPr/>
        <a:lstStyle/>
        <a:p>
          <a:pPr algn="l"/>
          <a:endParaRPr lang="en-US" sz="2000" dirty="0"/>
        </a:p>
      </dgm:t>
    </dgm:pt>
    <dgm:pt modelId="{B63CA0FE-29E4-42B0-A9C9-EC2137DD2601}" type="parTrans" cxnId="{9B3DCC15-3ECC-439D-B659-29354183A752}">
      <dgm:prSet/>
      <dgm:spPr/>
      <dgm:t>
        <a:bodyPr/>
        <a:lstStyle/>
        <a:p>
          <a:endParaRPr lang="en-US"/>
        </a:p>
      </dgm:t>
    </dgm:pt>
    <dgm:pt modelId="{6AF49A36-8B0E-4602-9FE1-BCE328E07722}" type="sibTrans" cxnId="{9B3DCC15-3ECC-439D-B659-29354183A752}">
      <dgm:prSet/>
      <dgm:spPr/>
      <dgm:t>
        <a:bodyPr/>
        <a:lstStyle/>
        <a:p>
          <a:endParaRPr lang="en-US"/>
        </a:p>
      </dgm:t>
    </dgm:pt>
    <dgm:pt modelId="{ED42290E-ADDA-4BD8-ABA9-A6CDFC4D066B}">
      <dgm:prSet custT="1"/>
      <dgm:spPr>
        <a:ln>
          <a:noFill/>
        </a:ln>
        <a:effectLst/>
        <a:scene3d>
          <a:camera prst="orthographicFront">
            <a:rot lat="0" lon="0" rev="0"/>
          </a:camera>
          <a:lightRig rig="contrasting" dir="t">
            <a:rot lat="0" lon="0" rev="7800000"/>
          </a:lightRig>
        </a:scene3d>
        <a:sp3d>
          <a:bevelT w="139700" h="139700"/>
        </a:sp3d>
      </dgm:spPr>
      <dgm:t>
        <a:bodyPr/>
        <a:lstStyle/>
        <a:p>
          <a:pPr algn="l"/>
          <a:endParaRPr lang="en-US" sz="2000" dirty="0"/>
        </a:p>
      </dgm:t>
    </dgm:pt>
    <dgm:pt modelId="{B72D1231-ABC8-44AE-92A0-CA588EC1AFD8}" type="parTrans" cxnId="{7B0FD164-2B57-4550-8C3E-862722234713}">
      <dgm:prSet/>
      <dgm:spPr/>
      <dgm:t>
        <a:bodyPr/>
        <a:lstStyle/>
        <a:p>
          <a:endParaRPr lang="en-US"/>
        </a:p>
      </dgm:t>
    </dgm:pt>
    <dgm:pt modelId="{E208364F-9F21-411F-B33C-3DB860B8D978}" type="sibTrans" cxnId="{7B0FD164-2B57-4550-8C3E-862722234713}">
      <dgm:prSet/>
      <dgm:spPr/>
      <dgm:t>
        <a:bodyPr/>
        <a:lstStyle/>
        <a:p>
          <a:endParaRPr lang="en-US"/>
        </a:p>
      </dgm:t>
    </dgm:pt>
    <dgm:pt modelId="{16C63BA9-513A-4218-9E2E-441192C99EC6}">
      <dgm:prSet custT="1"/>
      <dgm:spPr>
        <a:ln>
          <a:noFill/>
        </a:ln>
        <a:effectLst/>
        <a:scene3d>
          <a:camera prst="orthographicFront">
            <a:rot lat="0" lon="0" rev="0"/>
          </a:camera>
          <a:lightRig rig="contrasting" dir="t">
            <a:rot lat="0" lon="0" rev="7800000"/>
          </a:lightRig>
        </a:scene3d>
        <a:sp3d>
          <a:bevelT w="139700" h="139700"/>
        </a:sp3d>
      </dgm:spPr>
      <dgm:t>
        <a:bodyPr/>
        <a:lstStyle/>
        <a:p>
          <a:pPr algn="l">
            <a:buNone/>
          </a:pPr>
          <a:r>
            <a:rPr lang="en-US" sz="2000" dirty="0"/>
            <a:t>			                    </a:t>
          </a:r>
          <a:r>
            <a:rPr lang="en-US" sz="2400" b="1" dirty="0">
              <a:solidFill>
                <a:schemeClr val="accent2">
                  <a:lumMod val="75000"/>
                </a:schemeClr>
              </a:solidFill>
            </a:rPr>
            <a:t>THE CONNECTION</a:t>
          </a:r>
        </a:p>
      </dgm:t>
    </dgm:pt>
    <dgm:pt modelId="{E5E82D36-B911-4D0A-89D9-71B4CBB9611E}" type="parTrans" cxnId="{10702595-A65F-4B53-A054-2B65704A3D36}">
      <dgm:prSet/>
      <dgm:spPr/>
      <dgm:t>
        <a:bodyPr/>
        <a:lstStyle/>
        <a:p>
          <a:endParaRPr lang="en-US"/>
        </a:p>
      </dgm:t>
    </dgm:pt>
    <dgm:pt modelId="{B14D56AF-F2EC-4A18-A696-A9433E2D103C}" type="sibTrans" cxnId="{10702595-A65F-4B53-A054-2B65704A3D36}">
      <dgm:prSet/>
      <dgm:spPr/>
      <dgm:t>
        <a:bodyPr/>
        <a:lstStyle/>
        <a:p>
          <a:endParaRPr lang="en-US"/>
        </a:p>
      </dgm:t>
    </dgm:pt>
    <dgm:pt modelId="{B6BEA0C1-4DC6-4705-870B-9EDF06883D9A}">
      <dgm:prSet custT="1"/>
      <dgm:spPr>
        <a:ln>
          <a:noFill/>
        </a:ln>
        <a:effectLst/>
        <a:scene3d>
          <a:camera prst="orthographicFront">
            <a:rot lat="0" lon="0" rev="0"/>
          </a:camera>
          <a:lightRig rig="contrasting" dir="t">
            <a:rot lat="0" lon="0" rev="7800000"/>
          </a:lightRig>
        </a:scene3d>
        <a:sp3d>
          <a:bevelT w="139700" h="139700"/>
        </a:sp3d>
      </dgm:spPr>
      <dgm:t>
        <a:bodyPr/>
        <a:lstStyle/>
        <a:p>
          <a:pPr algn="l"/>
          <a:endParaRPr lang="en-US" sz="2000" dirty="0"/>
        </a:p>
      </dgm:t>
    </dgm:pt>
    <dgm:pt modelId="{DEBAC52F-38B1-4218-9BA3-5A78D45F269C}" type="parTrans" cxnId="{1540C650-A96A-4AC6-A113-03FC900B1074}">
      <dgm:prSet/>
      <dgm:spPr/>
      <dgm:t>
        <a:bodyPr/>
        <a:lstStyle/>
        <a:p>
          <a:endParaRPr lang="en-US"/>
        </a:p>
      </dgm:t>
    </dgm:pt>
    <dgm:pt modelId="{18CB98C7-47D9-46F1-82E8-34CA97039854}" type="sibTrans" cxnId="{1540C650-A96A-4AC6-A113-03FC900B1074}">
      <dgm:prSet/>
      <dgm:spPr/>
      <dgm:t>
        <a:bodyPr/>
        <a:lstStyle/>
        <a:p>
          <a:endParaRPr lang="en-US"/>
        </a:p>
      </dgm:t>
    </dgm:pt>
    <dgm:pt modelId="{93B40207-2FF4-4A57-B563-D42980AAE9C2}">
      <dgm:prSet custT="1"/>
      <dgm:spPr>
        <a:ln>
          <a:noFill/>
        </a:ln>
        <a:effectLst/>
        <a:scene3d>
          <a:camera prst="orthographicFront">
            <a:rot lat="0" lon="0" rev="0"/>
          </a:camera>
          <a:lightRig rig="contrasting" dir="t">
            <a:rot lat="0" lon="0" rev="7800000"/>
          </a:lightRig>
        </a:scene3d>
        <a:sp3d>
          <a:bevelT w="139700" h="139700"/>
        </a:sp3d>
      </dgm:spPr>
      <dgm:t>
        <a:bodyPr/>
        <a:lstStyle/>
        <a:p>
          <a:pPr algn="l"/>
          <a:r>
            <a:rPr lang="en-US" sz="2000" dirty="0"/>
            <a:t>The production and processing often involves PFAS based intermediates (PFOA).</a:t>
          </a:r>
        </a:p>
      </dgm:t>
    </dgm:pt>
    <dgm:pt modelId="{62A19EBE-932D-4156-8664-B578B77EE782}" type="parTrans" cxnId="{0D4FD517-3330-45B0-87A3-4D9FE92884CF}">
      <dgm:prSet/>
      <dgm:spPr/>
      <dgm:t>
        <a:bodyPr/>
        <a:lstStyle/>
        <a:p>
          <a:endParaRPr lang="en-US"/>
        </a:p>
      </dgm:t>
    </dgm:pt>
    <dgm:pt modelId="{704FD7EF-5351-492A-BBB3-610F714A3B81}" type="sibTrans" cxnId="{0D4FD517-3330-45B0-87A3-4D9FE92884CF}">
      <dgm:prSet/>
      <dgm:spPr/>
      <dgm:t>
        <a:bodyPr/>
        <a:lstStyle/>
        <a:p>
          <a:endParaRPr lang="en-US"/>
        </a:p>
      </dgm:t>
    </dgm:pt>
    <dgm:pt modelId="{A7E703DF-C29C-481B-9CB1-E5DE68CE8FB5}">
      <dgm:prSet custT="1"/>
      <dgm:spPr>
        <a:ln>
          <a:noFill/>
        </a:ln>
        <a:effectLst/>
        <a:scene3d>
          <a:camera prst="orthographicFront">
            <a:rot lat="0" lon="0" rev="0"/>
          </a:camera>
          <a:lightRig rig="contrasting" dir="t">
            <a:rot lat="0" lon="0" rev="7800000"/>
          </a:lightRig>
        </a:scene3d>
        <a:sp3d>
          <a:bevelT w="139700" h="139700"/>
        </a:sp3d>
      </dgm:spPr>
      <dgm:t>
        <a:bodyPr/>
        <a:lstStyle/>
        <a:p>
          <a:pPr algn="l"/>
          <a:endParaRPr lang="en-US" sz="2000" dirty="0"/>
        </a:p>
      </dgm:t>
    </dgm:pt>
    <dgm:pt modelId="{E5F7A4FE-0291-4657-BFDA-A1D9A0E560FE}" type="parTrans" cxnId="{0FA78B7B-FA06-4A31-A544-913D1F7F71A4}">
      <dgm:prSet/>
      <dgm:spPr/>
      <dgm:t>
        <a:bodyPr/>
        <a:lstStyle/>
        <a:p>
          <a:endParaRPr lang="en-US"/>
        </a:p>
      </dgm:t>
    </dgm:pt>
    <dgm:pt modelId="{7843CBDF-888E-4323-9A6B-F082C3F6393D}" type="sibTrans" cxnId="{0FA78B7B-FA06-4A31-A544-913D1F7F71A4}">
      <dgm:prSet/>
      <dgm:spPr/>
      <dgm:t>
        <a:bodyPr/>
        <a:lstStyle/>
        <a:p>
          <a:endParaRPr lang="en-US"/>
        </a:p>
      </dgm:t>
    </dgm:pt>
    <dgm:pt modelId="{9BF2F686-3589-4BDE-8ED9-B8DC9370A21E}" type="pres">
      <dgm:prSet presAssocID="{1B286007-CA3B-4878-89E0-DB07D4CEB1C8}" presName="Name0" presStyleCnt="0">
        <dgm:presLayoutVars>
          <dgm:dir/>
          <dgm:animLvl val="lvl"/>
          <dgm:resizeHandles val="exact"/>
        </dgm:presLayoutVars>
      </dgm:prSet>
      <dgm:spPr/>
    </dgm:pt>
    <dgm:pt modelId="{9A1941EC-F66E-43FF-B9ED-94C79B4353E2}" type="pres">
      <dgm:prSet presAssocID="{57161ACD-3E80-4E8E-AB02-D75D7F841A0A}" presName="composite" presStyleCnt="0"/>
      <dgm:spPr/>
    </dgm:pt>
    <dgm:pt modelId="{7BAC5A77-689F-402E-BC14-16B4129F2277}" type="pres">
      <dgm:prSet presAssocID="{57161ACD-3E80-4E8E-AB02-D75D7F841A0A}" presName="parTx" presStyleLbl="node1" presStyleIdx="0" presStyleCnt="1" custScaleX="96929" custLinFactNeighborX="-10395" custLinFactNeighborY="-5021">
        <dgm:presLayoutVars>
          <dgm:chMax val="0"/>
          <dgm:chPref val="0"/>
          <dgm:bulletEnabled val="1"/>
        </dgm:presLayoutVars>
      </dgm:prSet>
      <dgm:spPr/>
    </dgm:pt>
    <dgm:pt modelId="{8508A640-13FA-4055-8481-A169CC4FAAEB}" type="pres">
      <dgm:prSet presAssocID="{57161ACD-3E80-4E8E-AB02-D75D7F841A0A}" presName="desTx" presStyleLbl="revTx" presStyleIdx="0" presStyleCnt="1" custScaleX="125000" custLinFactNeighborX="274" custLinFactNeighborY="-235">
        <dgm:presLayoutVars>
          <dgm:bulletEnabled val="1"/>
        </dgm:presLayoutVars>
      </dgm:prSet>
      <dgm:spPr/>
    </dgm:pt>
  </dgm:ptLst>
  <dgm:cxnLst>
    <dgm:cxn modelId="{F5E20C13-8AD8-445A-AC26-DCB9FFC3D053}" type="presOf" srcId="{487DDB35-3F80-4995-816F-928AC87C23A1}" destId="{8508A640-13FA-4055-8481-A169CC4FAAEB}" srcOrd="0" destOrd="4" presId="urn:microsoft.com/office/officeart/2005/8/layout/chevron1"/>
    <dgm:cxn modelId="{9B3DCC15-3ECC-439D-B659-29354183A752}" srcId="{B6BEA0C1-4DC6-4705-870B-9EDF06883D9A}" destId="{A6DDB80F-B568-49D9-B9AE-8FFB5AAFF150}" srcOrd="1" destOrd="0" parTransId="{B63CA0FE-29E4-42B0-A9C9-EC2137DD2601}" sibTransId="{6AF49A36-8B0E-4602-9FE1-BCE328E07722}"/>
    <dgm:cxn modelId="{0D4FD517-3330-45B0-87A3-4D9FE92884CF}" srcId="{B6BEA0C1-4DC6-4705-870B-9EDF06883D9A}" destId="{93B40207-2FF4-4A57-B563-D42980AAE9C2}" srcOrd="4" destOrd="0" parTransId="{62A19EBE-932D-4156-8664-B578B77EE782}" sibTransId="{704FD7EF-5351-492A-BBB3-610F714A3B81}"/>
    <dgm:cxn modelId="{A3839734-15DC-467B-A88E-CBD37D74373A}" type="presOf" srcId="{B6BEA0C1-4DC6-4705-870B-9EDF06883D9A}" destId="{8508A640-13FA-4055-8481-A169CC4FAAEB}" srcOrd="0" destOrd="5" presId="urn:microsoft.com/office/officeart/2005/8/layout/chevron1"/>
    <dgm:cxn modelId="{D169F739-93B8-4799-93A3-203F33F761C1}" type="presOf" srcId="{93B40207-2FF4-4A57-B563-D42980AAE9C2}" destId="{8508A640-13FA-4055-8481-A169CC4FAAEB}" srcOrd="0" destOrd="10" presId="urn:microsoft.com/office/officeart/2005/8/layout/chevron1"/>
    <dgm:cxn modelId="{31AE023C-958C-4FC9-B323-05AFA0E2D992}" type="presOf" srcId="{ED42290E-ADDA-4BD8-ABA9-A6CDFC4D066B}" destId="{8508A640-13FA-4055-8481-A169CC4FAAEB}" srcOrd="0" destOrd="11" presId="urn:microsoft.com/office/officeart/2005/8/layout/chevron1"/>
    <dgm:cxn modelId="{85F9A75B-CF90-4495-A14F-9631F1718AC3}" type="presOf" srcId="{1B286007-CA3B-4878-89E0-DB07D4CEB1C8}" destId="{9BF2F686-3589-4BDE-8ED9-B8DC9370A21E}" srcOrd="0" destOrd="0" presId="urn:microsoft.com/office/officeart/2005/8/layout/chevron1"/>
    <dgm:cxn modelId="{F46FFE41-E0FF-45C6-9BF6-9D435B63C8FA}" type="presOf" srcId="{C5193DC2-D26F-422E-AEA9-111F95CEA86B}" destId="{8508A640-13FA-4055-8481-A169CC4FAAEB}" srcOrd="0" destOrd="3" presId="urn:microsoft.com/office/officeart/2005/8/layout/chevron1"/>
    <dgm:cxn modelId="{D638C543-8F6C-41E5-B277-B0924841C7A0}" srcId="{57161ACD-3E80-4E8E-AB02-D75D7F841A0A}" destId="{D47CE2F7-59B6-4ED8-B7BE-6299FEF13C66}" srcOrd="0" destOrd="0" parTransId="{3A13A5EE-F4DA-4A4F-8AEC-EBDC5953CFDB}" sibTransId="{949EAF61-C839-4356-B703-C4281AFD1294}"/>
    <dgm:cxn modelId="{7B0FD164-2B57-4550-8C3E-862722234713}" srcId="{B6BEA0C1-4DC6-4705-870B-9EDF06883D9A}" destId="{ED42290E-ADDA-4BD8-ABA9-A6CDFC4D066B}" srcOrd="5" destOrd="0" parTransId="{B72D1231-ABC8-44AE-92A0-CA588EC1AFD8}" sibTransId="{E208364F-9F21-411F-B33C-3DB860B8D978}"/>
    <dgm:cxn modelId="{62299D48-D96A-4435-967F-10AC5A081006}" srcId="{57161ACD-3E80-4E8E-AB02-D75D7F841A0A}" destId="{0B402D77-32D5-4D4A-9308-E2522B0955EF}" srcOrd="1" destOrd="0" parTransId="{80625B80-E133-455D-8163-4DE27B4EDEE9}" sibTransId="{8552031D-90A9-43DA-B891-ED8E7B7637A2}"/>
    <dgm:cxn modelId="{4B44B06A-A935-4DAB-9A3B-7439C2D1BAB9}" srcId="{57161ACD-3E80-4E8E-AB02-D75D7F841A0A}" destId="{C5193DC2-D26F-422E-AEA9-111F95CEA86B}" srcOrd="3" destOrd="0" parTransId="{CA57327E-CDDE-44E8-B793-699C9B459F62}" sibTransId="{8A16E9A4-06ED-4F52-95CD-3AC4218AC4E0}"/>
    <dgm:cxn modelId="{28D5AA4B-918F-4390-A842-9226AB6E8FB4}" srcId="{1B286007-CA3B-4878-89E0-DB07D4CEB1C8}" destId="{57161ACD-3E80-4E8E-AB02-D75D7F841A0A}" srcOrd="0" destOrd="0" parTransId="{371EAECD-579F-4867-A9B3-39906DB147B7}" sibTransId="{3A610419-CC8C-4927-929B-62781C265EA1}"/>
    <dgm:cxn modelId="{6281624E-6687-43FF-95BD-39C6AD47BD95}" type="presOf" srcId="{57161ACD-3E80-4E8E-AB02-D75D7F841A0A}" destId="{7BAC5A77-689F-402E-BC14-16B4129F2277}" srcOrd="0" destOrd="0" presId="urn:microsoft.com/office/officeart/2005/8/layout/chevron1"/>
    <dgm:cxn modelId="{1540C650-A96A-4AC6-A113-03FC900B1074}" srcId="{57161ACD-3E80-4E8E-AB02-D75D7F841A0A}" destId="{B6BEA0C1-4DC6-4705-870B-9EDF06883D9A}" srcOrd="5" destOrd="0" parTransId="{DEBAC52F-38B1-4218-9BA3-5A78D45F269C}" sibTransId="{18CB98C7-47D9-46F1-82E8-34CA97039854}"/>
    <dgm:cxn modelId="{0DE29673-486D-49B1-BEF6-96247F2AC972}" srcId="{B6BEA0C1-4DC6-4705-870B-9EDF06883D9A}" destId="{4165C56C-2FAE-4498-B4F5-3D98AD011862}" srcOrd="6" destOrd="0" parTransId="{6B9145FE-75F0-43AA-93D5-7B4E681099A9}" sibTransId="{3ECC33DD-E2B6-4014-A7D2-7F045B0DE824}"/>
    <dgm:cxn modelId="{308E0259-E9B3-4247-8C3F-B7CF46347E42}" type="presOf" srcId="{D47CE2F7-59B6-4ED8-B7BE-6299FEF13C66}" destId="{8508A640-13FA-4055-8481-A169CC4FAAEB}" srcOrd="0" destOrd="0" presId="urn:microsoft.com/office/officeart/2005/8/layout/chevron1"/>
    <dgm:cxn modelId="{55C4B67A-8F1B-429A-9245-23CEA6365A83}" srcId="{57161ACD-3E80-4E8E-AB02-D75D7F841A0A}" destId="{487DDB35-3F80-4995-816F-928AC87C23A1}" srcOrd="4" destOrd="0" parTransId="{9D86F8CA-75E9-4103-A5AC-93574104EE33}" sibTransId="{705265BB-8C35-4B4E-8D5D-881254443D0C}"/>
    <dgm:cxn modelId="{0FA78B7B-FA06-4A31-A544-913D1F7F71A4}" srcId="{B6BEA0C1-4DC6-4705-870B-9EDF06883D9A}" destId="{A7E703DF-C29C-481B-9CB1-E5DE68CE8FB5}" srcOrd="3" destOrd="0" parTransId="{E5F7A4FE-0291-4657-BFDA-A1D9A0E560FE}" sibTransId="{7843CBDF-888E-4323-9A6B-F082C3F6393D}"/>
    <dgm:cxn modelId="{D129618A-1A85-44C6-81DC-216D93110F08}" type="presOf" srcId="{A6DDB80F-B568-49D9-B9AE-8FFB5AAFF150}" destId="{8508A640-13FA-4055-8481-A169CC4FAAEB}" srcOrd="0" destOrd="7" presId="urn:microsoft.com/office/officeart/2005/8/layout/chevron1"/>
    <dgm:cxn modelId="{60FC008B-ABB2-4325-A833-C61587CC1C79}" type="presOf" srcId="{A7E703DF-C29C-481B-9CB1-E5DE68CE8FB5}" destId="{8508A640-13FA-4055-8481-A169CC4FAAEB}" srcOrd="0" destOrd="9" presId="urn:microsoft.com/office/officeart/2005/8/layout/chevron1"/>
    <dgm:cxn modelId="{EC30E38C-3B94-4367-9890-4E170933EB3E}" type="presOf" srcId="{4165C56C-2FAE-4498-B4F5-3D98AD011862}" destId="{8508A640-13FA-4055-8481-A169CC4FAAEB}" srcOrd="0" destOrd="12" presId="urn:microsoft.com/office/officeart/2005/8/layout/chevron1"/>
    <dgm:cxn modelId="{10702595-A65F-4B53-A054-2B65704A3D36}" srcId="{B6BEA0C1-4DC6-4705-870B-9EDF06883D9A}" destId="{16C63BA9-513A-4218-9E2E-441192C99EC6}" srcOrd="0" destOrd="0" parTransId="{E5E82D36-B911-4D0A-89D9-71B4CBB9611E}" sibTransId="{B14D56AF-F2EC-4A18-A696-A9433E2D103C}"/>
    <dgm:cxn modelId="{B1AB1899-B74B-413D-86F3-1ACDD23AA420}" type="presOf" srcId="{0B402D77-32D5-4D4A-9308-E2522B0955EF}" destId="{8508A640-13FA-4055-8481-A169CC4FAAEB}" srcOrd="0" destOrd="1" presId="urn:microsoft.com/office/officeart/2005/8/layout/chevron1"/>
    <dgm:cxn modelId="{7225BE9B-59EE-4E4D-B921-044CC8F54D0E}" srcId="{B6BEA0C1-4DC6-4705-870B-9EDF06883D9A}" destId="{51A660CE-E4E2-47D6-8BCD-4D71A69BE630}" srcOrd="2" destOrd="0" parTransId="{0D08E801-5D63-48DB-9458-59DD091DDB0F}" sibTransId="{70984100-701F-4CF4-8F28-CB4AB271AD11}"/>
    <dgm:cxn modelId="{F5BADFA6-FB83-4418-AEA9-72CEC583648E}" type="presOf" srcId="{16C63BA9-513A-4218-9E2E-441192C99EC6}" destId="{8508A640-13FA-4055-8481-A169CC4FAAEB}" srcOrd="0" destOrd="6" presId="urn:microsoft.com/office/officeart/2005/8/layout/chevron1"/>
    <dgm:cxn modelId="{3BE402DF-723E-419E-9A15-E92F9C522D71}" type="presOf" srcId="{51A660CE-E4E2-47D6-8BCD-4D71A69BE630}" destId="{8508A640-13FA-4055-8481-A169CC4FAAEB}" srcOrd="0" destOrd="8" presId="urn:microsoft.com/office/officeart/2005/8/layout/chevron1"/>
    <dgm:cxn modelId="{AC2849E7-FD24-4A27-9714-F15D7A84F929}" srcId="{57161ACD-3E80-4E8E-AB02-D75D7F841A0A}" destId="{2B67667A-2582-4947-899E-E66DD3E73649}" srcOrd="2" destOrd="0" parTransId="{D311E2F0-CEE1-49ED-9D64-8FB04E7CB567}" sibTransId="{252CCB56-0850-4364-A003-D92D4EE8B85A}"/>
    <dgm:cxn modelId="{710C7AFA-B585-43AA-9D55-8AE5D297FF5D}" type="presOf" srcId="{2B67667A-2582-4947-899E-E66DD3E73649}" destId="{8508A640-13FA-4055-8481-A169CC4FAAEB}" srcOrd="0" destOrd="2" presId="urn:microsoft.com/office/officeart/2005/8/layout/chevron1"/>
    <dgm:cxn modelId="{991087D4-42F1-4220-B327-B1DC12A6189D}" type="presParOf" srcId="{9BF2F686-3589-4BDE-8ED9-B8DC9370A21E}" destId="{9A1941EC-F66E-43FF-B9ED-94C79B4353E2}" srcOrd="0" destOrd="0" presId="urn:microsoft.com/office/officeart/2005/8/layout/chevron1"/>
    <dgm:cxn modelId="{8CCC0A07-F9F9-42A5-82E5-FEE993FCF259}" type="presParOf" srcId="{9A1941EC-F66E-43FF-B9ED-94C79B4353E2}" destId="{7BAC5A77-689F-402E-BC14-16B4129F2277}" srcOrd="0" destOrd="0" presId="urn:microsoft.com/office/officeart/2005/8/layout/chevron1"/>
    <dgm:cxn modelId="{A5401E71-1126-4629-BBAF-959693AB74C6}" type="presParOf" srcId="{9A1941EC-F66E-43FF-B9ED-94C79B4353E2}" destId="{8508A640-13FA-4055-8481-A169CC4FAAEB}" srcOrd="1" destOrd="0" presId="urn:microsoft.com/office/officeart/2005/8/layout/chevron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4BA4D4E-9521-4C7F-A575-B2D780062A72}" type="doc">
      <dgm:prSet loTypeId="urn:microsoft.com/office/officeart/2005/8/layout/vProcess5" loCatId="process" qsTypeId="urn:microsoft.com/office/officeart/2005/8/quickstyle/simple2" qsCatId="simple" csTypeId="urn:microsoft.com/office/officeart/2005/8/colors/accent2_2" csCatId="accent2" phldr="1"/>
      <dgm:spPr/>
      <dgm:t>
        <a:bodyPr/>
        <a:lstStyle/>
        <a:p>
          <a:endParaRPr lang="en-US"/>
        </a:p>
      </dgm:t>
    </dgm:pt>
    <dgm:pt modelId="{F56ECB8C-5908-4159-91F3-B939780515C6}">
      <dgm:prSet/>
      <dgm:spPr/>
      <dgm:t>
        <a:bodyPr/>
        <a:lstStyle/>
        <a:p>
          <a:r>
            <a:rPr lang="en-US" b="0" i="0" baseline="0"/>
            <a:t>Slip and Mar Resistance</a:t>
          </a:r>
          <a:endParaRPr lang="en-US"/>
        </a:p>
      </dgm:t>
    </dgm:pt>
    <dgm:pt modelId="{3E958DC1-A6EC-41A0-82AC-F345870D0584}" type="parTrans" cxnId="{403D888E-BDDC-4D3F-89F3-48FA939C6906}">
      <dgm:prSet/>
      <dgm:spPr/>
      <dgm:t>
        <a:bodyPr/>
        <a:lstStyle/>
        <a:p>
          <a:endParaRPr lang="en-US"/>
        </a:p>
      </dgm:t>
    </dgm:pt>
    <dgm:pt modelId="{9A8742CD-E217-411F-987C-0E94D301167D}" type="sibTrans" cxnId="{403D888E-BDDC-4D3F-89F3-48FA939C6906}">
      <dgm:prSet/>
      <dgm:spPr/>
      <dgm:t>
        <a:bodyPr/>
        <a:lstStyle/>
        <a:p>
          <a:endParaRPr lang="en-US"/>
        </a:p>
      </dgm:t>
    </dgm:pt>
    <dgm:pt modelId="{0BEA625B-B8A7-4A35-BC74-DEC7F781CEB1}">
      <dgm:prSet/>
      <dgm:spPr/>
      <dgm:t>
        <a:bodyPr/>
        <a:lstStyle/>
        <a:p>
          <a:r>
            <a:rPr lang="en-US" b="0" i="0" baseline="0"/>
            <a:t>Anti-scratch Performance</a:t>
          </a:r>
          <a:endParaRPr lang="en-US"/>
        </a:p>
      </dgm:t>
    </dgm:pt>
    <dgm:pt modelId="{75558007-9B97-40B3-9120-58544567A4A7}" type="parTrans" cxnId="{DF321E6C-111D-4AFC-961A-38E09B9C5397}">
      <dgm:prSet/>
      <dgm:spPr/>
      <dgm:t>
        <a:bodyPr/>
        <a:lstStyle/>
        <a:p>
          <a:endParaRPr lang="en-US"/>
        </a:p>
      </dgm:t>
    </dgm:pt>
    <dgm:pt modelId="{4B6F92E7-3366-4CCD-97CE-224ABC900DDF}" type="sibTrans" cxnId="{DF321E6C-111D-4AFC-961A-38E09B9C5397}">
      <dgm:prSet/>
      <dgm:spPr/>
      <dgm:t>
        <a:bodyPr/>
        <a:lstStyle/>
        <a:p>
          <a:endParaRPr lang="en-US"/>
        </a:p>
      </dgm:t>
    </dgm:pt>
    <dgm:pt modelId="{C4D79B87-1A66-4AE1-81EA-0A8E3E551BF5}">
      <dgm:prSet/>
      <dgm:spPr>
        <a:solidFill>
          <a:srgbClr val="00B050"/>
        </a:solidFill>
      </dgm:spPr>
      <dgm:t>
        <a:bodyPr/>
        <a:lstStyle/>
        <a:p>
          <a:r>
            <a:rPr lang="en-US" b="0" i="0" baseline="0" dirty="0"/>
            <a:t>Surface Texture and Gloss Control</a:t>
          </a:r>
          <a:endParaRPr lang="en-US" dirty="0"/>
        </a:p>
      </dgm:t>
    </dgm:pt>
    <dgm:pt modelId="{9C6EEA2C-2CA8-41C9-B716-D1AD5BBA72FD}" type="parTrans" cxnId="{55777700-E9E0-4402-A729-A6305271B7BF}">
      <dgm:prSet/>
      <dgm:spPr/>
      <dgm:t>
        <a:bodyPr/>
        <a:lstStyle/>
        <a:p>
          <a:endParaRPr lang="en-US"/>
        </a:p>
      </dgm:t>
    </dgm:pt>
    <dgm:pt modelId="{E73C51B3-8C9D-4E75-8BAB-DB591CC4EF62}" type="sibTrans" cxnId="{55777700-E9E0-4402-A729-A6305271B7BF}">
      <dgm:prSet/>
      <dgm:spPr/>
      <dgm:t>
        <a:bodyPr/>
        <a:lstStyle/>
        <a:p>
          <a:endParaRPr lang="en-US"/>
        </a:p>
      </dgm:t>
    </dgm:pt>
    <dgm:pt modelId="{9CAD17E9-D40C-4A5A-846E-445F2C633A30}">
      <dgm:prSet/>
      <dgm:spPr/>
      <dgm:t>
        <a:bodyPr/>
        <a:lstStyle/>
        <a:p>
          <a:r>
            <a:rPr lang="en-US" b="0" i="0" baseline="0"/>
            <a:t>Low Friction Properties</a:t>
          </a:r>
          <a:endParaRPr lang="en-US"/>
        </a:p>
      </dgm:t>
    </dgm:pt>
    <dgm:pt modelId="{9821F193-3E67-4149-A9C7-530DA7898DF9}" type="parTrans" cxnId="{0D424C69-B9B8-4891-8EA3-CD0C6E419BEE}">
      <dgm:prSet/>
      <dgm:spPr/>
      <dgm:t>
        <a:bodyPr/>
        <a:lstStyle/>
        <a:p>
          <a:endParaRPr lang="en-US"/>
        </a:p>
      </dgm:t>
    </dgm:pt>
    <dgm:pt modelId="{2071962A-5725-4B13-A3E3-4C8495C9E7D2}" type="sibTrans" cxnId="{0D424C69-B9B8-4891-8EA3-CD0C6E419BEE}">
      <dgm:prSet/>
      <dgm:spPr/>
      <dgm:t>
        <a:bodyPr/>
        <a:lstStyle/>
        <a:p>
          <a:endParaRPr lang="en-US"/>
        </a:p>
      </dgm:t>
    </dgm:pt>
    <dgm:pt modelId="{D2A0E0EE-6833-4EB2-AEB0-E1F6AE8CACC6}" type="pres">
      <dgm:prSet presAssocID="{04BA4D4E-9521-4C7F-A575-B2D780062A72}" presName="outerComposite" presStyleCnt="0">
        <dgm:presLayoutVars>
          <dgm:chMax val="5"/>
          <dgm:dir/>
          <dgm:resizeHandles val="exact"/>
        </dgm:presLayoutVars>
      </dgm:prSet>
      <dgm:spPr/>
    </dgm:pt>
    <dgm:pt modelId="{B0888E4C-1557-40C5-89E3-06D790F248CE}" type="pres">
      <dgm:prSet presAssocID="{04BA4D4E-9521-4C7F-A575-B2D780062A72}" presName="dummyMaxCanvas" presStyleCnt="0">
        <dgm:presLayoutVars/>
      </dgm:prSet>
      <dgm:spPr/>
    </dgm:pt>
    <dgm:pt modelId="{6F6ED298-E75A-42A5-B971-E604243F2B0B}" type="pres">
      <dgm:prSet presAssocID="{04BA4D4E-9521-4C7F-A575-B2D780062A72}" presName="FourNodes_1" presStyleLbl="node1" presStyleIdx="0" presStyleCnt="4">
        <dgm:presLayoutVars>
          <dgm:bulletEnabled val="1"/>
        </dgm:presLayoutVars>
      </dgm:prSet>
      <dgm:spPr/>
    </dgm:pt>
    <dgm:pt modelId="{8D1474A7-5623-4D4E-868C-13620D988655}" type="pres">
      <dgm:prSet presAssocID="{04BA4D4E-9521-4C7F-A575-B2D780062A72}" presName="FourNodes_2" presStyleLbl="node1" presStyleIdx="1" presStyleCnt="4">
        <dgm:presLayoutVars>
          <dgm:bulletEnabled val="1"/>
        </dgm:presLayoutVars>
      </dgm:prSet>
      <dgm:spPr/>
    </dgm:pt>
    <dgm:pt modelId="{D98B38FD-3F69-4EE7-8DDF-0C1860856E0E}" type="pres">
      <dgm:prSet presAssocID="{04BA4D4E-9521-4C7F-A575-B2D780062A72}" presName="FourNodes_3" presStyleLbl="node1" presStyleIdx="2" presStyleCnt="4">
        <dgm:presLayoutVars>
          <dgm:bulletEnabled val="1"/>
        </dgm:presLayoutVars>
      </dgm:prSet>
      <dgm:spPr/>
    </dgm:pt>
    <dgm:pt modelId="{C628DB1F-79EC-40C5-9893-5E62042FDFF1}" type="pres">
      <dgm:prSet presAssocID="{04BA4D4E-9521-4C7F-A575-B2D780062A72}" presName="FourNodes_4" presStyleLbl="node1" presStyleIdx="3" presStyleCnt="4">
        <dgm:presLayoutVars>
          <dgm:bulletEnabled val="1"/>
        </dgm:presLayoutVars>
      </dgm:prSet>
      <dgm:spPr/>
    </dgm:pt>
    <dgm:pt modelId="{6D97348E-1D5A-4BD1-9BD8-6FD6D5A306DC}" type="pres">
      <dgm:prSet presAssocID="{04BA4D4E-9521-4C7F-A575-B2D780062A72}" presName="FourConn_1-2" presStyleLbl="fgAccFollowNode1" presStyleIdx="0" presStyleCnt="3">
        <dgm:presLayoutVars>
          <dgm:bulletEnabled val="1"/>
        </dgm:presLayoutVars>
      </dgm:prSet>
      <dgm:spPr/>
    </dgm:pt>
    <dgm:pt modelId="{9B5DAA3D-1E5C-42AD-84C1-433B007F243E}" type="pres">
      <dgm:prSet presAssocID="{04BA4D4E-9521-4C7F-A575-B2D780062A72}" presName="FourConn_2-3" presStyleLbl="fgAccFollowNode1" presStyleIdx="1" presStyleCnt="3">
        <dgm:presLayoutVars>
          <dgm:bulletEnabled val="1"/>
        </dgm:presLayoutVars>
      </dgm:prSet>
      <dgm:spPr/>
    </dgm:pt>
    <dgm:pt modelId="{EB576238-ACFC-461E-823B-4CFF8AEDA0EC}" type="pres">
      <dgm:prSet presAssocID="{04BA4D4E-9521-4C7F-A575-B2D780062A72}" presName="FourConn_3-4" presStyleLbl="fgAccFollowNode1" presStyleIdx="2" presStyleCnt="3">
        <dgm:presLayoutVars>
          <dgm:bulletEnabled val="1"/>
        </dgm:presLayoutVars>
      </dgm:prSet>
      <dgm:spPr/>
    </dgm:pt>
    <dgm:pt modelId="{C4535659-0F5A-484D-875F-5E318B8A375B}" type="pres">
      <dgm:prSet presAssocID="{04BA4D4E-9521-4C7F-A575-B2D780062A72}" presName="FourNodes_1_text" presStyleLbl="node1" presStyleIdx="3" presStyleCnt="4">
        <dgm:presLayoutVars>
          <dgm:bulletEnabled val="1"/>
        </dgm:presLayoutVars>
      </dgm:prSet>
      <dgm:spPr/>
    </dgm:pt>
    <dgm:pt modelId="{8D43FE45-8EFF-4CA8-9B36-55EAF5C00F82}" type="pres">
      <dgm:prSet presAssocID="{04BA4D4E-9521-4C7F-A575-B2D780062A72}" presName="FourNodes_2_text" presStyleLbl="node1" presStyleIdx="3" presStyleCnt="4">
        <dgm:presLayoutVars>
          <dgm:bulletEnabled val="1"/>
        </dgm:presLayoutVars>
      </dgm:prSet>
      <dgm:spPr/>
    </dgm:pt>
    <dgm:pt modelId="{AC6C2915-3E1F-47F2-B70B-A6FC8DD2AB82}" type="pres">
      <dgm:prSet presAssocID="{04BA4D4E-9521-4C7F-A575-B2D780062A72}" presName="FourNodes_3_text" presStyleLbl="node1" presStyleIdx="3" presStyleCnt="4">
        <dgm:presLayoutVars>
          <dgm:bulletEnabled val="1"/>
        </dgm:presLayoutVars>
      </dgm:prSet>
      <dgm:spPr/>
    </dgm:pt>
    <dgm:pt modelId="{4B29AAE4-BA5D-489A-87C3-3A6E7921EA77}" type="pres">
      <dgm:prSet presAssocID="{04BA4D4E-9521-4C7F-A575-B2D780062A72}" presName="FourNodes_4_text" presStyleLbl="node1" presStyleIdx="3" presStyleCnt="4">
        <dgm:presLayoutVars>
          <dgm:bulletEnabled val="1"/>
        </dgm:presLayoutVars>
      </dgm:prSet>
      <dgm:spPr/>
    </dgm:pt>
  </dgm:ptLst>
  <dgm:cxnLst>
    <dgm:cxn modelId="{55777700-E9E0-4402-A729-A6305271B7BF}" srcId="{04BA4D4E-9521-4C7F-A575-B2D780062A72}" destId="{C4D79B87-1A66-4AE1-81EA-0A8E3E551BF5}" srcOrd="2" destOrd="0" parTransId="{9C6EEA2C-2CA8-41C9-B716-D1AD5BBA72FD}" sibTransId="{E73C51B3-8C9D-4E75-8BAB-DB591CC4EF62}"/>
    <dgm:cxn modelId="{A8950B04-FF7C-4302-87D0-CE999224E4AB}" type="presOf" srcId="{0BEA625B-B8A7-4A35-BC74-DEC7F781CEB1}" destId="{8D1474A7-5623-4D4E-868C-13620D988655}" srcOrd="0" destOrd="0" presId="urn:microsoft.com/office/officeart/2005/8/layout/vProcess5"/>
    <dgm:cxn modelId="{03991915-7B6F-470C-8F86-2D4C00CC1EC3}" type="presOf" srcId="{04BA4D4E-9521-4C7F-A575-B2D780062A72}" destId="{D2A0E0EE-6833-4EB2-AEB0-E1F6AE8CACC6}" srcOrd="0" destOrd="0" presId="urn:microsoft.com/office/officeart/2005/8/layout/vProcess5"/>
    <dgm:cxn modelId="{7D4D4146-F543-4C45-807B-4DE1E0179F26}" type="presOf" srcId="{C4D79B87-1A66-4AE1-81EA-0A8E3E551BF5}" destId="{D98B38FD-3F69-4EE7-8DDF-0C1860856E0E}" srcOrd="0" destOrd="0" presId="urn:microsoft.com/office/officeart/2005/8/layout/vProcess5"/>
    <dgm:cxn modelId="{0D424C69-B9B8-4891-8EA3-CD0C6E419BEE}" srcId="{04BA4D4E-9521-4C7F-A575-B2D780062A72}" destId="{9CAD17E9-D40C-4A5A-846E-445F2C633A30}" srcOrd="3" destOrd="0" parTransId="{9821F193-3E67-4149-A9C7-530DA7898DF9}" sibTransId="{2071962A-5725-4B13-A3E3-4C8495C9E7D2}"/>
    <dgm:cxn modelId="{DF321E6C-111D-4AFC-961A-38E09B9C5397}" srcId="{04BA4D4E-9521-4C7F-A575-B2D780062A72}" destId="{0BEA625B-B8A7-4A35-BC74-DEC7F781CEB1}" srcOrd="1" destOrd="0" parTransId="{75558007-9B97-40B3-9120-58544567A4A7}" sibTransId="{4B6F92E7-3366-4CCD-97CE-224ABC900DDF}"/>
    <dgm:cxn modelId="{5E1C546E-D6D5-4837-A1EF-DEE207E4277C}" type="presOf" srcId="{9CAD17E9-D40C-4A5A-846E-445F2C633A30}" destId="{4B29AAE4-BA5D-489A-87C3-3A6E7921EA77}" srcOrd="1" destOrd="0" presId="urn:microsoft.com/office/officeart/2005/8/layout/vProcess5"/>
    <dgm:cxn modelId="{022F6886-75D2-49AE-A7D7-0D0C95D217AA}" type="presOf" srcId="{F56ECB8C-5908-4159-91F3-B939780515C6}" destId="{6F6ED298-E75A-42A5-B971-E604243F2B0B}" srcOrd="0" destOrd="0" presId="urn:microsoft.com/office/officeart/2005/8/layout/vProcess5"/>
    <dgm:cxn modelId="{403D888E-BDDC-4D3F-89F3-48FA939C6906}" srcId="{04BA4D4E-9521-4C7F-A575-B2D780062A72}" destId="{F56ECB8C-5908-4159-91F3-B939780515C6}" srcOrd="0" destOrd="0" parTransId="{3E958DC1-A6EC-41A0-82AC-F345870D0584}" sibTransId="{9A8742CD-E217-411F-987C-0E94D301167D}"/>
    <dgm:cxn modelId="{5755CA9B-BA4C-4A61-B7A2-20A87F786A7E}" type="presOf" srcId="{E73C51B3-8C9D-4E75-8BAB-DB591CC4EF62}" destId="{EB576238-ACFC-461E-823B-4CFF8AEDA0EC}" srcOrd="0" destOrd="0" presId="urn:microsoft.com/office/officeart/2005/8/layout/vProcess5"/>
    <dgm:cxn modelId="{1BC4EC9B-4362-4E8E-8DC3-2F70BFE22564}" type="presOf" srcId="{F56ECB8C-5908-4159-91F3-B939780515C6}" destId="{C4535659-0F5A-484D-875F-5E318B8A375B}" srcOrd="1" destOrd="0" presId="urn:microsoft.com/office/officeart/2005/8/layout/vProcess5"/>
    <dgm:cxn modelId="{51E9DDB4-82FD-45AA-AB3C-95BA86522D38}" type="presOf" srcId="{4B6F92E7-3366-4CCD-97CE-224ABC900DDF}" destId="{9B5DAA3D-1E5C-42AD-84C1-433B007F243E}" srcOrd="0" destOrd="0" presId="urn:microsoft.com/office/officeart/2005/8/layout/vProcess5"/>
    <dgm:cxn modelId="{8C3FB0BC-104E-44F4-93EF-BD86950B9370}" type="presOf" srcId="{9CAD17E9-D40C-4A5A-846E-445F2C633A30}" destId="{C628DB1F-79EC-40C5-9893-5E62042FDFF1}" srcOrd="0" destOrd="0" presId="urn:microsoft.com/office/officeart/2005/8/layout/vProcess5"/>
    <dgm:cxn modelId="{45DEE1C3-CC7E-4F96-9018-75094DDC0798}" type="presOf" srcId="{0BEA625B-B8A7-4A35-BC74-DEC7F781CEB1}" destId="{8D43FE45-8EFF-4CA8-9B36-55EAF5C00F82}" srcOrd="1" destOrd="0" presId="urn:microsoft.com/office/officeart/2005/8/layout/vProcess5"/>
    <dgm:cxn modelId="{287B12D2-16BD-4C80-92CF-064B20EB7EEB}" type="presOf" srcId="{9A8742CD-E217-411F-987C-0E94D301167D}" destId="{6D97348E-1D5A-4BD1-9BD8-6FD6D5A306DC}" srcOrd="0" destOrd="0" presId="urn:microsoft.com/office/officeart/2005/8/layout/vProcess5"/>
    <dgm:cxn modelId="{E8DF61E4-D0B9-49C6-A6E1-9FEF8145095B}" type="presOf" srcId="{C4D79B87-1A66-4AE1-81EA-0A8E3E551BF5}" destId="{AC6C2915-3E1F-47F2-B70B-A6FC8DD2AB82}" srcOrd="1" destOrd="0" presId="urn:microsoft.com/office/officeart/2005/8/layout/vProcess5"/>
    <dgm:cxn modelId="{5A4FAE67-B4DD-4D3C-B4D9-8245194CA3AA}" type="presParOf" srcId="{D2A0E0EE-6833-4EB2-AEB0-E1F6AE8CACC6}" destId="{B0888E4C-1557-40C5-89E3-06D790F248CE}" srcOrd="0" destOrd="0" presId="urn:microsoft.com/office/officeart/2005/8/layout/vProcess5"/>
    <dgm:cxn modelId="{2FD14909-714E-4CD4-8ED5-D51A20C05A50}" type="presParOf" srcId="{D2A0E0EE-6833-4EB2-AEB0-E1F6AE8CACC6}" destId="{6F6ED298-E75A-42A5-B971-E604243F2B0B}" srcOrd="1" destOrd="0" presId="urn:microsoft.com/office/officeart/2005/8/layout/vProcess5"/>
    <dgm:cxn modelId="{FBDB03E5-FD74-4955-8AFF-F130B468E4BA}" type="presParOf" srcId="{D2A0E0EE-6833-4EB2-AEB0-E1F6AE8CACC6}" destId="{8D1474A7-5623-4D4E-868C-13620D988655}" srcOrd="2" destOrd="0" presId="urn:microsoft.com/office/officeart/2005/8/layout/vProcess5"/>
    <dgm:cxn modelId="{81954791-7C3F-42E0-9996-45DBDC54272F}" type="presParOf" srcId="{D2A0E0EE-6833-4EB2-AEB0-E1F6AE8CACC6}" destId="{D98B38FD-3F69-4EE7-8DDF-0C1860856E0E}" srcOrd="3" destOrd="0" presId="urn:microsoft.com/office/officeart/2005/8/layout/vProcess5"/>
    <dgm:cxn modelId="{1CC734BD-8681-4D79-9162-29E2AFAC1574}" type="presParOf" srcId="{D2A0E0EE-6833-4EB2-AEB0-E1F6AE8CACC6}" destId="{C628DB1F-79EC-40C5-9893-5E62042FDFF1}" srcOrd="4" destOrd="0" presId="urn:microsoft.com/office/officeart/2005/8/layout/vProcess5"/>
    <dgm:cxn modelId="{7B9D2228-C9C7-43A6-9212-B2B8B5EDA03F}" type="presParOf" srcId="{D2A0E0EE-6833-4EB2-AEB0-E1F6AE8CACC6}" destId="{6D97348E-1D5A-4BD1-9BD8-6FD6D5A306DC}" srcOrd="5" destOrd="0" presId="urn:microsoft.com/office/officeart/2005/8/layout/vProcess5"/>
    <dgm:cxn modelId="{C23F1B59-7BD1-4DFC-879B-D6022774E0DC}" type="presParOf" srcId="{D2A0E0EE-6833-4EB2-AEB0-E1F6AE8CACC6}" destId="{9B5DAA3D-1E5C-42AD-84C1-433B007F243E}" srcOrd="6" destOrd="0" presId="urn:microsoft.com/office/officeart/2005/8/layout/vProcess5"/>
    <dgm:cxn modelId="{A137309B-DFAA-447F-B648-E947E4CA362B}" type="presParOf" srcId="{D2A0E0EE-6833-4EB2-AEB0-E1F6AE8CACC6}" destId="{EB576238-ACFC-461E-823B-4CFF8AEDA0EC}" srcOrd="7" destOrd="0" presId="urn:microsoft.com/office/officeart/2005/8/layout/vProcess5"/>
    <dgm:cxn modelId="{B6BE3636-87AB-4F86-B881-FC869CC223CA}" type="presParOf" srcId="{D2A0E0EE-6833-4EB2-AEB0-E1F6AE8CACC6}" destId="{C4535659-0F5A-484D-875F-5E318B8A375B}" srcOrd="8" destOrd="0" presId="urn:microsoft.com/office/officeart/2005/8/layout/vProcess5"/>
    <dgm:cxn modelId="{EEAACED5-2004-4A7C-BFDD-71F2EDCA860B}" type="presParOf" srcId="{D2A0E0EE-6833-4EB2-AEB0-E1F6AE8CACC6}" destId="{8D43FE45-8EFF-4CA8-9B36-55EAF5C00F82}" srcOrd="9" destOrd="0" presId="urn:microsoft.com/office/officeart/2005/8/layout/vProcess5"/>
    <dgm:cxn modelId="{5E6A7AE5-DBDB-42A5-AB2E-B57954F8877C}" type="presParOf" srcId="{D2A0E0EE-6833-4EB2-AEB0-E1F6AE8CACC6}" destId="{AC6C2915-3E1F-47F2-B70B-A6FC8DD2AB82}" srcOrd="10" destOrd="0" presId="urn:microsoft.com/office/officeart/2005/8/layout/vProcess5"/>
    <dgm:cxn modelId="{8248E21C-5115-4111-A5E5-979694D16116}" type="presParOf" srcId="{D2A0E0EE-6833-4EB2-AEB0-E1F6AE8CACC6}" destId="{4B29AAE4-BA5D-489A-87C3-3A6E7921EA77}" srcOrd="11"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4D9C652-4243-45DD-B067-AA82F9B3E11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268318E4-3AFE-47C1-B952-5A4A7F100137}">
      <dgm:prSet/>
      <dgm:spPr/>
      <dgm:t>
        <a:bodyPr/>
        <a:lstStyle/>
        <a:p>
          <a:r>
            <a:rPr lang="en-US" dirty="0"/>
            <a:t>Bio-based polymers – Cellulose derivatives – Not efficient in creating the type of effects that are viable</a:t>
          </a:r>
        </a:p>
      </dgm:t>
    </dgm:pt>
    <dgm:pt modelId="{5EB40EE2-AA0B-4AC0-8190-1FF1BAD8E5C4}" type="parTrans" cxnId="{4E6F646D-BEE4-4982-83C7-6D5336C13CC8}">
      <dgm:prSet/>
      <dgm:spPr/>
      <dgm:t>
        <a:bodyPr/>
        <a:lstStyle/>
        <a:p>
          <a:endParaRPr lang="en-US"/>
        </a:p>
      </dgm:t>
    </dgm:pt>
    <dgm:pt modelId="{CC6E1FD8-32A6-4373-8505-606654085F9B}" type="sibTrans" cxnId="{4E6F646D-BEE4-4982-83C7-6D5336C13CC8}">
      <dgm:prSet/>
      <dgm:spPr/>
      <dgm:t>
        <a:bodyPr/>
        <a:lstStyle/>
        <a:p>
          <a:endParaRPr lang="en-US"/>
        </a:p>
      </dgm:t>
    </dgm:pt>
    <dgm:pt modelId="{2F1E3307-A416-4BDC-850C-E1488B0CF98E}">
      <dgm:prSet/>
      <dgm:spPr/>
      <dgm:t>
        <a:bodyPr/>
        <a:lstStyle/>
        <a:p>
          <a:r>
            <a:rPr lang="en-US"/>
            <a:t>Wax-Based Additives – Carnuba, PE, PP waxes – Limited in performance and heat stability</a:t>
          </a:r>
        </a:p>
      </dgm:t>
    </dgm:pt>
    <dgm:pt modelId="{2F18D857-4A8D-4240-B0B5-C51CA3C775A1}" type="parTrans" cxnId="{73F12620-EEB2-4B64-B9AB-193BCB91374B}">
      <dgm:prSet/>
      <dgm:spPr/>
      <dgm:t>
        <a:bodyPr/>
        <a:lstStyle/>
        <a:p>
          <a:endParaRPr lang="en-US"/>
        </a:p>
      </dgm:t>
    </dgm:pt>
    <dgm:pt modelId="{C546D8F8-DE63-40D6-A17F-24D758DBFEB5}" type="sibTrans" cxnId="{73F12620-EEB2-4B64-B9AB-193BCB91374B}">
      <dgm:prSet/>
      <dgm:spPr/>
      <dgm:t>
        <a:bodyPr/>
        <a:lstStyle/>
        <a:p>
          <a:endParaRPr lang="en-US"/>
        </a:p>
      </dgm:t>
    </dgm:pt>
    <dgm:pt modelId="{072070F1-9075-4704-B275-D599EDCC6405}">
      <dgm:prSet/>
      <dgm:spPr/>
      <dgm:t>
        <a:bodyPr/>
        <a:lstStyle/>
        <a:p>
          <a:r>
            <a:rPr lang="en-US"/>
            <a:t>Ceramic &amp; Inorganics – Silica, graphite – Not very effective, some addition as high as 10%</a:t>
          </a:r>
        </a:p>
      </dgm:t>
    </dgm:pt>
    <dgm:pt modelId="{F54B4652-2491-44FD-BFA5-DA314DBA89CE}" type="parTrans" cxnId="{DFF776D6-8EE9-48A9-A605-66ACDB94E496}">
      <dgm:prSet/>
      <dgm:spPr/>
      <dgm:t>
        <a:bodyPr/>
        <a:lstStyle/>
        <a:p>
          <a:endParaRPr lang="en-US"/>
        </a:p>
      </dgm:t>
    </dgm:pt>
    <dgm:pt modelId="{6425122B-6591-4C33-895C-7CCE94E93F80}" type="sibTrans" cxnId="{DFF776D6-8EE9-48A9-A605-66ACDB94E496}">
      <dgm:prSet/>
      <dgm:spPr/>
      <dgm:t>
        <a:bodyPr/>
        <a:lstStyle/>
        <a:p>
          <a:endParaRPr lang="en-US"/>
        </a:p>
      </dgm:t>
    </dgm:pt>
    <dgm:pt modelId="{57A9FF07-4C6E-4F7F-BF3B-143E738A8839}">
      <dgm:prSet/>
      <dgm:spPr/>
      <dgm:t>
        <a:bodyPr/>
        <a:lstStyle/>
        <a:p>
          <a:r>
            <a:rPr lang="en-US" dirty="0"/>
            <a:t>Clay-based additives  - Shown success in creating ACCEPTABLE sand-textures as well as good test performances</a:t>
          </a:r>
        </a:p>
      </dgm:t>
    </dgm:pt>
    <dgm:pt modelId="{05B7EE56-6CD9-48BA-89E8-ACF4CC598592}" type="parTrans" cxnId="{59DBFECA-ADA2-43DF-BDFB-D4627F163E36}">
      <dgm:prSet/>
      <dgm:spPr/>
      <dgm:t>
        <a:bodyPr/>
        <a:lstStyle/>
        <a:p>
          <a:endParaRPr lang="en-US"/>
        </a:p>
      </dgm:t>
    </dgm:pt>
    <dgm:pt modelId="{AEDCA2F0-DB61-4B77-9D4A-C9DC7097D671}" type="sibTrans" cxnId="{59DBFECA-ADA2-43DF-BDFB-D4627F163E36}">
      <dgm:prSet/>
      <dgm:spPr/>
      <dgm:t>
        <a:bodyPr/>
        <a:lstStyle/>
        <a:p>
          <a:endParaRPr lang="en-US"/>
        </a:p>
      </dgm:t>
    </dgm:pt>
    <dgm:pt modelId="{CC76D180-BDF2-4C31-A9AA-F8EB86A87EC5}" type="pres">
      <dgm:prSet presAssocID="{14D9C652-4243-45DD-B067-AA82F9B3E117}" presName="vert0" presStyleCnt="0">
        <dgm:presLayoutVars>
          <dgm:dir/>
          <dgm:animOne val="branch"/>
          <dgm:animLvl val="lvl"/>
        </dgm:presLayoutVars>
      </dgm:prSet>
      <dgm:spPr/>
    </dgm:pt>
    <dgm:pt modelId="{A806888B-439B-433D-8B78-64B7E5A2860B}" type="pres">
      <dgm:prSet presAssocID="{268318E4-3AFE-47C1-B952-5A4A7F100137}" presName="thickLine" presStyleLbl="alignNode1" presStyleIdx="0" presStyleCnt="4"/>
      <dgm:spPr/>
    </dgm:pt>
    <dgm:pt modelId="{781BAA6D-8549-4C98-B6C8-44AE35599A41}" type="pres">
      <dgm:prSet presAssocID="{268318E4-3AFE-47C1-B952-5A4A7F100137}" presName="horz1" presStyleCnt="0"/>
      <dgm:spPr/>
    </dgm:pt>
    <dgm:pt modelId="{70C7E7D0-F318-47C0-AA31-66106CD69CA2}" type="pres">
      <dgm:prSet presAssocID="{268318E4-3AFE-47C1-B952-5A4A7F100137}" presName="tx1" presStyleLbl="revTx" presStyleIdx="0" presStyleCnt="4"/>
      <dgm:spPr/>
    </dgm:pt>
    <dgm:pt modelId="{38D12839-5C80-4C3F-9610-F745B6B824DC}" type="pres">
      <dgm:prSet presAssocID="{268318E4-3AFE-47C1-B952-5A4A7F100137}" presName="vert1" presStyleCnt="0"/>
      <dgm:spPr/>
    </dgm:pt>
    <dgm:pt modelId="{8C333AD1-8E43-4612-A8B2-6595736DBB87}" type="pres">
      <dgm:prSet presAssocID="{2F1E3307-A416-4BDC-850C-E1488B0CF98E}" presName="thickLine" presStyleLbl="alignNode1" presStyleIdx="1" presStyleCnt="4"/>
      <dgm:spPr/>
    </dgm:pt>
    <dgm:pt modelId="{DB39C5F4-715A-417D-A642-9802BBBA8D68}" type="pres">
      <dgm:prSet presAssocID="{2F1E3307-A416-4BDC-850C-E1488B0CF98E}" presName="horz1" presStyleCnt="0"/>
      <dgm:spPr/>
    </dgm:pt>
    <dgm:pt modelId="{17CF9BE8-7545-413A-946A-7A922B2A5A43}" type="pres">
      <dgm:prSet presAssocID="{2F1E3307-A416-4BDC-850C-E1488B0CF98E}" presName="tx1" presStyleLbl="revTx" presStyleIdx="1" presStyleCnt="4"/>
      <dgm:spPr/>
    </dgm:pt>
    <dgm:pt modelId="{35C87C14-3951-47DF-8197-AEA1BA16BD97}" type="pres">
      <dgm:prSet presAssocID="{2F1E3307-A416-4BDC-850C-E1488B0CF98E}" presName="vert1" presStyleCnt="0"/>
      <dgm:spPr/>
    </dgm:pt>
    <dgm:pt modelId="{FC2B86DF-A42B-4E49-878E-EE9EC847ECEB}" type="pres">
      <dgm:prSet presAssocID="{072070F1-9075-4704-B275-D599EDCC6405}" presName="thickLine" presStyleLbl="alignNode1" presStyleIdx="2" presStyleCnt="4"/>
      <dgm:spPr/>
    </dgm:pt>
    <dgm:pt modelId="{BA825D05-BFDF-4EAA-A6F3-47A1DF67E9D3}" type="pres">
      <dgm:prSet presAssocID="{072070F1-9075-4704-B275-D599EDCC6405}" presName="horz1" presStyleCnt="0"/>
      <dgm:spPr/>
    </dgm:pt>
    <dgm:pt modelId="{9F6BFF1F-1101-4A76-A15B-46FFD2CF501A}" type="pres">
      <dgm:prSet presAssocID="{072070F1-9075-4704-B275-D599EDCC6405}" presName="tx1" presStyleLbl="revTx" presStyleIdx="2" presStyleCnt="4"/>
      <dgm:spPr/>
    </dgm:pt>
    <dgm:pt modelId="{AD316112-1125-4569-AD1C-4743C89F51CE}" type="pres">
      <dgm:prSet presAssocID="{072070F1-9075-4704-B275-D599EDCC6405}" presName="vert1" presStyleCnt="0"/>
      <dgm:spPr/>
    </dgm:pt>
    <dgm:pt modelId="{385811D2-5F69-46EB-925B-6E7529B8A231}" type="pres">
      <dgm:prSet presAssocID="{57A9FF07-4C6E-4F7F-BF3B-143E738A8839}" presName="thickLine" presStyleLbl="alignNode1" presStyleIdx="3" presStyleCnt="4"/>
      <dgm:spPr/>
    </dgm:pt>
    <dgm:pt modelId="{5A31771D-03F9-4DC7-A80C-BE1984981D67}" type="pres">
      <dgm:prSet presAssocID="{57A9FF07-4C6E-4F7F-BF3B-143E738A8839}" presName="horz1" presStyleCnt="0"/>
      <dgm:spPr/>
    </dgm:pt>
    <dgm:pt modelId="{E3C63923-4530-45B9-B72E-2932132F7D2A}" type="pres">
      <dgm:prSet presAssocID="{57A9FF07-4C6E-4F7F-BF3B-143E738A8839}" presName="tx1" presStyleLbl="revTx" presStyleIdx="3" presStyleCnt="4"/>
      <dgm:spPr/>
    </dgm:pt>
    <dgm:pt modelId="{BD428611-CF4C-42CB-9B37-340C16294B4F}" type="pres">
      <dgm:prSet presAssocID="{57A9FF07-4C6E-4F7F-BF3B-143E738A8839}" presName="vert1" presStyleCnt="0"/>
      <dgm:spPr/>
    </dgm:pt>
  </dgm:ptLst>
  <dgm:cxnLst>
    <dgm:cxn modelId="{ED19BD06-B2DB-401A-A49D-14625AB0F1E0}" type="presOf" srcId="{2F1E3307-A416-4BDC-850C-E1488B0CF98E}" destId="{17CF9BE8-7545-413A-946A-7A922B2A5A43}" srcOrd="0" destOrd="0" presId="urn:microsoft.com/office/officeart/2008/layout/LinedList"/>
    <dgm:cxn modelId="{73F12620-EEB2-4B64-B9AB-193BCB91374B}" srcId="{14D9C652-4243-45DD-B067-AA82F9B3E117}" destId="{2F1E3307-A416-4BDC-850C-E1488B0CF98E}" srcOrd="1" destOrd="0" parTransId="{2F18D857-4A8D-4240-B0B5-C51CA3C775A1}" sibTransId="{C546D8F8-DE63-40D6-A17F-24D758DBFEB5}"/>
    <dgm:cxn modelId="{4E6F646D-BEE4-4982-83C7-6D5336C13CC8}" srcId="{14D9C652-4243-45DD-B067-AA82F9B3E117}" destId="{268318E4-3AFE-47C1-B952-5A4A7F100137}" srcOrd="0" destOrd="0" parTransId="{5EB40EE2-AA0B-4AC0-8190-1FF1BAD8E5C4}" sibTransId="{CC6E1FD8-32A6-4373-8505-606654085F9B}"/>
    <dgm:cxn modelId="{D3548472-610F-4C59-BDBC-7B5707FBA0E1}" type="presOf" srcId="{57A9FF07-4C6E-4F7F-BF3B-143E738A8839}" destId="{E3C63923-4530-45B9-B72E-2932132F7D2A}" srcOrd="0" destOrd="0" presId="urn:microsoft.com/office/officeart/2008/layout/LinedList"/>
    <dgm:cxn modelId="{E2179B97-EC1E-4A48-865D-5CACE6F0BF3F}" type="presOf" srcId="{072070F1-9075-4704-B275-D599EDCC6405}" destId="{9F6BFF1F-1101-4A76-A15B-46FFD2CF501A}" srcOrd="0" destOrd="0" presId="urn:microsoft.com/office/officeart/2008/layout/LinedList"/>
    <dgm:cxn modelId="{5FE543C4-5B73-41DD-A0F3-68A22427AC9B}" type="presOf" srcId="{268318E4-3AFE-47C1-B952-5A4A7F100137}" destId="{70C7E7D0-F318-47C0-AA31-66106CD69CA2}" srcOrd="0" destOrd="0" presId="urn:microsoft.com/office/officeart/2008/layout/LinedList"/>
    <dgm:cxn modelId="{59DBFECA-ADA2-43DF-BDFB-D4627F163E36}" srcId="{14D9C652-4243-45DD-B067-AA82F9B3E117}" destId="{57A9FF07-4C6E-4F7F-BF3B-143E738A8839}" srcOrd="3" destOrd="0" parTransId="{05B7EE56-6CD9-48BA-89E8-ACF4CC598592}" sibTransId="{AEDCA2F0-DB61-4B77-9D4A-C9DC7097D671}"/>
    <dgm:cxn modelId="{DFF776D6-8EE9-48A9-A605-66ACDB94E496}" srcId="{14D9C652-4243-45DD-B067-AA82F9B3E117}" destId="{072070F1-9075-4704-B275-D599EDCC6405}" srcOrd="2" destOrd="0" parTransId="{F54B4652-2491-44FD-BFA5-DA314DBA89CE}" sibTransId="{6425122B-6591-4C33-895C-7CCE94E93F80}"/>
    <dgm:cxn modelId="{5D4D0BE8-19EB-4B9A-B0F2-E20A47A41B41}" type="presOf" srcId="{14D9C652-4243-45DD-B067-AA82F9B3E117}" destId="{CC76D180-BDF2-4C31-A9AA-F8EB86A87EC5}" srcOrd="0" destOrd="0" presId="urn:microsoft.com/office/officeart/2008/layout/LinedList"/>
    <dgm:cxn modelId="{51C33F0C-B83E-45F2-B78A-D1CB1AD4C00A}" type="presParOf" srcId="{CC76D180-BDF2-4C31-A9AA-F8EB86A87EC5}" destId="{A806888B-439B-433D-8B78-64B7E5A2860B}" srcOrd="0" destOrd="0" presId="urn:microsoft.com/office/officeart/2008/layout/LinedList"/>
    <dgm:cxn modelId="{28F588D5-CBBA-4AD4-BF1C-1F6F46F946D4}" type="presParOf" srcId="{CC76D180-BDF2-4C31-A9AA-F8EB86A87EC5}" destId="{781BAA6D-8549-4C98-B6C8-44AE35599A41}" srcOrd="1" destOrd="0" presId="urn:microsoft.com/office/officeart/2008/layout/LinedList"/>
    <dgm:cxn modelId="{2A96A867-5AE2-4346-8996-8DC45D330A56}" type="presParOf" srcId="{781BAA6D-8549-4C98-B6C8-44AE35599A41}" destId="{70C7E7D0-F318-47C0-AA31-66106CD69CA2}" srcOrd="0" destOrd="0" presId="urn:microsoft.com/office/officeart/2008/layout/LinedList"/>
    <dgm:cxn modelId="{8EA24031-495B-4327-ADAC-2F2DA3152FFF}" type="presParOf" srcId="{781BAA6D-8549-4C98-B6C8-44AE35599A41}" destId="{38D12839-5C80-4C3F-9610-F745B6B824DC}" srcOrd="1" destOrd="0" presId="urn:microsoft.com/office/officeart/2008/layout/LinedList"/>
    <dgm:cxn modelId="{162C833F-D7A9-49D5-90B1-341E91408659}" type="presParOf" srcId="{CC76D180-BDF2-4C31-A9AA-F8EB86A87EC5}" destId="{8C333AD1-8E43-4612-A8B2-6595736DBB87}" srcOrd="2" destOrd="0" presId="urn:microsoft.com/office/officeart/2008/layout/LinedList"/>
    <dgm:cxn modelId="{C4955148-6962-4A72-80C4-D1F3BCA692C8}" type="presParOf" srcId="{CC76D180-BDF2-4C31-A9AA-F8EB86A87EC5}" destId="{DB39C5F4-715A-417D-A642-9802BBBA8D68}" srcOrd="3" destOrd="0" presId="urn:microsoft.com/office/officeart/2008/layout/LinedList"/>
    <dgm:cxn modelId="{266078A7-A272-475B-B41E-B9B1CE382BD0}" type="presParOf" srcId="{DB39C5F4-715A-417D-A642-9802BBBA8D68}" destId="{17CF9BE8-7545-413A-946A-7A922B2A5A43}" srcOrd="0" destOrd="0" presId="urn:microsoft.com/office/officeart/2008/layout/LinedList"/>
    <dgm:cxn modelId="{3DB3DC4F-6031-48DC-9912-429CF2B33308}" type="presParOf" srcId="{DB39C5F4-715A-417D-A642-9802BBBA8D68}" destId="{35C87C14-3951-47DF-8197-AEA1BA16BD97}" srcOrd="1" destOrd="0" presId="urn:microsoft.com/office/officeart/2008/layout/LinedList"/>
    <dgm:cxn modelId="{7EF26FDD-BA57-4F2C-8D20-13E5CAF7BBF6}" type="presParOf" srcId="{CC76D180-BDF2-4C31-A9AA-F8EB86A87EC5}" destId="{FC2B86DF-A42B-4E49-878E-EE9EC847ECEB}" srcOrd="4" destOrd="0" presId="urn:microsoft.com/office/officeart/2008/layout/LinedList"/>
    <dgm:cxn modelId="{C21CA8B6-3B3E-432F-A345-86181DDF6899}" type="presParOf" srcId="{CC76D180-BDF2-4C31-A9AA-F8EB86A87EC5}" destId="{BA825D05-BFDF-4EAA-A6F3-47A1DF67E9D3}" srcOrd="5" destOrd="0" presId="urn:microsoft.com/office/officeart/2008/layout/LinedList"/>
    <dgm:cxn modelId="{C7DA03B3-97A4-45A0-9463-B62AD0F6D339}" type="presParOf" srcId="{BA825D05-BFDF-4EAA-A6F3-47A1DF67E9D3}" destId="{9F6BFF1F-1101-4A76-A15B-46FFD2CF501A}" srcOrd="0" destOrd="0" presId="urn:microsoft.com/office/officeart/2008/layout/LinedList"/>
    <dgm:cxn modelId="{A04C4F68-7B19-4A33-95CA-C11A385BD80A}" type="presParOf" srcId="{BA825D05-BFDF-4EAA-A6F3-47A1DF67E9D3}" destId="{AD316112-1125-4569-AD1C-4743C89F51CE}" srcOrd="1" destOrd="0" presId="urn:microsoft.com/office/officeart/2008/layout/LinedList"/>
    <dgm:cxn modelId="{16E26172-FAF6-4438-902A-8759DF40FBC1}" type="presParOf" srcId="{CC76D180-BDF2-4C31-A9AA-F8EB86A87EC5}" destId="{385811D2-5F69-46EB-925B-6E7529B8A231}" srcOrd="6" destOrd="0" presId="urn:microsoft.com/office/officeart/2008/layout/LinedList"/>
    <dgm:cxn modelId="{F62B4529-5385-4E10-BC01-46ABDF848C82}" type="presParOf" srcId="{CC76D180-BDF2-4C31-A9AA-F8EB86A87EC5}" destId="{5A31771D-03F9-4DC7-A80C-BE1984981D67}" srcOrd="7" destOrd="0" presId="urn:microsoft.com/office/officeart/2008/layout/LinedList"/>
    <dgm:cxn modelId="{9BD509C0-098B-4D92-A6B7-7D3AB9F041E9}" type="presParOf" srcId="{5A31771D-03F9-4DC7-A80C-BE1984981D67}" destId="{E3C63923-4530-45B9-B72E-2932132F7D2A}" srcOrd="0" destOrd="0" presId="urn:microsoft.com/office/officeart/2008/layout/LinedList"/>
    <dgm:cxn modelId="{7C80C328-B057-48CF-A5E3-86553D4906C0}" type="presParOf" srcId="{5A31771D-03F9-4DC7-A80C-BE1984981D67}" destId="{BD428611-CF4C-42CB-9B37-340C16294B4F}"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59719AE-B4F9-4C43-91B8-4DF8DB4255A8}"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B6E43563-8770-488F-AEAB-0BBCC910912C}">
      <dgm:prSet/>
      <dgm:spPr/>
      <dgm:t>
        <a:bodyPr/>
        <a:lstStyle/>
        <a:p>
          <a:r>
            <a:rPr lang="en-US" b="0" i="0" baseline="0"/>
            <a:t>Binder and Resin Considerations</a:t>
          </a:r>
          <a:endParaRPr lang="en-US"/>
        </a:p>
      </dgm:t>
    </dgm:pt>
    <dgm:pt modelId="{75218137-2A95-4914-A92C-BE486EAA1653}" type="parTrans" cxnId="{B2F7F560-99CC-4CB6-B1BE-81D253056FBA}">
      <dgm:prSet/>
      <dgm:spPr/>
      <dgm:t>
        <a:bodyPr/>
        <a:lstStyle/>
        <a:p>
          <a:endParaRPr lang="en-US"/>
        </a:p>
      </dgm:t>
    </dgm:pt>
    <dgm:pt modelId="{4F888409-094A-44DB-BA65-4D61A545DCAA}" type="sibTrans" cxnId="{B2F7F560-99CC-4CB6-B1BE-81D253056FBA}">
      <dgm:prSet/>
      <dgm:spPr/>
      <dgm:t>
        <a:bodyPr/>
        <a:lstStyle/>
        <a:p>
          <a:endParaRPr lang="en-US"/>
        </a:p>
      </dgm:t>
    </dgm:pt>
    <dgm:pt modelId="{343B2A9B-9FB7-480B-898E-1D5FD42C314B}">
      <dgm:prSet/>
      <dgm:spPr/>
      <dgm:t>
        <a:bodyPr/>
        <a:lstStyle/>
        <a:p>
          <a:r>
            <a:rPr lang="en-US" b="0" i="0" baseline="0"/>
            <a:t>Additive Synergies</a:t>
          </a:r>
          <a:endParaRPr lang="en-US"/>
        </a:p>
      </dgm:t>
    </dgm:pt>
    <dgm:pt modelId="{0C3C9834-8652-41F1-96AD-308EEDA2B3FA}" type="parTrans" cxnId="{7D08AEC2-A610-4C8D-AF1B-FB1566B5B64D}">
      <dgm:prSet/>
      <dgm:spPr/>
      <dgm:t>
        <a:bodyPr/>
        <a:lstStyle/>
        <a:p>
          <a:endParaRPr lang="en-US"/>
        </a:p>
      </dgm:t>
    </dgm:pt>
    <dgm:pt modelId="{D3B95B20-C1C0-41BA-B657-656F0E65E45B}" type="sibTrans" cxnId="{7D08AEC2-A610-4C8D-AF1B-FB1566B5B64D}">
      <dgm:prSet/>
      <dgm:spPr/>
      <dgm:t>
        <a:bodyPr/>
        <a:lstStyle/>
        <a:p>
          <a:endParaRPr lang="en-US"/>
        </a:p>
      </dgm:t>
    </dgm:pt>
    <dgm:pt modelId="{53C01DF5-3D9C-4824-9E3E-FE3F2F7FF03F}">
      <dgm:prSet/>
      <dgm:spPr/>
      <dgm:t>
        <a:bodyPr/>
        <a:lstStyle/>
        <a:p>
          <a:r>
            <a:rPr lang="en-US" b="0" i="0" baseline="0"/>
            <a:t>Particle Size and Dispersion Optimization</a:t>
          </a:r>
          <a:endParaRPr lang="en-US"/>
        </a:p>
      </dgm:t>
    </dgm:pt>
    <dgm:pt modelId="{7A9054C6-73BF-40A0-880B-1EEB95FD46A5}" type="parTrans" cxnId="{F0CF1677-F15C-4907-A2E7-D423EC6A6280}">
      <dgm:prSet/>
      <dgm:spPr/>
      <dgm:t>
        <a:bodyPr/>
        <a:lstStyle/>
        <a:p>
          <a:endParaRPr lang="en-US"/>
        </a:p>
      </dgm:t>
    </dgm:pt>
    <dgm:pt modelId="{C5E6FC50-F5C3-4AEB-8CC6-7227FEFB417D}" type="sibTrans" cxnId="{F0CF1677-F15C-4907-A2E7-D423EC6A6280}">
      <dgm:prSet/>
      <dgm:spPr/>
      <dgm:t>
        <a:bodyPr/>
        <a:lstStyle/>
        <a:p>
          <a:endParaRPr lang="en-US"/>
        </a:p>
      </dgm:t>
    </dgm:pt>
    <dgm:pt modelId="{5D858446-73C8-48AA-9893-125E27DAC1D3}">
      <dgm:prSet/>
      <dgm:spPr/>
      <dgm:t>
        <a:bodyPr/>
        <a:lstStyle/>
        <a:p>
          <a:r>
            <a:rPr lang="en-US" b="0" i="0" baseline="0"/>
            <a:t>Surface Energy and Application Techniques</a:t>
          </a:r>
          <a:endParaRPr lang="en-US"/>
        </a:p>
      </dgm:t>
    </dgm:pt>
    <dgm:pt modelId="{C5F5DC5F-5A8D-4DC3-8B57-B327E3F6D79F}" type="parTrans" cxnId="{C95937EB-37C9-4BEF-9CF1-6FB128CA7836}">
      <dgm:prSet/>
      <dgm:spPr/>
      <dgm:t>
        <a:bodyPr/>
        <a:lstStyle/>
        <a:p>
          <a:endParaRPr lang="en-US"/>
        </a:p>
      </dgm:t>
    </dgm:pt>
    <dgm:pt modelId="{3162D46E-9AAA-4294-8DA3-2A1874140CE1}" type="sibTrans" cxnId="{C95937EB-37C9-4BEF-9CF1-6FB128CA7836}">
      <dgm:prSet/>
      <dgm:spPr/>
      <dgm:t>
        <a:bodyPr/>
        <a:lstStyle/>
        <a:p>
          <a:endParaRPr lang="en-US"/>
        </a:p>
      </dgm:t>
    </dgm:pt>
    <dgm:pt modelId="{D037A813-644D-46B1-82BC-97C791DC1F59}" type="pres">
      <dgm:prSet presAssocID="{959719AE-B4F9-4C43-91B8-4DF8DB4255A8}" presName="root" presStyleCnt="0">
        <dgm:presLayoutVars>
          <dgm:dir/>
          <dgm:resizeHandles val="exact"/>
        </dgm:presLayoutVars>
      </dgm:prSet>
      <dgm:spPr/>
    </dgm:pt>
    <dgm:pt modelId="{F1F8004B-1F18-4871-96E7-C3C8726B5D91}" type="pres">
      <dgm:prSet presAssocID="{959719AE-B4F9-4C43-91B8-4DF8DB4255A8}" presName="container" presStyleCnt="0">
        <dgm:presLayoutVars>
          <dgm:dir/>
          <dgm:resizeHandles val="exact"/>
        </dgm:presLayoutVars>
      </dgm:prSet>
      <dgm:spPr/>
    </dgm:pt>
    <dgm:pt modelId="{E0C7553D-5F69-46EB-BBD6-E0E2333C4FEA}" type="pres">
      <dgm:prSet presAssocID="{B6E43563-8770-488F-AEAB-0BBCC910912C}" presName="compNode" presStyleCnt="0"/>
      <dgm:spPr/>
    </dgm:pt>
    <dgm:pt modelId="{BA545A45-0A98-4B26-8406-91D3FCE6C0E7}" type="pres">
      <dgm:prSet presAssocID="{B6E43563-8770-488F-AEAB-0BBCC910912C}" presName="iconBgRect" presStyleLbl="bgShp" presStyleIdx="0" presStyleCnt="4" custLinFactNeighborX="2668" custLinFactNeighborY="1045"/>
      <dgm:spPr>
        <a:solidFill>
          <a:schemeClr val="accent5">
            <a:lumMod val="40000"/>
            <a:lumOff val="60000"/>
          </a:schemeClr>
        </a:solidFill>
        <a:ln>
          <a:noFill/>
        </a:ln>
        <a:effectLst/>
        <a:scene3d>
          <a:camera prst="orthographicFront">
            <a:rot lat="0" lon="0" rev="0"/>
          </a:camera>
          <a:lightRig rig="contrasting" dir="t">
            <a:rot lat="0" lon="0" rev="7800000"/>
          </a:lightRig>
        </a:scene3d>
        <a:sp3d>
          <a:bevelT w="139700" h="139700"/>
        </a:sp3d>
      </dgm:spPr>
    </dgm:pt>
    <dgm:pt modelId="{6DAC7C75-D2EB-4825-AF03-F7BE9FF2034E}" type="pres">
      <dgm:prSet presAssocID="{B6E43563-8770-488F-AEAB-0BBCC910912C}"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ument"/>
        </a:ext>
      </dgm:extLst>
    </dgm:pt>
    <dgm:pt modelId="{9D41DD8A-8CD9-40C4-B609-05880A749595}" type="pres">
      <dgm:prSet presAssocID="{B6E43563-8770-488F-AEAB-0BBCC910912C}" presName="spaceRect" presStyleCnt="0"/>
      <dgm:spPr/>
    </dgm:pt>
    <dgm:pt modelId="{67191FBB-B64E-48B8-9D2A-28CAB32E8C6F}" type="pres">
      <dgm:prSet presAssocID="{B6E43563-8770-488F-AEAB-0BBCC910912C}" presName="textRect" presStyleLbl="revTx" presStyleIdx="0" presStyleCnt="4">
        <dgm:presLayoutVars>
          <dgm:chMax val="1"/>
          <dgm:chPref val="1"/>
        </dgm:presLayoutVars>
      </dgm:prSet>
      <dgm:spPr/>
    </dgm:pt>
    <dgm:pt modelId="{2860AC21-C2CB-4FF8-8B21-8050D8CFD92C}" type="pres">
      <dgm:prSet presAssocID="{4F888409-094A-44DB-BA65-4D61A545DCAA}" presName="sibTrans" presStyleLbl="sibTrans2D1" presStyleIdx="0" presStyleCnt="0"/>
      <dgm:spPr/>
    </dgm:pt>
    <dgm:pt modelId="{ABAE886D-1555-44A4-850A-728E97527B6A}" type="pres">
      <dgm:prSet presAssocID="{343B2A9B-9FB7-480B-898E-1D5FD42C314B}" presName="compNode" presStyleCnt="0"/>
      <dgm:spPr/>
    </dgm:pt>
    <dgm:pt modelId="{62B37C20-7419-49CB-9D00-A747C7E73B9E}" type="pres">
      <dgm:prSet presAssocID="{343B2A9B-9FB7-480B-898E-1D5FD42C314B}" presName="iconBgRect" presStyleLbl="bgShp" presStyleIdx="1" presStyleCnt="4"/>
      <dgm:spPr>
        <a:solidFill>
          <a:schemeClr val="accent1">
            <a:lumMod val="75000"/>
          </a:schemeClr>
        </a:solidFill>
        <a:ln>
          <a:noFill/>
        </a:ln>
        <a:effectLst/>
        <a:scene3d>
          <a:camera prst="orthographicFront">
            <a:rot lat="0" lon="0" rev="0"/>
          </a:camera>
          <a:lightRig rig="chilly" dir="t">
            <a:rot lat="0" lon="0" rev="18480000"/>
          </a:lightRig>
        </a:scene3d>
        <a:sp3d prstMaterial="clear">
          <a:bevelT h="63500"/>
        </a:sp3d>
      </dgm:spPr>
    </dgm:pt>
    <dgm:pt modelId="{569AAA96-1930-4A3C-AAAB-0F0FB2F8FB4F}" type="pres">
      <dgm:prSet presAssocID="{343B2A9B-9FB7-480B-898E-1D5FD42C314B}"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ears"/>
        </a:ext>
      </dgm:extLst>
    </dgm:pt>
    <dgm:pt modelId="{4F3E512F-F918-4A23-B85C-582120239303}" type="pres">
      <dgm:prSet presAssocID="{343B2A9B-9FB7-480B-898E-1D5FD42C314B}" presName="spaceRect" presStyleCnt="0"/>
      <dgm:spPr/>
    </dgm:pt>
    <dgm:pt modelId="{B1950783-A2E2-48AD-9E54-F51340413CE9}" type="pres">
      <dgm:prSet presAssocID="{343B2A9B-9FB7-480B-898E-1D5FD42C314B}" presName="textRect" presStyleLbl="revTx" presStyleIdx="1" presStyleCnt="4">
        <dgm:presLayoutVars>
          <dgm:chMax val="1"/>
          <dgm:chPref val="1"/>
        </dgm:presLayoutVars>
      </dgm:prSet>
      <dgm:spPr/>
    </dgm:pt>
    <dgm:pt modelId="{08038449-F649-4DEE-9F1B-6895514045A4}" type="pres">
      <dgm:prSet presAssocID="{D3B95B20-C1C0-41BA-B657-656F0E65E45B}" presName="sibTrans" presStyleLbl="sibTrans2D1" presStyleIdx="0" presStyleCnt="0"/>
      <dgm:spPr/>
    </dgm:pt>
    <dgm:pt modelId="{5587896F-1C41-42EC-92E0-286EF655C7DC}" type="pres">
      <dgm:prSet presAssocID="{53C01DF5-3D9C-4824-9E3E-FE3F2F7FF03F}" presName="compNode" presStyleCnt="0"/>
      <dgm:spPr/>
    </dgm:pt>
    <dgm:pt modelId="{FE49109B-AA56-4107-A6FF-41D03F620FD0}" type="pres">
      <dgm:prSet presAssocID="{53C01DF5-3D9C-4824-9E3E-FE3F2F7FF03F}" presName="iconBgRect" presStyleLbl="bgShp" presStyleIdx="2" presStyleCnt="4"/>
      <dgm:spPr>
        <a:solidFill>
          <a:srgbClr val="7EB61C"/>
        </a:solidFill>
        <a:ln>
          <a:noFill/>
        </a:ln>
        <a:effectLst/>
        <a:scene3d>
          <a:camera prst="orthographicFront">
            <a:rot lat="0" lon="0" rev="0"/>
          </a:camera>
          <a:lightRig rig="chilly" dir="t">
            <a:rot lat="0" lon="0" rev="18480000"/>
          </a:lightRig>
        </a:scene3d>
        <a:sp3d prstMaterial="clear">
          <a:bevelT h="63500"/>
        </a:sp3d>
      </dgm:spPr>
    </dgm:pt>
    <dgm:pt modelId="{A704DE7B-CD2F-484A-952E-D89DD679BFE7}" type="pres">
      <dgm:prSet presAssocID="{53C01DF5-3D9C-4824-9E3E-FE3F2F7FF03F}"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tom"/>
        </a:ext>
      </dgm:extLst>
    </dgm:pt>
    <dgm:pt modelId="{10376600-F152-496C-90AD-5E687998579F}" type="pres">
      <dgm:prSet presAssocID="{53C01DF5-3D9C-4824-9E3E-FE3F2F7FF03F}" presName="spaceRect" presStyleCnt="0"/>
      <dgm:spPr/>
    </dgm:pt>
    <dgm:pt modelId="{760DF079-2170-4A68-862E-4060FA32798A}" type="pres">
      <dgm:prSet presAssocID="{53C01DF5-3D9C-4824-9E3E-FE3F2F7FF03F}" presName="textRect" presStyleLbl="revTx" presStyleIdx="2" presStyleCnt="4">
        <dgm:presLayoutVars>
          <dgm:chMax val="1"/>
          <dgm:chPref val="1"/>
        </dgm:presLayoutVars>
      </dgm:prSet>
      <dgm:spPr/>
    </dgm:pt>
    <dgm:pt modelId="{9D5CDB8F-3DC1-4F0D-BB1F-2FB3723A55A9}" type="pres">
      <dgm:prSet presAssocID="{C5E6FC50-F5C3-4AEB-8CC6-7227FEFB417D}" presName="sibTrans" presStyleLbl="sibTrans2D1" presStyleIdx="0" presStyleCnt="0"/>
      <dgm:spPr/>
    </dgm:pt>
    <dgm:pt modelId="{C986A2B4-37C0-4D19-BA67-25888CBA064E}" type="pres">
      <dgm:prSet presAssocID="{5D858446-73C8-48AA-9893-125E27DAC1D3}" presName="compNode" presStyleCnt="0"/>
      <dgm:spPr/>
    </dgm:pt>
    <dgm:pt modelId="{6355942F-9CE7-4CF1-BE6E-CE6A08B89010}" type="pres">
      <dgm:prSet presAssocID="{5D858446-73C8-48AA-9893-125E27DAC1D3}" presName="iconBgRect" presStyleLbl="bgShp" presStyleIdx="3" presStyleCnt="4"/>
      <dgm:spPr>
        <a:solidFill>
          <a:srgbClr val="0070C0"/>
        </a:solidFill>
        <a:ln>
          <a:noFill/>
        </a:ln>
        <a:effectLst/>
        <a:scene3d>
          <a:camera prst="orthographicFront">
            <a:rot lat="0" lon="0" rev="0"/>
          </a:camera>
          <a:lightRig rig="chilly" dir="t">
            <a:rot lat="0" lon="0" rev="18480000"/>
          </a:lightRig>
        </a:scene3d>
        <a:sp3d prstMaterial="clear">
          <a:bevelT h="63500"/>
        </a:sp3d>
      </dgm:spPr>
    </dgm:pt>
    <dgm:pt modelId="{B0DDBDB5-70F6-4F03-A0E8-9B71B11D01E0}" type="pres">
      <dgm:prSet presAssocID="{5D858446-73C8-48AA-9893-125E27DAC1D3}"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Lightbulb"/>
        </a:ext>
      </dgm:extLst>
    </dgm:pt>
    <dgm:pt modelId="{D6B70A5C-BF58-4252-BD86-3D5AA0F47657}" type="pres">
      <dgm:prSet presAssocID="{5D858446-73C8-48AA-9893-125E27DAC1D3}" presName="spaceRect" presStyleCnt="0"/>
      <dgm:spPr/>
    </dgm:pt>
    <dgm:pt modelId="{6652D50F-4443-4A00-A623-239E4C6C3379}" type="pres">
      <dgm:prSet presAssocID="{5D858446-73C8-48AA-9893-125E27DAC1D3}" presName="textRect" presStyleLbl="revTx" presStyleIdx="3" presStyleCnt="4">
        <dgm:presLayoutVars>
          <dgm:chMax val="1"/>
          <dgm:chPref val="1"/>
        </dgm:presLayoutVars>
      </dgm:prSet>
      <dgm:spPr/>
    </dgm:pt>
  </dgm:ptLst>
  <dgm:cxnLst>
    <dgm:cxn modelId="{B2F7F560-99CC-4CB6-B1BE-81D253056FBA}" srcId="{959719AE-B4F9-4C43-91B8-4DF8DB4255A8}" destId="{B6E43563-8770-488F-AEAB-0BBCC910912C}" srcOrd="0" destOrd="0" parTransId="{75218137-2A95-4914-A92C-BE486EAA1653}" sibTransId="{4F888409-094A-44DB-BA65-4D61A545DCAA}"/>
    <dgm:cxn modelId="{3ED7324E-4D42-45BF-8783-EC83AB86D75A}" type="presOf" srcId="{959719AE-B4F9-4C43-91B8-4DF8DB4255A8}" destId="{D037A813-644D-46B1-82BC-97C791DC1F59}" srcOrd="0" destOrd="0" presId="urn:microsoft.com/office/officeart/2018/2/layout/IconCircleList"/>
    <dgm:cxn modelId="{E5D95B70-8861-435C-9EFC-48BB360C38D0}" type="presOf" srcId="{5D858446-73C8-48AA-9893-125E27DAC1D3}" destId="{6652D50F-4443-4A00-A623-239E4C6C3379}" srcOrd="0" destOrd="0" presId="urn:microsoft.com/office/officeart/2018/2/layout/IconCircleList"/>
    <dgm:cxn modelId="{FDBA4B74-DE18-4BCF-9D75-8BFBBB946577}" type="presOf" srcId="{C5E6FC50-F5C3-4AEB-8CC6-7227FEFB417D}" destId="{9D5CDB8F-3DC1-4F0D-BB1F-2FB3723A55A9}" srcOrd="0" destOrd="0" presId="urn:microsoft.com/office/officeart/2018/2/layout/IconCircleList"/>
    <dgm:cxn modelId="{F0CF1677-F15C-4907-A2E7-D423EC6A6280}" srcId="{959719AE-B4F9-4C43-91B8-4DF8DB4255A8}" destId="{53C01DF5-3D9C-4824-9E3E-FE3F2F7FF03F}" srcOrd="2" destOrd="0" parTransId="{7A9054C6-73BF-40A0-880B-1EEB95FD46A5}" sibTransId="{C5E6FC50-F5C3-4AEB-8CC6-7227FEFB417D}"/>
    <dgm:cxn modelId="{417B9D77-7A89-4C80-BAA1-C47F2C15ACF6}" type="presOf" srcId="{4F888409-094A-44DB-BA65-4D61A545DCAA}" destId="{2860AC21-C2CB-4FF8-8B21-8050D8CFD92C}" srcOrd="0" destOrd="0" presId="urn:microsoft.com/office/officeart/2018/2/layout/IconCircleList"/>
    <dgm:cxn modelId="{C1934BA1-CD8B-4440-8365-D683CF4BEF67}" type="presOf" srcId="{343B2A9B-9FB7-480B-898E-1D5FD42C314B}" destId="{B1950783-A2E2-48AD-9E54-F51340413CE9}" srcOrd="0" destOrd="0" presId="urn:microsoft.com/office/officeart/2018/2/layout/IconCircleList"/>
    <dgm:cxn modelId="{7BA5A2A5-0C66-453C-BEDD-AF7A7FD40C29}" type="presOf" srcId="{D3B95B20-C1C0-41BA-B657-656F0E65E45B}" destId="{08038449-F649-4DEE-9F1B-6895514045A4}" srcOrd="0" destOrd="0" presId="urn:microsoft.com/office/officeart/2018/2/layout/IconCircleList"/>
    <dgm:cxn modelId="{7D08AEC2-A610-4C8D-AF1B-FB1566B5B64D}" srcId="{959719AE-B4F9-4C43-91B8-4DF8DB4255A8}" destId="{343B2A9B-9FB7-480B-898E-1D5FD42C314B}" srcOrd="1" destOrd="0" parTransId="{0C3C9834-8652-41F1-96AD-308EEDA2B3FA}" sibTransId="{D3B95B20-C1C0-41BA-B657-656F0E65E45B}"/>
    <dgm:cxn modelId="{DE7BFFC7-8EDC-49A1-A04B-B9984C8570EC}" type="presOf" srcId="{53C01DF5-3D9C-4824-9E3E-FE3F2F7FF03F}" destId="{760DF079-2170-4A68-862E-4060FA32798A}" srcOrd="0" destOrd="0" presId="urn:microsoft.com/office/officeart/2018/2/layout/IconCircleList"/>
    <dgm:cxn modelId="{581679CA-2F58-48DC-911B-1D09590FE250}" type="presOf" srcId="{B6E43563-8770-488F-AEAB-0BBCC910912C}" destId="{67191FBB-B64E-48B8-9D2A-28CAB32E8C6F}" srcOrd="0" destOrd="0" presId="urn:microsoft.com/office/officeart/2018/2/layout/IconCircleList"/>
    <dgm:cxn modelId="{C95937EB-37C9-4BEF-9CF1-6FB128CA7836}" srcId="{959719AE-B4F9-4C43-91B8-4DF8DB4255A8}" destId="{5D858446-73C8-48AA-9893-125E27DAC1D3}" srcOrd="3" destOrd="0" parTransId="{C5F5DC5F-5A8D-4DC3-8B57-B327E3F6D79F}" sibTransId="{3162D46E-9AAA-4294-8DA3-2A1874140CE1}"/>
    <dgm:cxn modelId="{57E4A704-3ADF-42A6-9775-C974207DAF26}" type="presParOf" srcId="{D037A813-644D-46B1-82BC-97C791DC1F59}" destId="{F1F8004B-1F18-4871-96E7-C3C8726B5D91}" srcOrd="0" destOrd="0" presId="urn:microsoft.com/office/officeart/2018/2/layout/IconCircleList"/>
    <dgm:cxn modelId="{55EE2017-D57B-4244-8094-51951B510B30}" type="presParOf" srcId="{F1F8004B-1F18-4871-96E7-C3C8726B5D91}" destId="{E0C7553D-5F69-46EB-BBD6-E0E2333C4FEA}" srcOrd="0" destOrd="0" presId="urn:microsoft.com/office/officeart/2018/2/layout/IconCircleList"/>
    <dgm:cxn modelId="{6706A1A5-BED3-4561-8AE7-26CBED25250A}" type="presParOf" srcId="{E0C7553D-5F69-46EB-BBD6-E0E2333C4FEA}" destId="{BA545A45-0A98-4B26-8406-91D3FCE6C0E7}" srcOrd="0" destOrd="0" presId="urn:microsoft.com/office/officeart/2018/2/layout/IconCircleList"/>
    <dgm:cxn modelId="{D347C0A7-68EF-4D05-B12E-2D2A2081E5FC}" type="presParOf" srcId="{E0C7553D-5F69-46EB-BBD6-E0E2333C4FEA}" destId="{6DAC7C75-D2EB-4825-AF03-F7BE9FF2034E}" srcOrd="1" destOrd="0" presId="urn:microsoft.com/office/officeart/2018/2/layout/IconCircleList"/>
    <dgm:cxn modelId="{B63E0ABF-BBD0-4971-8674-D029191C2EBC}" type="presParOf" srcId="{E0C7553D-5F69-46EB-BBD6-E0E2333C4FEA}" destId="{9D41DD8A-8CD9-40C4-B609-05880A749595}" srcOrd="2" destOrd="0" presId="urn:microsoft.com/office/officeart/2018/2/layout/IconCircleList"/>
    <dgm:cxn modelId="{E58F70FA-AF4A-456D-BC09-E68B7D7117B3}" type="presParOf" srcId="{E0C7553D-5F69-46EB-BBD6-E0E2333C4FEA}" destId="{67191FBB-B64E-48B8-9D2A-28CAB32E8C6F}" srcOrd="3" destOrd="0" presId="urn:microsoft.com/office/officeart/2018/2/layout/IconCircleList"/>
    <dgm:cxn modelId="{BFF6E2ED-88BC-476A-83E8-BEDF8DA8BA7E}" type="presParOf" srcId="{F1F8004B-1F18-4871-96E7-C3C8726B5D91}" destId="{2860AC21-C2CB-4FF8-8B21-8050D8CFD92C}" srcOrd="1" destOrd="0" presId="urn:microsoft.com/office/officeart/2018/2/layout/IconCircleList"/>
    <dgm:cxn modelId="{6F7797E3-2489-4FDC-8E44-7F93C4845332}" type="presParOf" srcId="{F1F8004B-1F18-4871-96E7-C3C8726B5D91}" destId="{ABAE886D-1555-44A4-850A-728E97527B6A}" srcOrd="2" destOrd="0" presId="urn:microsoft.com/office/officeart/2018/2/layout/IconCircleList"/>
    <dgm:cxn modelId="{3945B356-09D5-4C2D-9AB8-64B16FFD4C25}" type="presParOf" srcId="{ABAE886D-1555-44A4-850A-728E97527B6A}" destId="{62B37C20-7419-49CB-9D00-A747C7E73B9E}" srcOrd="0" destOrd="0" presId="urn:microsoft.com/office/officeart/2018/2/layout/IconCircleList"/>
    <dgm:cxn modelId="{4C1E2721-22D9-4B51-9737-E681FC9C63A3}" type="presParOf" srcId="{ABAE886D-1555-44A4-850A-728E97527B6A}" destId="{569AAA96-1930-4A3C-AAAB-0F0FB2F8FB4F}" srcOrd="1" destOrd="0" presId="urn:microsoft.com/office/officeart/2018/2/layout/IconCircleList"/>
    <dgm:cxn modelId="{3594D775-0E80-4205-B4EE-24D6CD3DC53F}" type="presParOf" srcId="{ABAE886D-1555-44A4-850A-728E97527B6A}" destId="{4F3E512F-F918-4A23-B85C-582120239303}" srcOrd="2" destOrd="0" presId="urn:microsoft.com/office/officeart/2018/2/layout/IconCircleList"/>
    <dgm:cxn modelId="{ED50D87F-23BB-4C5C-B2E0-F64F91E72F44}" type="presParOf" srcId="{ABAE886D-1555-44A4-850A-728E97527B6A}" destId="{B1950783-A2E2-48AD-9E54-F51340413CE9}" srcOrd="3" destOrd="0" presId="urn:microsoft.com/office/officeart/2018/2/layout/IconCircleList"/>
    <dgm:cxn modelId="{E7F86EDA-0A12-4004-8259-DA6BAD5A7331}" type="presParOf" srcId="{F1F8004B-1F18-4871-96E7-C3C8726B5D91}" destId="{08038449-F649-4DEE-9F1B-6895514045A4}" srcOrd="3" destOrd="0" presId="urn:microsoft.com/office/officeart/2018/2/layout/IconCircleList"/>
    <dgm:cxn modelId="{3F93E7FD-EA80-4B61-AAA6-69BE83FC6F59}" type="presParOf" srcId="{F1F8004B-1F18-4871-96E7-C3C8726B5D91}" destId="{5587896F-1C41-42EC-92E0-286EF655C7DC}" srcOrd="4" destOrd="0" presId="urn:microsoft.com/office/officeart/2018/2/layout/IconCircleList"/>
    <dgm:cxn modelId="{CE01104B-794A-4C52-897C-9144F4722019}" type="presParOf" srcId="{5587896F-1C41-42EC-92E0-286EF655C7DC}" destId="{FE49109B-AA56-4107-A6FF-41D03F620FD0}" srcOrd="0" destOrd="0" presId="urn:microsoft.com/office/officeart/2018/2/layout/IconCircleList"/>
    <dgm:cxn modelId="{EB4852DB-85D6-4292-ABDE-5B22C6FD93F8}" type="presParOf" srcId="{5587896F-1C41-42EC-92E0-286EF655C7DC}" destId="{A704DE7B-CD2F-484A-952E-D89DD679BFE7}" srcOrd="1" destOrd="0" presId="urn:microsoft.com/office/officeart/2018/2/layout/IconCircleList"/>
    <dgm:cxn modelId="{FE127EE2-6E50-4349-8BCA-F4205B686505}" type="presParOf" srcId="{5587896F-1C41-42EC-92E0-286EF655C7DC}" destId="{10376600-F152-496C-90AD-5E687998579F}" srcOrd="2" destOrd="0" presId="urn:microsoft.com/office/officeart/2018/2/layout/IconCircleList"/>
    <dgm:cxn modelId="{D962EE97-55E8-40D5-A8C4-76FAF6603714}" type="presParOf" srcId="{5587896F-1C41-42EC-92E0-286EF655C7DC}" destId="{760DF079-2170-4A68-862E-4060FA32798A}" srcOrd="3" destOrd="0" presId="urn:microsoft.com/office/officeart/2018/2/layout/IconCircleList"/>
    <dgm:cxn modelId="{A23F7801-34D0-4F04-B0AE-257A2D615698}" type="presParOf" srcId="{F1F8004B-1F18-4871-96E7-C3C8726B5D91}" destId="{9D5CDB8F-3DC1-4F0D-BB1F-2FB3723A55A9}" srcOrd="5" destOrd="0" presId="urn:microsoft.com/office/officeart/2018/2/layout/IconCircleList"/>
    <dgm:cxn modelId="{1840A96D-0465-4C1F-BB3C-DB61C3C7DAB0}" type="presParOf" srcId="{F1F8004B-1F18-4871-96E7-C3C8726B5D91}" destId="{C986A2B4-37C0-4D19-BA67-25888CBA064E}" srcOrd="6" destOrd="0" presId="urn:microsoft.com/office/officeart/2018/2/layout/IconCircleList"/>
    <dgm:cxn modelId="{61209DBE-D309-4F8C-9D61-A24303D0A0E3}" type="presParOf" srcId="{C986A2B4-37C0-4D19-BA67-25888CBA064E}" destId="{6355942F-9CE7-4CF1-BE6E-CE6A08B89010}" srcOrd="0" destOrd="0" presId="urn:microsoft.com/office/officeart/2018/2/layout/IconCircleList"/>
    <dgm:cxn modelId="{0F060920-E4B8-4470-8CC5-A1265A98735D}" type="presParOf" srcId="{C986A2B4-37C0-4D19-BA67-25888CBA064E}" destId="{B0DDBDB5-70F6-4F03-A0E8-9B71B11D01E0}" srcOrd="1" destOrd="0" presId="urn:microsoft.com/office/officeart/2018/2/layout/IconCircleList"/>
    <dgm:cxn modelId="{587CC362-2A99-42DB-8938-DD01906417FD}" type="presParOf" srcId="{C986A2B4-37C0-4D19-BA67-25888CBA064E}" destId="{D6B70A5C-BF58-4252-BD86-3D5AA0F47657}" srcOrd="2" destOrd="0" presId="urn:microsoft.com/office/officeart/2018/2/layout/IconCircleList"/>
    <dgm:cxn modelId="{DC42CE77-F8E3-4025-8A99-1627D7F170C0}" type="presParOf" srcId="{C986A2B4-37C0-4D19-BA67-25888CBA064E}" destId="{6652D50F-4443-4A00-A623-239E4C6C3379}"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A754977-BA29-4D0C-835B-CD854033A61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3C86F3DC-E3B8-4E66-8332-1AE8A914C690}">
      <dgm:prSet custT="1"/>
      <dgm:spPr/>
      <dgm:t>
        <a:bodyPr/>
        <a:lstStyle/>
        <a:p>
          <a:pPr>
            <a:lnSpc>
              <a:spcPct val="100000"/>
            </a:lnSpc>
          </a:pPr>
          <a:r>
            <a:rPr lang="en-US" sz="1800" dirty="0"/>
            <a:t>Through careful evaluation, we contend that clay-based additives can, in fact, give similar textures.</a:t>
          </a:r>
        </a:p>
      </dgm:t>
    </dgm:pt>
    <dgm:pt modelId="{D0099D38-0906-421F-817A-D21FD5A48D73}" type="parTrans" cxnId="{10887294-8958-402D-A436-C27316527263}">
      <dgm:prSet/>
      <dgm:spPr/>
      <dgm:t>
        <a:bodyPr/>
        <a:lstStyle/>
        <a:p>
          <a:endParaRPr lang="en-US"/>
        </a:p>
      </dgm:t>
    </dgm:pt>
    <dgm:pt modelId="{F6DBCC2F-9A68-4B17-AB76-6CCEC363FBA5}" type="sibTrans" cxnId="{10887294-8958-402D-A436-C27316527263}">
      <dgm:prSet/>
      <dgm:spPr/>
      <dgm:t>
        <a:bodyPr/>
        <a:lstStyle/>
        <a:p>
          <a:endParaRPr lang="en-US"/>
        </a:p>
      </dgm:t>
    </dgm:pt>
    <dgm:pt modelId="{C75A1F2D-4619-4094-B517-43476C065553}">
      <dgm:prSet/>
      <dgm:spPr/>
      <dgm:t>
        <a:bodyPr/>
        <a:lstStyle/>
        <a:p>
          <a:pPr>
            <a:lnSpc>
              <a:spcPct val="100000"/>
            </a:lnSpc>
          </a:pPr>
          <a:r>
            <a:rPr lang="en-US" dirty="0"/>
            <a:t>Formulators must recognize:</a:t>
          </a:r>
        </a:p>
      </dgm:t>
    </dgm:pt>
    <dgm:pt modelId="{E3E014FC-1915-4802-A9C2-3CA5E80E6466}" type="parTrans" cxnId="{023BD8DF-7289-41EE-9E15-A2A345EC5B02}">
      <dgm:prSet/>
      <dgm:spPr/>
      <dgm:t>
        <a:bodyPr/>
        <a:lstStyle/>
        <a:p>
          <a:endParaRPr lang="en-US"/>
        </a:p>
      </dgm:t>
    </dgm:pt>
    <dgm:pt modelId="{75639B15-E692-4662-8F33-F87C399056C5}" type="sibTrans" cxnId="{023BD8DF-7289-41EE-9E15-A2A345EC5B02}">
      <dgm:prSet/>
      <dgm:spPr/>
      <dgm:t>
        <a:bodyPr/>
        <a:lstStyle/>
        <a:p>
          <a:endParaRPr lang="en-US"/>
        </a:p>
      </dgm:t>
    </dgm:pt>
    <dgm:pt modelId="{67D3280A-6842-4D18-A24D-447BC297136C}">
      <dgm:prSet/>
      <dgm:spPr/>
      <dgm:t>
        <a:bodyPr/>
        <a:lstStyle/>
        <a:p>
          <a:pPr>
            <a:lnSpc>
              <a:spcPct val="100000"/>
            </a:lnSpc>
          </a:pPr>
          <a:r>
            <a:rPr lang="en-US" dirty="0"/>
            <a:t>The potential/inherent challenges especially with super-durable formulations </a:t>
          </a:r>
        </a:p>
      </dgm:t>
    </dgm:pt>
    <dgm:pt modelId="{2AF9C444-FE3B-41DD-86A3-D828D4D517F8}" type="parTrans" cxnId="{B70CDC3B-8217-48F9-A4EE-FF87419C60E9}">
      <dgm:prSet/>
      <dgm:spPr/>
      <dgm:t>
        <a:bodyPr/>
        <a:lstStyle/>
        <a:p>
          <a:endParaRPr lang="en-US"/>
        </a:p>
      </dgm:t>
    </dgm:pt>
    <dgm:pt modelId="{620B77EB-AAE9-4A46-89C7-EB52F8728CBD}" type="sibTrans" cxnId="{B70CDC3B-8217-48F9-A4EE-FF87419C60E9}">
      <dgm:prSet/>
      <dgm:spPr/>
      <dgm:t>
        <a:bodyPr/>
        <a:lstStyle/>
        <a:p>
          <a:endParaRPr lang="en-US"/>
        </a:p>
      </dgm:t>
    </dgm:pt>
    <dgm:pt modelId="{293A0C33-557D-4B38-8C2D-F88D34C34977}">
      <dgm:prSet/>
      <dgm:spPr/>
      <dgm:t>
        <a:bodyPr/>
        <a:lstStyle/>
        <a:p>
          <a:pPr>
            <a:lnSpc>
              <a:spcPct val="100000"/>
            </a:lnSpc>
          </a:pPr>
          <a:r>
            <a:rPr lang="en-US" dirty="0"/>
            <a:t>How to best optimized the binder ratios with different clay-based additives to give the desired textures</a:t>
          </a:r>
        </a:p>
      </dgm:t>
    </dgm:pt>
    <dgm:pt modelId="{83E98198-FF41-4BF1-B423-1E5BB16A9211}" type="parTrans" cxnId="{A77B3CF2-B5D5-4D4D-9404-629429FFA2D1}">
      <dgm:prSet/>
      <dgm:spPr/>
      <dgm:t>
        <a:bodyPr/>
        <a:lstStyle/>
        <a:p>
          <a:endParaRPr lang="en-US"/>
        </a:p>
      </dgm:t>
    </dgm:pt>
    <dgm:pt modelId="{17E39217-86C8-41C8-9660-5E9642B67C5C}" type="sibTrans" cxnId="{A77B3CF2-B5D5-4D4D-9404-629429FFA2D1}">
      <dgm:prSet/>
      <dgm:spPr/>
      <dgm:t>
        <a:bodyPr/>
        <a:lstStyle/>
        <a:p>
          <a:endParaRPr lang="en-US"/>
        </a:p>
      </dgm:t>
    </dgm:pt>
    <dgm:pt modelId="{4F8E7A1C-EAEF-4D07-AA77-8D084AD22F06}">
      <dgm:prSet/>
      <dgm:spPr/>
      <dgm:t>
        <a:bodyPr/>
        <a:lstStyle/>
        <a:p>
          <a:pPr>
            <a:lnSpc>
              <a:spcPct val="100000"/>
            </a:lnSpc>
          </a:pPr>
          <a:r>
            <a:rPr lang="en-US" dirty="0"/>
            <a:t>The need for synergistic fillers to lower gloss or resin systems are important</a:t>
          </a:r>
        </a:p>
      </dgm:t>
    </dgm:pt>
    <dgm:pt modelId="{4BAC07B2-6552-4489-9DD1-2643331B1B55}" type="parTrans" cxnId="{70AC630C-0CF1-412F-9D55-D3AE3106948A}">
      <dgm:prSet/>
      <dgm:spPr/>
      <dgm:t>
        <a:bodyPr/>
        <a:lstStyle/>
        <a:p>
          <a:endParaRPr lang="en-US"/>
        </a:p>
      </dgm:t>
    </dgm:pt>
    <dgm:pt modelId="{60970005-9866-47CD-85D3-1EA9F0071482}" type="sibTrans" cxnId="{70AC630C-0CF1-412F-9D55-D3AE3106948A}">
      <dgm:prSet/>
      <dgm:spPr/>
      <dgm:t>
        <a:bodyPr/>
        <a:lstStyle/>
        <a:p>
          <a:endParaRPr lang="en-US"/>
        </a:p>
      </dgm:t>
    </dgm:pt>
    <dgm:pt modelId="{353B7951-B6D4-4F00-B389-BD28117B6D03}">
      <dgm:prSet/>
      <dgm:spPr/>
      <dgm:t>
        <a:bodyPr/>
        <a:lstStyle/>
        <a:p>
          <a:pPr>
            <a:lnSpc>
              <a:spcPct val="100000"/>
            </a:lnSpc>
          </a:pPr>
          <a:r>
            <a:rPr lang="en-US" dirty="0"/>
            <a:t>The threshold for an exact PTFE Vs PTFE-free performance must be carefully evaluated and calibrated </a:t>
          </a:r>
        </a:p>
      </dgm:t>
    </dgm:pt>
    <dgm:pt modelId="{5AEC3EA5-BC89-4FE9-8E45-2FDC9C06E485}" type="parTrans" cxnId="{E6890C4B-2FAA-48E6-9EF3-6E2C70E7EDF8}">
      <dgm:prSet/>
      <dgm:spPr/>
      <dgm:t>
        <a:bodyPr/>
        <a:lstStyle/>
        <a:p>
          <a:endParaRPr lang="en-US"/>
        </a:p>
      </dgm:t>
    </dgm:pt>
    <dgm:pt modelId="{A51F295C-E03C-44EC-8F15-4FA7DDBFA449}" type="sibTrans" cxnId="{E6890C4B-2FAA-48E6-9EF3-6E2C70E7EDF8}">
      <dgm:prSet/>
      <dgm:spPr/>
      <dgm:t>
        <a:bodyPr/>
        <a:lstStyle/>
        <a:p>
          <a:endParaRPr lang="en-US"/>
        </a:p>
      </dgm:t>
    </dgm:pt>
    <dgm:pt modelId="{29709861-2ABF-4A9A-B898-D2E0922CFCD5}">
      <dgm:prSet/>
      <dgm:spPr/>
      <dgm:t>
        <a:bodyPr/>
        <a:lstStyle/>
        <a:p>
          <a:pPr>
            <a:lnSpc>
              <a:spcPct val="100000"/>
            </a:lnSpc>
          </a:pPr>
          <a:r>
            <a:rPr lang="en-US" dirty="0"/>
            <a:t>We therefore conclude that a more enhanced approach to PTFE-free formulation is possible with the use of clay-based additives</a:t>
          </a:r>
        </a:p>
      </dgm:t>
    </dgm:pt>
    <dgm:pt modelId="{18327B52-93CE-4424-B48A-CE143CAF7A69}" type="parTrans" cxnId="{24E963A4-BC8D-42DF-A60A-1F04FAC6FE06}">
      <dgm:prSet/>
      <dgm:spPr/>
      <dgm:t>
        <a:bodyPr/>
        <a:lstStyle/>
        <a:p>
          <a:endParaRPr lang="en-US"/>
        </a:p>
      </dgm:t>
    </dgm:pt>
    <dgm:pt modelId="{A77C66D5-C761-4282-8376-B1577B464BB6}" type="sibTrans" cxnId="{24E963A4-BC8D-42DF-A60A-1F04FAC6FE06}">
      <dgm:prSet/>
      <dgm:spPr/>
      <dgm:t>
        <a:bodyPr/>
        <a:lstStyle/>
        <a:p>
          <a:endParaRPr lang="en-US"/>
        </a:p>
      </dgm:t>
    </dgm:pt>
    <dgm:pt modelId="{1180B15B-EC17-41C2-AF1C-DB9522A5B591}" type="pres">
      <dgm:prSet presAssocID="{5A754977-BA29-4D0C-835B-CD854033A615}" presName="root" presStyleCnt="0">
        <dgm:presLayoutVars>
          <dgm:dir/>
          <dgm:resizeHandles val="exact"/>
        </dgm:presLayoutVars>
      </dgm:prSet>
      <dgm:spPr/>
    </dgm:pt>
    <dgm:pt modelId="{A7057531-012E-4990-A243-3688EF4194BD}" type="pres">
      <dgm:prSet presAssocID="{3C86F3DC-E3B8-4E66-8332-1AE8A914C690}" presName="compNode" presStyleCnt="0"/>
      <dgm:spPr/>
    </dgm:pt>
    <dgm:pt modelId="{F1978987-A21E-42D0-A32A-273FC8DF4717}" type="pres">
      <dgm:prSet presAssocID="{3C86F3DC-E3B8-4E66-8332-1AE8A914C690}" presName="bgRect" presStyleLbl="bgShp" presStyleIdx="0" presStyleCnt="7"/>
      <dgm:spPr>
        <a:solidFill>
          <a:schemeClr val="bg1"/>
        </a:solidFill>
        <a:ln>
          <a:noFill/>
        </a:ln>
        <a:effectLst/>
        <a:scene3d>
          <a:camera prst="orthographicFront">
            <a:rot lat="0" lon="0" rev="0"/>
          </a:camera>
          <a:lightRig rig="contrasting" dir="t">
            <a:rot lat="0" lon="0" rev="7800000"/>
          </a:lightRig>
        </a:scene3d>
        <a:sp3d>
          <a:bevelT w="139700" h="139700"/>
        </a:sp3d>
      </dgm:spPr>
    </dgm:pt>
    <dgm:pt modelId="{B43BBFFB-802B-4265-B105-6B27D41A0492}" type="pres">
      <dgm:prSet presAssocID="{3C86F3DC-E3B8-4E66-8332-1AE8A914C690}"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plash"/>
        </a:ext>
      </dgm:extLst>
    </dgm:pt>
    <dgm:pt modelId="{F470D851-FC26-4F7B-8A2B-69167F822E02}" type="pres">
      <dgm:prSet presAssocID="{3C86F3DC-E3B8-4E66-8332-1AE8A914C690}" presName="spaceRect" presStyleCnt="0"/>
      <dgm:spPr/>
    </dgm:pt>
    <dgm:pt modelId="{6B1D68BE-24C8-4356-963E-7C6536B28020}" type="pres">
      <dgm:prSet presAssocID="{3C86F3DC-E3B8-4E66-8332-1AE8A914C690}" presName="parTx" presStyleLbl="revTx" presStyleIdx="0" presStyleCnt="7">
        <dgm:presLayoutVars>
          <dgm:chMax val="0"/>
          <dgm:chPref val="0"/>
        </dgm:presLayoutVars>
      </dgm:prSet>
      <dgm:spPr/>
    </dgm:pt>
    <dgm:pt modelId="{3F5C17BD-EB70-48A4-B6A2-925379E00B5B}" type="pres">
      <dgm:prSet presAssocID="{F6DBCC2F-9A68-4B17-AB76-6CCEC363FBA5}" presName="sibTrans" presStyleCnt="0"/>
      <dgm:spPr/>
    </dgm:pt>
    <dgm:pt modelId="{52227CEE-A4B3-4CC9-A2A5-1C9BDF3503B0}" type="pres">
      <dgm:prSet presAssocID="{C75A1F2D-4619-4094-B517-43476C065553}" presName="compNode" presStyleCnt="0"/>
      <dgm:spPr/>
    </dgm:pt>
    <dgm:pt modelId="{6CB60DB9-7FEA-483F-8281-8CB2106DA633}" type="pres">
      <dgm:prSet presAssocID="{C75A1F2D-4619-4094-B517-43476C065553}" presName="bgRect" presStyleLbl="bgShp" presStyleIdx="1" presStyleCnt="7"/>
      <dgm:spPr>
        <a:solidFill>
          <a:schemeClr val="bg2">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C8AB8ABE-81F2-4986-B621-C3DF06F9CEB4}" type="pres">
      <dgm:prSet presAssocID="{C75A1F2D-4619-4094-B517-43476C065553}"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Warning"/>
        </a:ext>
      </dgm:extLst>
    </dgm:pt>
    <dgm:pt modelId="{99B10E9B-DFF4-4A42-8169-C3253FFABEC2}" type="pres">
      <dgm:prSet presAssocID="{C75A1F2D-4619-4094-B517-43476C065553}" presName="spaceRect" presStyleCnt="0"/>
      <dgm:spPr/>
    </dgm:pt>
    <dgm:pt modelId="{99F0DB0D-3017-4783-AFC4-19A0D474FAC3}" type="pres">
      <dgm:prSet presAssocID="{C75A1F2D-4619-4094-B517-43476C065553}" presName="parTx" presStyleLbl="revTx" presStyleIdx="1" presStyleCnt="7">
        <dgm:presLayoutVars>
          <dgm:chMax val="0"/>
          <dgm:chPref val="0"/>
        </dgm:presLayoutVars>
      </dgm:prSet>
      <dgm:spPr/>
    </dgm:pt>
    <dgm:pt modelId="{E284BEC4-BC90-4DFB-B628-FEE693CBEDAF}" type="pres">
      <dgm:prSet presAssocID="{75639B15-E692-4662-8F33-F87C399056C5}" presName="sibTrans" presStyleCnt="0"/>
      <dgm:spPr/>
    </dgm:pt>
    <dgm:pt modelId="{78B96F70-8DE5-420E-91C3-82B9A4D4E8BF}" type="pres">
      <dgm:prSet presAssocID="{67D3280A-6842-4D18-A24D-447BC297136C}" presName="compNode" presStyleCnt="0"/>
      <dgm:spPr/>
    </dgm:pt>
    <dgm:pt modelId="{924DF163-9AD4-48B5-B3B2-A1D6168F7328}" type="pres">
      <dgm:prSet presAssocID="{67D3280A-6842-4D18-A24D-447BC297136C}" presName="bgRect" presStyleLbl="bgShp" presStyleIdx="2" presStyleCnt="7"/>
      <dgm:spPr/>
    </dgm:pt>
    <dgm:pt modelId="{7BD31E72-957A-44A9-BC25-8A60660F6DE4}" type="pres">
      <dgm:prSet presAssocID="{67D3280A-6842-4D18-A24D-447BC297136C}"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Radioactive Sign"/>
        </a:ext>
      </dgm:extLst>
    </dgm:pt>
    <dgm:pt modelId="{67D7C714-9536-4AD7-8917-D45DD6814CA0}" type="pres">
      <dgm:prSet presAssocID="{67D3280A-6842-4D18-A24D-447BC297136C}" presName="spaceRect" presStyleCnt="0"/>
      <dgm:spPr/>
    </dgm:pt>
    <dgm:pt modelId="{EE5A9B64-EAC6-464F-80A0-4DF9F42292C1}" type="pres">
      <dgm:prSet presAssocID="{67D3280A-6842-4D18-A24D-447BC297136C}" presName="parTx" presStyleLbl="revTx" presStyleIdx="2" presStyleCnt="7">
        <dgm:presLayoutVars>
          <dgm:chMax val="0"/>
          <dgm:chPref val="0"/>
        </dgm:presLayoutVars>
      </dgm:prSet>
      <dgm:spPr/>
    </dgm:pt>
    <dgm:pt modelId="{8E35DDE4-D25B-4A45-83B3-745FA6A205C3}" type="pres">
      <dgm:prSet presAssocID="{620B77EB-AAE9-4A46-89C7-EB52F8728CBD}" presName="sibTrans" presStyleCnt="0"/>
      <dgm:spPr/>
    </dgm:pt>
    <dgm:pt modelId="{B24831FB-A85A-4210-B90E-3CFA371721AA}" type="pres">
      <dgm:prSet presAssocID="{293A0C33-557D-4B38-8C2D-F88D34C34977}" presName="compNode" presStyleCnt="0"/>
      <dgm:spPr/>
    </dgm:pt>
    <dgm:pt modelId="{71CABBD5-8FC7-4362-B644-2BE899B6A08E}" type="pres">
      <dgm:prSet presAssocID="{293A0C33-557D-4B38-8C2D-F88D34C34977}" presName="bgRect" presStyleLbl="bgShp" presStyleIdx="3" presStyleCnt="7"/>
      <dgm:spPr/>
    </dgm:pt>
    <dgm:pt modelId="{DFBC1ED1-4CF7-4436-8FF5-9E7987AC60DD}" type="pres">
      <dgm:prSet presAssocID="{293A0C33-557D-4B38-8C2D-F88D34C34977}"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aint"/>
        </a:ext>
      </dgm:extLst>
    </dgm:pt>
    <dgm:pt modelId="{79DE171C-3899-4D20-B6B4-4A2D27C461AC}" type="pres">
      <dgm:prSet presAssocID="{293A0C33-557D-4B38-8C2D-F88D34C34977}" presName="spaceRect" presStyleCnt="0"/>
      <dgm:spPr/>
    </dgm:pt>
    <dgm:pt modelId="{294A64EF-04DD-41B2-96F3-CFC7839F62CC}" type="pres">
      <dgm:prSet presAssocID="{293A0C33-557D-4B38-8C2D-F88D34C34977}" presName="parTx" presStyleLbl="revTx" presStyleIdx="3" presStyleCnt="7">
        <dgm:presLayoutVars>
          <dgm:chMax val="0"/>
          <dgm:chPref val="0"/>
        </dgm:presLayoutVars>
      </dgm:prSet>
      <dgm:spPr/>
    </dgm:pt>
    <dgm:pt modelId="{AA345436-F3FC-4FFF-9483-55A07BF2DF9B}" type="pres">
      <dgm:prSet presAssocID="{17E39217-86C8-41C8-9660-5E9642B67C5C}" presName="sibTrans" presStyleCnt="0"/>
      <dgm:spPr/>
    </dgm:pt>
    <dgm:pt modelId="{5A77E02C-AD10-4707-B7D6-7FD0F7E8CDEC}" type="pres">
      <dgm:prSet presAssocID="{4F8E7A1C-EAEF-4D07-AA77-8D084AD22F06}" presName="compNode" presStyleCnt="0"/>
      <dgm:spPr/>
    </dgm:pt>
    <dgm:pt modelId="{91D40386-459D-4B46-A732-57244C3D28A8}" type="pres">
      <dgm:prSet presAssocID="{4F8E7A1C-EAEF-4D07-AA77-8D084AD22F06}" presName="bgRect" presStyleLbl="bgShp" presStyleIdx="4" presStyleCnt="7"/>
      <dgm:spPr/>
    </dgm:pt>
    <dgm:pt modelId="{4013A078-257E-4F26-BA2E-DC0F90BBF499}" type="pres">
      <dgm:prSet presAssocID="{4F8E7A1C-EAEF-4D07-AA77-8D084AD22F06}"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cientist"/>
        </a:ext>
      </dgm:extLst>
    </dgm:pt>
    <dgm:pt modelId="{87CA1143-7E41-4135-B87D-6589A3B58E1F}" type="pres">
      <dgm:prSet presAssocID="{4F8E7A1C-EAEF-4D07-AA77-8D084AD22F06}" presName="spaceRect" presStyleCnt="0"/>
      <dgm:spPr/>
    </dgm:pt>
    <dgm:pt modelId="{2F40FBEF-00A5-4CF3-88D8-4772294632F8}" type="pres">
      <dgm:prSet presAssocID="{4F8E7A1C-EAEF-4D07-AA77-8D084AD22F06}" presName="parTx" presStyleLbl="revTx" presStyleIdx="4" presStyleCnt="7">
        <dgm:presLayoutVars>
          <dgm:chMax val="0"/>
          <dgm:chPref val="0"/>
        </dgm:presLayoutVars>
      </dgm:prSet>
      <dgm:spPr/>
    </dgm:pt>
    <dgm:pt modelId="{9FADEA2B-3ADC-442D-AD92-E49AFFF7916B}" type="pres">
      <dgm:prSet presAssocID="{60970005-9866-47CD-85D3-1EA9F0071482}" presName="sibTrans" presStyleCnt="0"/>
      <dgm:spPr/>
    </dgm:pt>
    <dgm:pt modelId="{61890BB2-10AD-4D13-842B-5B52A32042BD}" type="pres">
      <dgm:prSet presAssocID="{353B7951-B6D4-4F00-B389-BD28117B6D03}" presName="compNode" presStyleCnt="0"/>
      <dgm:spPr/>
    </dgm:pt>
    <dgm:pt modelId="{5D1DD09E-FFD6-4CE9-9FBC-334F7E1DC8EB}" type="pres">
      <dgm:prSet presAssocID="{353B7951-B6D4-4F00-B389-BD28117B6D03}" presName="bgRect" presStyleLbl="bgShp" presStyleIdx="5" presStyleCnt="7"/>
      <dgm:spPr/>
    </dgm:pt>
    <dgm:pt modelId="{59EBCA27-BDEB-4BF2-AD2F-F569A1DC4AB4}" type="pres">
      <dgm:prSet presAssocID="{353B7951-B6D4-4F00-B389-BD28117B6D03}"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Checkmark"/>
        </a:ext>
      </dgm:extLst>
    </dgm:pt>
    <dgm:pt modelId="{0DB03066-7923-4479-A7EE-9DDFA1A0DFE8}" type="pres">
      <dgm:prSet presAssocID="{353B7951-B6D4-4F00-B389-BD28117B6D03}" presName="spaceRect" presStyleCnt="0"/>
      <dgm:spPr/>
    </dgm:pt>
    <dgm:pt modelId="{FE45993A-7867-4EEE-BCD9-AC3F3330F656}" type="pres">
      <dgm:prSet presAssocID="{353B7951-B6D4-4F00-B389-BD28117B6D03}" presName="parTx" presStyleLbl="revTx" presStyleIdx="5" presStyleCnt="7">
        <dgm:presLayoutVars>
          <dgm:chMax val="0"/>
          <dgm:chPref val="0"/>
        </dgm:presLayoutVars>
      </dgm:prSet>
      <dgm:spPr/>
    </dgm:pt>
    <dgm:pt modelId="{043B366B-9190-43A7-BC6C-BDA2CFBF7051}" type="pres">
      <dgm:prSet presAssocID="{A51F295C-E03C-44EC-8F15-4FA7DDBFA449}" presName="sibTrans" presStyleCnt="0"/>
      <dgm:spPr/>
    </dgm:pt>
    <dgm:pt modelId="{4F2485EE-4900-4ADF-840B-25ED3800896A}" type="pres">
      <dgm:prSet presAssocID="{29709861-2ABF-4A9A-B898-D2E0922CFCD5}" presName="compNode" presStyleCnt="0"/>
      <dgm:spPr/>
    </dgm:pt>
    <dgm:pt modelId="{100A63DA-0EEA-42F6-A2DF-DEF6DB14FC45}" type="pres">
      <dgm:prSet presAssocID="{29709861-2ABF-4A9A-B898-D2E0922CFCD5}" presName="bgRect" presStyleLbl="bgShp" presStyleIdx="6" presStyleCnt="7"/>
      <dgm:spPr/>
    </dgm:pt>
    <dgm:pt modelId="{2168820A-F980-4695-B3CF-426DCB5E43B5}" type="pres">
      <dgm:prSet presAssocID="{29709861-2ABF-4A9A-B898-D2E0922CFCD5}"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Filter"/>
        </a:ext>
      </dgm:extLst>
    </dgm:pt>
    <dgm:pt modelId="{A334F755-941F-41B7-87DC-86A1B37EA436}" type="pres">
      <dgm:prSet presAssocID="{29709861-2ABF-4A9A-B898-D2E0922CFCD5}" presName="spaceRect" presStyleCnt="0"/>
      <dgm:spPr/>
    </dgm:pt>
    <dgm:pt modelId="{8B7411BF-7C87-4144-B0F4-A446B8CAB97F}" type="pres">
      <dgm:prSet presAssocID="{29709861-2ABF-4A9A-B898-D2E0922CFCD5}" presName="parTx" presStyleLbl="revTx" presStyleIdx="6" presStyleCnt="7">
        <dgm:presLayoutVars>
          <dgm:chMax val="0"/>
          <dgm:chPref val="0"/>
        </dgm:presLayoutVars>
      </dgm:prSet>
      <dgm:spPr/>
    </dgm:pt>
  </dgm:ptLst>
  <dgm:cxnLst>
    <dgm:cxn modelId="{70AC630C-0CF1-412F-9D55-D3AE3106948A}" srcId="{5A754977-BA29-4D0C-835B-CD854033A615}" destId="{4F8E7A1C-EAEF-4D07-AA77-8D084AD22F06}" srcOrd="4" destOrd="0" parTransId="{4BAC07B2-6552-4489-9DD1-2643331B1B55}" sibTransId="{60970005-9866-47CD-85D3-1EA9F0071482}"/>
    <dgm:cxn modelId="{B70CDC3B-8217-48F9-A4EE-FF87419C60E9}" srcId="{5A754977-BA29-4D0C-835B-CD854033A615}" destId="{67D3280A-6842-4D18-A24D-447BC297136C}" srcOrd="2" destOrd="0" parTransId="{2AF9C444-FE3B-41DD-86A3-D828D4D517F8}" sibTransId="{620B77EB-AAE9-4A46-89C7-EB52F8728CBD}"/>
    <dgm:cxn modelId="{E6890C4B-2FAA-48E6-9EF3-6E2C70E7EDF8}" srcId="{5A754977-BA29-4D0C-835B-CD854033A615}" destId="{353B7951-B6D4-4F00-B389-BD28117B6D03}" srcOrd="5" destOrd="0" parTransId="{5AEC3EA5-BC89-4FE9-8E45-2FDC9C06E485}" sibTransId="{A51F295C-E03C-44EC-8F15-4FA7DDBFA449}"/>
    <dgm:cxn modelId="{CD76A076-8C2B-43B2-A85B-799D1CA7BB50}" type="presOf" srcId="{3C86F3DC-E3B8-4E66-8332-1AE8A914C690}" destId="{6B1D68BE-24C8-4356-963E-7C6536B28020}" srcOrd="0" destOrd="0" presId="urn:microsoft.com/office/officeart/2018/2/layout/IconVerticalSolidList"/>
    <dgm:cxn modelId="{CD8BBD56-3667-483E-AE31-B0620DB600A7}" type="presOf" srcId="{353B7951-B6D4-4F00-B389-BD28117B6D03}" destId="{FE45993A-7867-4EEE-BCD9-AC3F3330F656}" srcOrd="0" destOrd="0" presId="urn:microsoft.com/office/officeart/2018/2/layout/IconVerticalSolidList"/>
    <dgm:cxn modelId="{10887294-8958-402D-A436-C27316527263}" srcId="{5A754977-BA29-4D0C-835B-CD854033A615}" destId="{3C86F3DC-E3B8-4E66-8332-1AE8A914C690}" srcOrd="0" destOrd="0" parTransId="{D0099D38-0906-421F-817A-D21FD5A48D73}" sibTransId="{F6DBCC2F-9A68-4B17-AB76-6CCEC363FBA5}"/>
    <dgm:cxn modelId="{24E963A4-BC8D-42DF-A60A-1F04FAC6FE06}" srcId="{5A754977-BA29-4D0C-835B-CD854033A615}" destId="{29709861-2ABF-4A9A-B898-D2E0922CFCD5}" srcOrd="6" destOrd="0" parTransId="{18327B52-93CE-4424-B48A-CE143CAF7A69}" sibTransId="{A77C66D5-C761-4282-8376-B1577B464BB6}"/>
    <dgm:cxn modelId="{8CBC83AC-7B9E-4F1B-858A-9EF1B684BB40}" type="presOf" srcId="{C75A1F2D-4619-4094-B517-43476C065553}" destId="{99F0DB0D-3017-4783-AFC4-19A0D474FAC3}" srcOrd="0" destOrd="0" presId="urn:microsoft.com/office/officeart/2018/2/layout/IconVerticalSolidList"/>
    <dgm:cxn modelId="{511D37B4-C3C5-4EF6-A6DE-6B99061075AD}" type="presOf" srcId="{4F8E7A1C-EAEF-4D07-AA77-8D084AD22F06}" destId="{2F40FBEF-00A5-4CF3-88D8-4772294632F8}" srcOrd="0" destOrd="0" presId="urn:microsoft.com/office/officeart/2018/2/layout/IconVerticalSolidList"/>
    <dgm:cxn modelId="{8B472CC3-A752-4F92-9E9E-A63EA522D442}" type="presOf" srcId="{5A754977-BA29-4D0C-835B-CD854033A615}" destId="{1180B15B-EC17-41C2-AF1C-DB9522A5B591}" srcOrd="0" destOrd="0" presId="urn:microsoft.com/office/officeart/2018/2/layout/IconVerticalSolidList"/>
    <dgm:cxn modelId="{127663D5-F9BE-427B-962D-8CF713604B44}" type="presOf" srcId="{293A0C33-557D-4B38-8C2D-F88D34C34977}" destId="{294A64EF-04DD-41B2-96F3-CFC7839F62CC}" srcOrd="0" destOrd="0" presId="urn:microsoft.com/office/officeart/2018/2/layout/IconVerticalSolidList"/>
    <dgm:cxn modelId="{69626CD9-25EA-40C4-9178-34EF8457604F}" type="presOf" srcId="{67D3280A-6842-4D18-A24D-447BC297136C}" destId="{EE5A9B64-EAC6-464F-80A0-4DF9F42292C1}" srcOrd="0" destOrd="0" presId="urn:microsoft.com/office/officeart/2018/2/layout/IconVerticalSolidList"/>
    <dgm:cxn modelId="{023BD8DF-7289-41EE-9E15-A2A345EC5B02}" srcId="{5A754977-BA29-4D0C-835B-CD854033A615}" destId="{C75A1F2D-4619-4094-B517-43476C065553}" srcOrd="1" destOrd="0" parTransId="{E3E014FC-1915-4802-A9C2-3CA5E80E6466}" sibTransId="{75639B15-E692-4662-8F33-F87C399056C5}"/>
    <dgm:cxn modelId="{181C0AE2-10A3-425B-B76A-F763287EC24E}" type="presOf" srcId="{29709861-2ABF-4A9A-B898-D2E0922CFCD5}" destId="{8B7411BF-7C87-4144-B0F4-A446B8CAB97F}" srcOrd="0" destOrd="0" presId="urn:microsoft.com/office/officeart/2018/2/layout/IconVerticalSolidList"/>
    <dgm:cxn modelId="{A77B3CF2-B5D5-4D4D-9404-629429FFA2D1}" srcId="{5A754977-BA29-4D0C-835B-CD854033A615}" destId="{293A0C33-557D-4B38-8C2D-F88D34C34977}" srcOrd="3" destOrd="0" parTransId="{83E98198-FF41-4BF1-B423-1E5BB16A9211}" sibTransId="{17E39217-86C8-41C8-9660-5E9642B67C5C}"/>
    <dgm:cxn modelId="{17204289-08D1-4A4A-8B73-C92BB6FA8FB3}" type="presParOf" srcId="{1180B15B-EC17-41C2-AF1C-DB9522A5B591}" destId="{A7057531-012E-4990-A243-3688EF4194BD}" srcOrd="0" destOrd="0" presId="urn:microsoft.com/office/officeart/2018/2/layout/IconVerticalSolidList"/>
    <dgm:cxn modelId="{B6BDF299-81E4-4680-B853-6C0E5A5C411E}" type="presParOf" srcId="{A7057531-012E-4990-A243-3688EF4194BD}" destId="{F1978987-A21E-42D0-A32A-273FC8DF4717}" srcOrd="0" destOrd="0" presId="urn:microsoft.com/office/officeart/2018/2/layout/IconVerticalSolidList"/>
    <dgm:cxn modelId="{5C730AD8-6A39-444D-BA9D-BBEB3FA9BD04}" type="presParOf" srcId="{A7057531-012E-4990-A243-3688EF4194BD}" destId="{B43BBFFB-802B-4265-B105-6B27D41A0492}" srcOrd="1" destOrd="0" presId="urn:microsoft.com/office/officeart/2018/2/layout/IconVerticalSolidList"/>
    <dgm:cxn modelId="{FFEF2BBA-5B8B-4ECB-8998-E4C30E50200A}" type="presParOf" srcId="{A7057531-012E-4990-A243-3688EF4194BD}" destId="{F470D851-FC26-4F7B-8A2B-69167F822E02}" srcOrd="2" destOrd="0" presId="urn:microsoft.com/office/officeart/2018/2/layout/IconVerticalSolidList"/>
    <dgm:cxn modelId="{24F928BA-E24D-4BEA-A285-F7391E526EEB}" type="presParOf" srcId="{A7057531-012E-4990-A243-3688EF4194BD}" destId="{6B1D68BE-24C8-4356-963E-7C6536B28020}" srcOrd="3" destOrd="0" presId="urn:microsoft.com/office/officeart/2018/2/layout/IconVerticalSolidList"/>
    <dgm:cxn modelId="{EB78C596-E841-4B76-A8A1-950F60AC902E}" type="presParOf" srcId="{1180B15B-EC17-41C2-AF1C-DB9522A5B591}" destId="{3F5C17BD-EB70-48A4-B6A2-925379E00B5B}" srcOrd="1" destOrd="0" presId="urn:microsoft.com/office/officeart/2018/2/layout/IconVerticalSolidList"/>
    <dgm:cxn modelId="{EC836836-16D8-4375-8212-2F0CA47F1F50}" type="presParOf" srcId="{1180B15B-EC17-41C2-AF1C-DB9522A5B591}" destId="{52227CEE-A4B3-4CC9-A2A5-1C9BDF3503B0}" srcOrd="2" destOrd="0" presId="urn:microsoft.com/office/officeart/2018/2/layout/IconVerticalSolidList"/>
    <dgm:cxn modelId="{110CC782-71A2-4A46-93EF-03C685C5A993}" type="presParOf" srcId="{52227CEE-A4B3-4CC9-A2A5-1C9BDF3503B0}" destId="{6CB60DB9-7FEA-483F-8281-8CB2106DA633}" srcOrd="0" destOrd="0" presId="urn:microsoft.com/office/officeart/2018/2/layout/IconVerticalSolidList"/>
    <dgm:cxn modelId="{CC32DD2F-3D07-47B2-ADDF-1C896E829D73}" type="presParOf" srcId="{52227CEE-A4B3-4CC9-A2A5-1C9BDF3503B0}" destId="{C8AB8ABE-81F2-4986-B621-C3DF06F9CEB4}" srcOrd="1" destOrd="0" presId="urn:microsoft.com/office/officeart/2018/2/layout/IconVerticalSolidList"/>
    <dgm:cxn modelId="{7DC64F49-675B-4EF0-A57B-57D37B8E5935}" type="presParOf" srcId="{52227CEE-A4B3-4CC9-A2A5-1C9BDF3503B0}" destId="{99B10E9B-DFF4-4A42-8169-C3253FFABEC2}" srcOrd="2" destOrd="0" presId="urn:microsoft.com/office/officeart/2018/2/layout/IconVerticalSolidList"/>
    <dgm:cxn modelId="{8A66D1BE-22A3-4DA8-92F0-4F022ECEDAE1}" type="presParOf" srcId="{52227CEE-A4B3-4CC9-A2A5-1C9BDF3503B0}" destId="{99F0DB0D-3017-4783-AFC4-19A0D474FAC3}" srcOrd="3" destOrd="0" presId="urn:microsoft.com/office/officeart/2018/2/layout/IconVerticalSolidList"/>
    <dgm:cxn modelId="{3FEDE811-2D55-4839-B7D7-0A74DE3B6257}" type="presParOf" srcId="{1180B15B-EC17-41C2-AF1C-DB9522A5B591}" destId="{E284BEC4-BC90-4DFB-B628-FEE693CBEDAF}" srcOrd="3" destOrd="0" presId="urn:microsoft.com/office/officeart/2018/2/layout/IconVerticalSolidList"/>
    <dgm:cxn modelId="{FD9D5C73-6DDF-45D1-A0C5-2EEF92809913}" type="presParOf" srcId="{1180B15B-EC17-41C2-AF1C-DB9522A5B591}" destId="{78B96F70-8DE5-420E-91C3-82B9A4D4E8BF}" srcOrd="4" destOrd="0" presId="urn:microsoft.com/office/officeart/2018/2/layout/IconVerticalSolidList"/>
    <dgm:cxn modelId="{59D9AE60-AFF7-4687-9FAE-4F362EC70439}" type="presParOf" srcId="{78B96F70-8DE5-420E-91C3-82B9A4D4E8BF}" destId="{924DF163-9AD4-48B5-B3B2-A1D6168F7328}" srcOrd="0" destOrd="0" presId="urn:microsoft.com/office/officeart/2018/2/layout/IconVerticalSolidList"/>
    <dgm:cxn modelId="{6D9B32FD-A1CA-4C06-A3E7-00CEFAD130F1}" type="presParOf" srcId="{78B96F70-8DE5-420E-91C3-82B9A4D4E8BF}" destId="{7BD31E72-957A-44A9-BC25-8A60660F6DE4}" srcOrd="1" destOrd="0" presId="urn:microsoft.com/office/officeart/2018/2/layout/IconVerticalSolidList"/>
    <dgm:cxn modelId="{5F897888-C43B-4459-803A-B34A5E4DD6DC}" type="presParOf" srcId="{78B96F70-8DE5-420E-91C3-82B9A4D4E8BF}" destId="{67D7C714-9536-4AD7-8917-D45DD6814CA0}" srcOrd="2" destOrd="0" presId="urn:microsoft.com/office/officeart/2018/2/layout/IconVerticalSolidList"/>
    <dgm:cxn modelId="{6E8564E6-0812-4CEE-AB05-C234A6501943}" type="presParOf" srcId="{78B96F70-8DE5-420E-91C3-82B9A4D4E8BF}" destId="{EE5A9B64-EAC6-464F-80A0-4DF9F42292C1}" srcOrd="3" destOrd="0" presId="urn:microsoft.com/office/officeart/2018/2/layout/IconVerticalSolidList"/>
    <dgm:cxn modelId="{32B339CC-09BC-4380-A0AB-4A31A3478E8F}" type="presParOf" srcId="{1180B15B-EC17-41C2-AF1C-DB9522A5B591}" destId="{8E35DDE4-D25B-4A45-83B3-745FA6A205C3}" srcOrd="5" destOrd="0" presId="urn:microsoft.com/office/officeart/2018/2/layout/IconVerticalSolidList"/>
    <dgm:cxn modelId="{E8071146-5649-4BE7-8264-A12320278558}" type="presParOf" srcId="{1180B15B-EC17-41C2-AF1C-DB9522A5B591}" destId="{B24831FB-A85A-4210-B90E-3CFA371721AA}" srcOrd="6" destOrd="0" presId="urn:microsoft.com/office/officeart/2018/2/layout/IconVerticalSolidList"/>
    <dgm:cxn modelId="{5617B8AB-9BC4-47E5-8D77-840F9E4A955D}" type="presParOf" srcId="{B24831FB-A85A-4210-B90E-3CFA371721AA}" destId="{71CABBD5-8FC7-4362-B644-2BE899B6A08E}" srcOrd="0" destOrd="0" presId="urn:microsoft.com/office/officeart/2018/2/layout/IconVerticalSolidList"/>
    <dgm:cxn modelId="{B289E1A7-90F1-4FB1-A453-B4799B9D4004}" type="presParOf" srcId="{B24831FB-A85A-4210-B90E-3CFA371721AA}" destId="{DFBC1ED1-4CF7-4436-8FF5-9E7987AC60DD}" srcOrd="1" destOrd="0" presId="urn:microsoft.com/office/officeart/2018/2/layout/IconVerticalSolidList"/>
    <dgm:cxn modelId="{A4A7840F-7486-4C93-B072-46A250DB9A18}" type="presParOf" srcId="{B24831FB-A85A-4210-B90E-3CFA371721AA}" destId="{79DE171C-3899-4D20-B6B4-4A2D27C461AC}" srcOrd="2" destOrd="0" presId="urn:microsoft.com/office/officeart/2018/2/layout/IconVerticalSolidList"/>
    <dgm:cxn modelId="{B9F85167-995D-4356-AB41-9381F5FD40CF}" type="presParOf" srcId="{B24831FB-A85A-4210-B90E-3CFA371721AA}" destId="{294A64EF-04DD-41B2-96F3-CFC7839F62CC}" srcOrd="3" destOrd="0" presId="urn:microsoft.com/office/officeart/2018/2/layout/IconVerticalSolidList"/>
    <dgm:cxn modelId="{D321DB19-AD72-4C09-AD11-8DAE657718B5}" type="presParOf" srcId="{1180B15B-EC17-41C2-AF1C-DB9522A5B591}" destId="{AA345436-F3FC-4FFF-9483-55A07BF2DF9B}" srcOrd="7" destOrd="0" presId="urn:microsoft.com/office/officeart/2018/2/layout/IconVerticalSolidList"/>
    <dgm:cxn modelId="{5E918DE9-CEB9-4CC0-A905-EDD07DF3CD8E}" type="presParOf" srcId="{1180B15B-EC17-41C2-AF1C-DB9522A5B591}" destId="{5A77E02C-AD10-4707-B7D6-7FD0F7E8CDEC}" srcOrd="8" destOrd="0" presId="urn:microsoft.com/office/officeart/2018/2/layout/IconVerticalSolidList"/>
    <dgm:cxn modelId="{ABA69E3F-016D-45DB-BFDA-188722D8F809}" type="presParOf" srcId="{5A77E02C-AD10-4707-B7D6-7FD0F7E8CDEC}" destId="{91D40386-459D-4B46-A732-57244C3D28A8}" srcOrd="0" destOrd="0" presId="urn:microsoft.com/office/officeart/2018/2/layout/IconVerticalSolidList"/>
    <dgm:cxn modelId="{03B297F3-2528-43A8-B8F2-D286991FF956}" type="presParOf" srcId="{5A77E02C-AD10-4707-B7D6-7FD0F7E8CDEC}" destId="{4013A078-257E-4F26-BA2E-DC0F90BBF499}" srcOrd="1" destOrd="0" presId="urn:microsoft.com/office/officeart/2018/2/layout/IconVerticalSolidList"/>
    <dgm:cxn modelId="{7B5D745E-D78E-40CA-80FE-216F0B8A9C7E}" type="presParOf" srcId="{5A77E02C-AD10-4707-B7D6-7FD0F7E8CDEC}" destId="{87CA1143-7E41-4135-B87D-6589A3B58E1F}" srcOrd="2" destOrd="0" presId="urn:microsoft.com/office/officeart/2018/2/layout/IconVerticalSolidList"/>
    <dgm:cxn modelId="{B8B5DB90-6A53-49B1-9FFE-FA263496944D}" type="presParOf" srcId="{5A77E02C-AD10-4707-B7D6-7FD0F7E8CDEC}" destId="{2F40FBEF-00A5-4CF3-88D8-4772294632F8}" srcOrd="3" destOrd="0" presId="urn:microsoft.com/office/officeart/2018/2/layout/IconVerticalSolidList"/>
    <dgm:cxn modelId="{C5EA332F-4246-4BA1-8D08-D0F68AD43053}" type="presParOf" srcId="{1180B15B-EC17-41C2-AF1C-DB9522A5B591}" destId="{9FADEA2B-3ADC-442D-AD92-E49AFFF7916B}" srcOrd="9" destOrd="0" presId="urn:microsoft.com/office/officeart/2018/2/layout/IconVerticalSolidList"/>
    <dgm:cxn modelId="{66E28507-A49E-42F7-A118-B8B5386EB27D}" type="presParOf" srcId="{1180B15B-EC17-41C2-AF1C-DB9522A5B591}" destId="{61890BB2-10AD-4D13-842B-5B52A32042BD}" srcOrd="10" destOrd="0" presId="urn:microsoft.com/office/officeart/2018/2/layout/IconVerticalSolidList"/>
    <dgm:cxn modelId="{EE19ACB2-627B-4862-87A7-247B9DCECE77}" type="presParOf" srcId="{61890BB2-10AD-4D13-842B-5B52A32042BD}" destId="{5D1DD09E-FFD6-4CE9-9FBC-334F7E1DC8EB}" srcOrd="0" destOrd="0" presId="urn:microsoft.com/office/officeart/2018/2/layout/IconVerticalSolidList"/>
    <dgm:cxn modelId="{0F07D93E-CBA8-42F4-A57D-B3622D06A1A6}" type="presParOf" srcId="{61890BB2-10AD-4D13-842B-5B52A32042BD}" destId="{59EBCA27-BDEB-4BF2-AD2F-F569A1DC4AB4}" srcOrd="1" destOrd="0" presId="urn:microsoft.com/office/officeart/2018/2/layout/IconVerticalSolidList"/>
    <dgm:cxn modelId="{AE0AD2EE-8ECC-4C81-80C0-FD1CB9045257}" type="presParOf" srcId="{61890BB2-10AD-4D13-842B-5B52A32042BD}" destId="{0DB03066-7923-4479-A7EE-9DDFA1A0DFE8}" srcOrd="2" destOrd="0" presId="urn:microsoft.com/office/officeart/2018/2/layout/IconVerticalSolidList"/>
    <dgm:cxn modelId="{44ECF4DE-BCB2-48A3-A33C-5333C8ADCBCF}" type="presParOf" srcId="{61890BB2-10AD-4D13-842B-5B52A32042BD}" destId="{FE45993A-7867-4EEE-BCD9-AC3F3330F656}" srcOrd="3" destOrd="0" presId="urn:microsoft.com/office/officeart/2018/2/layout/IconVerticalSolidList"/>
    <dgm:cxn modelId="{FC4DB14A-BA9D-4565-A4B4-7EE636250818}" type="presParOf" srcId="{1180B15B-EC17-41C2-AF1C-DB9522A5B591}" destId="{043B366B-9190-43A7-BC6C-BDA2CFBF7051}" srcOrd="11" destOrd="0" presId="urn:microsoft.com/office/officeart/2018/2/layout/IconVerticalSolidList"/>
    <dgm:cxn modelId="{94E5E748-F676-43A7-8507-F06A064B896D}" type="presParOf" srcId="{1180B15B-EC17-41C2-AF1C-DB9522A5B591}" destId="{4F2485EE-4900-4ADF-840B-25ED3800896A}" srcOrd="12" destOrd="0" presId="urn:microsoft.com/office/officeart/2018/2/layout/IconVerticalSolidList"/>
    <dgm:cxn modelId="{2158CF2B-C1A8-4A58-A5BF-ABC815B5DECE}" type="presParOf" srcId="{4F2485EE-4900-4ADF-840B-25ED3800896A}" destId="{100A63DA-0EEA-42F6-A2DF-DEF6DB14FC45}" srcOrd="0" destOrd="0" presId="urn:microsoft.com/office/officeart/2018/2/layout/IconVerticalSolidList"/>
    <dgm:cxn modelId="{A610B26E-7827-4C93-93A9-DC31D2FFA823}" type="presParOf" srcId="{4F2485EE-4900-4ADF-840B-25ED3800896A}" destId="{2168820A-F980-4695-B3CF-426DCB5E43B5}" srcOrd="1" destOrd="0" presId="urn:microsoft.com/office/officeart/2018/2/layout/IconVerticalSolidList"/>
    <dgm:cxn modelId="{592F44A1-36E1-4EFD-BCB1-B83A0F5F2096}" type="presParOf" srcId="{4F2485EE-4900-4ADF-840B-25ED3800896A}" destId="{A334F755-941F-41B7-87DC-86A1B37EA436}" srcOrd="2" destOrd="0" presId="urn:microsoft.com/office/officeart/2018/2/layout/IconVerticalSolidList"/>
    <dgm:cxn modelId="{D7E5831E-2F55-487F-81DE-9C3AF3C490DB}" type="presParOf" srcId="{4F2485EE-4900-4ADF-840B-25ED3800896A}" destId="{8B7411BF-7C87-4144-B0F4-A446B8CAB97F}"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25839FA-9CEC-45C5-B4C0-05D54D3F7061}" type="doc">
      <dgm:prSet loTypeId="urn:microsoft.com/office/officeart/2005/8/layout/vList2" loCatId="list" qsTypeId="urn:microsoft.com/office/officeart/2005/8/quickstyle/simple2" qsCatId="simple" csTypeId="urn:microsoft.com/office/officeart/2005/8/colors/accent2_2" csCatId="accent2" phldr="1"/>
      <dgm:spPr/>
      <dgm:t>
        <a:bodyPr/>
        <a:lstStyle/>
        <a:p>
          <a:endParaRPr lang="en-US"/>
        </a:p>
      </dgm:t>
    </dgm:pt>
    <dgm:pt modelId="{B51F3E2B-4286-4CDF-9A91-F480F05573AF}">
      <dgm:prSet custT="1"/>
      <dgm:spPr>
        <a:solidFill>
          <a:srgbClr val="004DA0"/>
        </a:solidFill>
      </dgm:spPr>
      <dgm:t>
        <a:bodyPr/>
        <a:lstStyle/>
        <a:p>
          <a:r>
            <a:rPr lang="en-US" sz="2800" dirty="0">
              <a:effectLst/>
              <a:latin typeface="Arial" panose="020B0604020202020204" pitchFamily="34" charset="0"/>
              <a:ea typeface="SimSun" panose="02010600030101010101" pitchFamily="2" charset="-122"/>
              <a:cs typeface="Times New Roman" panose="02020603050405020304" pitchFamily="18" charset="0"/>
            </a:rPr>
            <a:t>BYK’s polymer-based slip/scratch additive </a:t>
          </a:r>
          <a:r>
            <a:rPr lang="en-US" sz="2800" dirty="0"/>
            <a:t>showed superior performance in terms of having the lowest coefficient of friction 0.143 </a:t>
          </a:r>
        </a:p>
      </dgm:t>
    </dgm:pt>
    <dgm:pt modelId="{26896C2F-384E-4C5A-A65A-DAD29336F7CF}" type="parTrans" cxnId="{24A8C069-2A14-4F60-8CA7-0368081BB4CB}">
      <dgm:prSet/>
      <dgm:spPr/>
      <dgm:t>
        <a:bodyPr/>
        <a:lstStyle/>
        <a:p>
          <a:endParaRPr lang="en-US" sz="3200"/>
        </a:p>
      </dgm:t>
    </dgm:pt>
    <dgm:pt modelId="{898AD15D-CC69-4162-97EF-4A8E3CEB32CF}" type="sibTrans" cxnId="{24A8C069-2A14-4F60-8CA7-0368081BB4CB}">
      <dgm:prSet/>
      <dgm:spPr/>
      <dgm:t>
        <a:bodyPr/>
        <a:lstStyle/>
        <a:p>
          <a:endParaRPr lang="en-US" sz="3200"/>
        </a:p>
      </dgm:t>
    </dgm:pt>
    <dgm:pt modelId="{CE29A37F-B114-4F92-B978-A3E032E748AD}">
      <dgm:prSet custT="1"/>
      <dgm:spPr>
        <a:solidFill>
          <a:schemeClr val="accent1"/>
        </a:solidFill>
      </dgm:spPr>
      <dgm:t>
        <a:bodyPr/>
        <a:lstStyle/>
        <a:p>
          <a:r>
            <a:rPr lang="en-US" sz="2800" dirty="0"/>
            <a:t>Pencil scratch test, of 6H </a:t>
          </a:r>
        </a:p>
      </dgm:t>
    </dgm:pt>
    <dgm:pt modelId="{7A7D7666-1F68-4A2D-8783-5B4D4620F6D1}" type="parTrans" cxnId="{6FD8B23F-B663-4783-A935-714A7BCDEEBF}">
      <dgm:prSet/>
      <dgm:spPr/>
      <dgm:t>
        <a:bodyPr/>
        <a:lstStyle/>
        <a:p>
          <a:endParaRPr lang="en-US" sz="3200"/>
        </a:p>
      </dgm:t>
    </dgm:pt>
    <dgm:pt modelId="{6F352C71-D24A-4BB9-9032-9F20B4EB32E7}" type="sibTrans" cxnId="{6FD8B23F-B663-4783-A935-714A7BCDEEBF}">
      <dgm:prSet/>
      <dgm:spPr/>
      <dgm:t>
        <a:bodyPr/>
        <a:lstStyle/>
        <a:p>
          <a:endParaRPr lang="en-US" sz="3200"/>
        </a:p>
      </dgm:t>
    </dgm:pt>
    <dgm:pt modelId="{EDEB7FAD-FE38-4C7E-A9E5-7DE27973381F}">
      <dgm:prSet custT="1"/>
      <dgm:spPr>
        <a:solidFill>
          <a:schemeClr val="accent5"/>
        </a:solidFill>
      </dgm:spPr>
      <dgm:t>
        <a:bodyPr/>
        <a:lstStyle/>
        <a:p>
          <a:r>
            <a:rPr lang="en-US" sz="2800" dirty="0">
              <a:effectLst/>
              <a:latin typeface="Arial" panose="020B0604020202020204" pitchFamily="34" charset="0"/>
              <a:ea typeface="SimSun" panose="02010600030101010101" pitchFamily="2" charset="-122"/>
              <a:cs typeface="Times New Roman" panose="02020603050405020304" pitchFamily="18" charset="0"/>
            </a:rPr>
            <a:t>BYK’s polymer-based slip/scratch additive </a:t>
          </a:r>
          <a:r>
            <a:rPr lang="en-US" sz="2800" dirty="0"/>
            <a:t>showed superior performance for scratch and slip properties in a Polyester TGIC-free system.</a:t>
          </a:r>
        </a:p>
      </dgm:t>
    </dgm:pt>
    <dgm:pt modelId="{104749B8-B819-478D-AD97-63F5C37C9F0E}" type="parTrans" cxnId="{09ED726E-D204-4114-A0F1-881B7C20B4ED}">
      <dgm:prSet/>
      <dgm:spPr/>
      <dgm:t>
        <a:bodyPr/>
        <a:lstStyle/>
        <a:p>
          <a:endParaRPr lang="en-US" sz="3200"/>
        </a:p>
      </dgm:t>
    </dgm:pt>
    <dgm:pt modelId="{5138C3D5-4A43-4B8F-A351-552BA84629DF}" type="sibTrans" cxnId="{09ED726E-D204-4114-A0F1-881B7C20B4ED}">
      <dgm:prSet/>
      <dgm:spPr/>
      <dgm:t>
        <a:bodyPr/>
        <a:lstStyle/>
        <a:p>
          <a:endParaRPr lang="en-US" sz="3200"/>
        </a:p>
      </dgm:t>
    </dgm:pt>
    <dgm:pt modelId="{36643413-AA33-458A-949E-78B83D5BEB6D}" type="pres">
      <dgm:prSet presAssocID="{525839FA-9CEC-45C5-B4C0-05D54D3F7061}" presName="linear" presStyleCnt="0">
        <dgm:presLayoutVars>
          <dgm:animLvl val="lvl"/>
          <dgm:resizeHandles val="exact"/>
        </dgm:presLayoutVars>
      </dgm:prSet>
      <dgm:spPr/>
    </dgm:pt>
    <dgm:pt modelId="{76C9A0AA-916E-42E1-B4DE-D9CE31F4968C}" type="pres">
      <dgm:prSet presAssocID="{B51F3E2B-4286-4CDF-9A91-F480F05573AF}" presName="parentText" presStyleLbl="node1" presStyleIdx="0" presStyleCnt="3" custLinFactNeighborX="155" custLinFactNeighborY="-4487">
        <dgm:presLayoutVars>
          <dgm:chMax val="0"/>
          <dgm:bulletEnabled val="1"/>
        </dgm:presLayoutVars>
      </dgm:prSet>
      <dgm:spPr/>
    </dgm:pt>
    <dgm:pt modelId="{D6C8F1F2-9317-42BC-AA9D-C2FF269D6CA5}" type="pres">
      <dgm:prSet presAssocID="{898AD15D-CC69-4162-97EF-4A8E3CEB32CF}" presName="spacer" presStyleCnt="0"/>
      <dgm:spPr/>
    </dgm:pt>
    <dgm:pt modelId="{5E286FBE-E596-4EBE-A3BE-942C0B7FB855}" type="pres">
      <dgm:prSet presAssocID="{CE29A37F-B114-4F92-B978-A3E032E748AD}" presName="parentText" presStyleLbl="node1" presStyleIdx="1" presStyleCnt="3">
        <dgm:presLayoutVars>
          <dgm:chMax val="0"/>
          <dgm:bulletEnabled val="1"/>
        </dgm:presLayoutVars>
      </dgm:prSet>
      <dgm:spPr/>
    </dgm:pt>
    <dgm:pt modelId="{A01142E3-EAE3-46FF-9820-D038E0C31F19}" type="pres">
      <dgm:prSet presAssocID="{6F352C71-D24A-4BB9-9032-9F20B4EB32E7}" presName="spacer" presStyleCnt="0"/>
      <dgm:spPr/>
    </dgm:pt>
    <dgm:pt modelId="{FCDB5356-6B8D-495A-A108-02A8D4F15A0C}" type="pres">
      <dgm:prSet presAssocID="{EDEB7FAD-FE38-4C7E-A9E5-7DE27973381F}" presName="parentText" presStyleLbl="node1" presStyleIdx="2" presStyleCnt="3">
        <dgm:presLayoutVars>
          <dgm:chMax val="0"/>
          <dgm:bulletEnabled val="1"/>
        </dgm:presLayoutVars>
      </dgm:prSet>
      <dgm:spPr/>
    </dgm:pt>
  </dgm:ptLst>
  <dgm:cxnLst>
    <dgm:cxn modelId="{71127825-F991-4046-A0D1-5BF4EF9F0DCD}" type="presOf" srcId="{CE29A37F-B114-4F92-B978-A3E032E748AD}" destId="{5E286FBE-E596-4EBE-A3BE-942C0B7FB855}" srcOrd="0" destOrd="0" presId="urn:microsoft.com/office/officeart/2005/8/layout/vList2"/>
    <dgm:cxn modelId="{6FD8B23F-B663-4783-A935-714A7BCDEEBF}" srcId="{525839FA-9CEC-45C5-B4C0-05D54D3F7061}" destId="{CE29A37F-B114-4F92-B978-A3E032E748AD}" srcOrd="1" destOrd="0" parTransId="{7A7D7666-1F68-4A2D-8783-5B4D4620F6D1}" sibTransId="{6F352C71-D24A-4BB9-9032-9F20B4EB32E7}"/>
    <dgm:cxn modelId="{D69B755B-2880-4A62-A330-DC2D8D9321FB}" type="presOf" srcId="{EDEB7FAD-FE38-4C7E-A9E5-7DE27973381F}" destId="{FCDB5356-6B8D-495A-A108-02A8D4F15A0C}" srcOrd="0" destOrd="0" presId="urn:microsoft.com/office/officeart/2005/8/layout/vList2"/>
    <dgm:cxn modelId="{24A8C069-2A14-4F60-8CA7-0368081BB4CB}" srcId="{525839FA-9CEC-45C5-B4C0-05D54D3F7061}" destId="{B51F3E2B-4286-4CDF-9A91-F480F05573AF}" srcOrd="0" destOrd="0" parTransId="{26896C2F-384E-4C5A-A65A-DAD29336F7CF}" sibTransId="{898AD15D-CC69-4162-97EF-4A8E3CEB32CF}"/>
    <dgm:cxn modelId="{09ED726E-D204-4114-A0F1-881B7C20B4ED}" srcId="{525839FA-9CEC-45C5-B4C0-05D54D3F7061}" destId="{EDEB7FAD-FE38-4C7E-A9E5-7DE27973381F}" srcOrd="2" destOrd="0" parTransId="{104749B8-B819-478D-AD97-63F5C37C9F0E}" sibTransId="{5138C3D5-4A43-4B8F-A351-552BA84629DF}"/>
    <dgm:cxn modelId="{58F973A8-8CED-4EF9-8AFF-D365508EA342}" type="presOf" srcId="{525839FA-9CEC-45C5-B4C0-05D54D3F7061}" destId="{36643413-AA33-458A-949E-78B83D5BEB6D}" srcOrd="0" destOrd="0" presId="urn:microsoft.com/office/officeart/2005/8/layout/vList2"/>
    <dgm:cxn modelId="{FACBD1F2-D2EE-4E3F-836F-A01D2C1EA666}" type="presOf" srcId="{B51F3E2B-4286-4CDF-9A91-F480F05573AF}" destId="{76C9A0AA-916E-42E1-B4DE-D9CE31F4968C}" srcOrd="0" destOrd="0" presId="urn:microsoft.com/office/officeart/2005/8/layout/vList2"/>
    <dgm:cxn modelId="{8D0612C4-6FD9-4793-803D-AD0F4725E5B8}" type="presParOf" srcId="{36643413-AA33-458A-949E-78B83D5BEB6D}" destId="{76C9A0AA-916E-42E1-B4DE-D9CE31F4968C}" srcOrd="0" destOrd="0" presId="urn:microsoft.com/office/officeart/2005/8/layout/vList2"/>
    <dgm:cxn modelId="{82D3EF03-8802-4882-B4C4-E7337536389E}" type="presParOf" srcId="{36643413-AA33-458A-949E-78B83D5BEB6D}" destId="{D6C8F1F2-9317-42BC-AA9D-C2FF269D6CA5}" srcOrd="1" destOrd="0" presId="urn:microsoft.com/office/officeart/2005/8/layout/vList2"/>
    <dgm:cxn modelId="{FA236057-6994-4CDE-AE35-A2635B4AE76E}" type="presParOf" srcId="{36643413-AA33-458A-949E-78B83D5BEB6D}" destId="{5E286FBE-E596-4EBE-A3BE-942C0B7FB855}" srcOrd="2" destOrd="0" presId="urn:microsoft.com/office/officeart/2005/8/layout/vList2"/>
    <dgm:cxn modelId="{AF2E0040-69EA-4FD1-8611-A438AA9FB0C4}" type="presParOf" srcId="{36643413-AA33-458A-949E-78B83D5BEB6D}" destId="{A01142E3-EAE3-46FF-9820-D038E0C31F19}" srcOrd="3" destOrd="0" presId="urn:microsoft.com/office/officeart/2005/8/layout/vList2"/>
    <dgm:cxn modelId="{DE132B2F-CCFB-47BC-8B52-CF71C25A3CD4}" type="presParOf" srcId="{36643413-AA33-458A-949E-78B83D5BEB6D}" destId="{FCDB5356-6B8D-495A-A108-02A8D4F15A0C}"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AE3445-2033-4AF2-9655-A746946891D2}">
      <dsp:nvSpPr>
        <dsp:cNvPr id="0" name=""/>
        <dsp:cNvSpPr/>
      </dsp:nvSpPr>
      <dsp:spPr>
        <a:xfrm>
          <a:off x="0" y="0"/>
          <a:ext cx="11376645"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ECE72C43-CFF5-456D-B9EC-041493BB7A99}">
      <dsp:nvSpPr>
        <dsp:cNvPr id="0" name=""/>
        <dsp:cNvSpPr/>
      </dsp:nvSpPr>
      <dsp:spPr>
        <a:xfrm>
          <a:off x="0" y="0"/>
          <a:ext cx="11376645" cy="637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Regulatory Pressures and PFAS concerns</a:t>
          </a:r>
        </a:p>
      </dsp:txBody>
      <dsp:txXfrm>
        <a:off x="0" y="0"/>
        <a:ext cx="11376645" cy="637650"/>
      </dsp:txXfrm>
    </dsp:sp>
    <dsp:sp modelId="{57C78333-AF1B-49AE-B4A2-F83763128AA7}">
      <dsp:nvSpPr>
        <dsp:cNvPr id="0" name=""/>
        <dsp:cNvSpPr/>
      </dsp:nvSpPr>
      <dsp:spPr>
        <a:xfrm>
          <a:off x="0" y="637650"/>
          <a:ext cx="11376645"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B0F99F8F-71A3-4AA1-84E3-1257C9EF4CCE}">
      <dsp:nvSpPr>
        <dsp:cNvPr id="0" name=""/>
        <dsp:cNvSpPr/>
      </dsp:nvSpPr>
      <dsp:spPr>
        <a:xfrm>
          <a:off x="0" y="637650"/>
          <a:ext cx="11376645" cy="637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Functional Role of PTFE in Powder Coatings</a:t>
          </a:r>
        </a:p>
      </dsp:txBody>
      <dsp:txXfrm>
        <a:off x="0" y="637650"/>
        <a:ext cx="11376645" cy="637650"/>
      </dsp:txXfrm>
    </dsp:sp>
    <dsp:sp modelId="{3007CDB7-6319-4964-A9B5-339BB330A428}">
      <dsp:nvSpPr>
        <dsp:cNvPr id="0" name=""/>
        <dsp:cNvSpPr/>
      </dsp:nvSpPr>
      <dsp:spPr>
        <a:xfrm>
          <a:off x="0" y="1275300"/>
          <a:ext cx="11376645"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17650C84-D2FB-47A3-91DE-75FA4AAA90CA}">
      <dsp:nvSpPr>
        <dsp:cNvPr id="0" name=""/>
        <dsp:cNvSpPr/>
      </dsp:nvSpPr>
      <dsp:spPr>
        <a:xfrm>
          <a:off x="0" y="1275300"/>
          <a:ext cx="11376645" cy="637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PTFE-Free Alternatives (race to the finish line)</a:t>
          </a:r>
        </a:p>
      </dsp:txBody>
      <dsp:txXfrm>
        <a:off x="0" y="1275300"/>
        <a:ext cx="11376645" cy="637650"/>
      </dsp:txXfrm>
    </dsp:sp>
    <dsp:sp modelId="{8D260BEA-0457-4658-8DF8-83D680A0EFAC}">
      <dsp:nvSpPr>
        <dsp:cNvPr id="0" name=""/>
        <dsp:cNvSpPr/>
      </dsp:nvSpPr>
      <dsp:spPr>
        <a:xfrm>
          <a:off x="0" y="1912949"/>
          <a:ext cx="11376645"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8390D50E-9B9F-40BE-9391-257DA49A125B}">
      <dsp:nvSpPr>
        <dsp:cNvPr id="0" name=""/>
        <dsp:cNvSpPr/>
      </dsp:nvSpPr>
      <dsp:spPr>
        <a:xfrm>
          <a:off x="0" y="1912950"/>
          <a:ext cx="11376645" cy="637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Formulation Strategies for PTFE-Free Powder Coatings</a:t>
          </a:r>
        </a:p>
      </dsp:txBody>
      <dsp:txXfrm>
        <a:off x="0" y="1912950"/>
        <a:ext cx="11376645" cy="637650"/>
      </dsp:txXfrm>
    </dsp:sp>
    <dsp:sp modelId="{B34C0BE2-741B-478F-91CB-C389118E6202}">
      <dsp:nvSpPr>
        <dsp:cNvPr id="0" name=""/>
        <dsp:cNvSpPr/>
      </dsp:nvSpPr>
      <dsp:spPr>
        <a:xfrm>
          <a:off x="0" y="2550600"/>
          <a:ext cx="11376645"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ABD014F7-9172-4BB2-8A00-7B5E2CD451A5}">
      <dsp:nvSpPr>
        <dsp:cNvPr id="0" name=""/>
        <dsp:cNvSpPr/>
      </dsp:nvSpPr>
      <dsp:spPr>
        <a:xfrm>
          <a:off x="0" y="2550600"/>
          <a:ext cx="11376645" cy="637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dirty="0"/>
            <a:t>Case Study – Texture Effects</a:t>
          </a:r>
        </a:p>
      </dsp:txBody>
      <dsp:txXfrm>
        <a:off x="0" y="2550600"/>
        <a:ext cx="11376645" cy="637650"/>
      </dsp:txXfrm>
    </dsp:sp>
    <dsp:sp modelId="{D167C5DB-498A-4388-8424-C2D03E7C0842}">
      <dsp:nvSpPr>
        <dsp:cNvPr id="0" name=""/>
        <dsp:cNvSpPr/>
      </dsp:nvSpPr>
      <dsp:spPr>
        <a:xfrm>
          <a:off x="0" y="3188250"/>
          <a:ext cx="11376645"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41F255D3-FD69-458B-BD75-5D4A76CD8D2D}">
      <dsp:nvSpPr>
        <dsp:cNvPr id="0" name=""/>
        <dsp:cNvSpPr/>
      </dsp:nvSpPr>
      <dsp:spPr>
        <a:xfrm>
          <a:off x="0" y="3188250"/>
          <a:ext cx="11376645" cy="637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Durability Evaluation/ Tests</a:t>
          </a:r>
        </a:p>
      </dsp:txBody>
      <dsp:txXfrm>
        <a:off x="0" y="3188250"/>
        <a:ext cx="11376645" cy="637650"/>
      </dsp:txXfrm>
    </dsp:sp>
    <dsp:sp modelId="{9BE7E402-95A3-400C-953F-CF598CB2C153}">
      <dsp:nvSpPr>
        <dsp:cNvPr id="0" name=""/>
        <dsp:cNvSpPr/>
      </dsp:nvSpPr>
      <dsp:spPr>
        <a:xfrm>
          <a:off x="0" y="3825900"/>
          <a:ext cx="11376645"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E5888AF7-775C-4B20-B8C6-33BF94B9F3A2}">
      <dsp:nvSpPr>
        <dsp:cNvPr id="0" name=""/>
        <dsp:cNvSpPr/>
      </dsp:nvSpPr>
      <dsp:spPr>
        <a:xfrm>
          <a:off x="0" y="3825900"/>
          <a:ext cx="11376645" cy="637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Outlook</a:t>
          </a:r>
        </a:p>
      </dsp:txBody>
      <dsp:txXfrm>
        <a:off x="0" y="3825900"/>
        <a:ext cx="11376645" cy="637650"/>
      </dsp:txXfrm>
    </dsp:sp>
    <dsp:sp modelId="{88369436-EF1F-4941-B7E7-BB01FD015EA5}">
      <dsp:nvSpPr>
        <dsp:cNvPr id="0" name=""/>
        <dsp:cNvSpPr/>
      </dsp:nvSpPr>
      <dsp:spPr>
        <a:xfrm>
          <a:off x="0" y="4463550"/>
          <a:ext cx="11376645"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1ECADFD6-8BD9-45BB-A1B2-599AAE8F8FEF}">
      <dsp:nvSpPr>
        <dsp:cNvPr id="0" name=""/>
        <dsp:cNvSpPr/>
      </dsp:nvSpPr>
      <dsp:spPr>
        <a:xfrm>
          <a:off x="0" y="4463550"/>
          <a:ext cx="11376645" cy="637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Summary and Conclusion</a:t>
          </a:r>
        </a:p>
      </dsp:txBody>
      <dsp:txXfrm>
        <a:off x="0" y="4463550"/>
        <a:ext cx="11376645" cy="6376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AC5A77-689F-402E-BC14-16B4129F2277}">
      <dsp:nvSpPr>
        <dsp:cNvPr id="0" name=""/>
        <dsp:cNvSpPr/>
      </dsp:nvSpPr>
      <dsp:spPr>
        <a:xfrm>
          <a:off x="268985" y="0"/>
          <a:ext cx="8473198" cy="776250"/>
        </a:xfrm>
        <a:prstGeom prst="chevron">
          <a:avLst/>
        </a:prstGeom>
        <a:solidFill>
          <a:schemeClr val="accent2">
            <a:lumMod val="75000"/>
          </a:schemeClr>
        </a:solidFill>
        <a:ln w="38100" cap="flat" cmpd="sng" algn="ctr">
          <a:noFill/>
          <a:prstDash val="solid"/>
        </a:ln>
        <a:effectLst/>
        <a:scene3d>
          <a:camera prst="orthographicFront">
            <a:rot lat="0" lon="0" rev="0"/>
          </a:camera>
          <a:lightRig rig="contrasting" dir="t">
            <a:rot lat="0" lon="0" rev="7800000"/>
          </a:lightRig>
        </a:scene3d>
        <a:sp3d>
          <a:bevelT w="139700" h="139700"/>
        </a:sp3d>
      </dsp:spPr>
      <dsp:style>
        <a:lnRef idx="3">
          <a:scrgbClr r="0" g="0" b="0"/>
        </a:lnRef>
        <a:fillRef idx="1">
          <a:scrgbClr r="0" g="0" b="0"/>
        </a:fillRef>
        <a:effectRef idx="1">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PFAS – Per- and Polyfluoroalkyl Substances are largely a family of synthetic fluorinated compounds</a:t>
          </a:r>
        </a:p>
      </dsp:txBody>
      <dsp:txXfrm>
        <a:off x="657110" y="0"/>
        <a:ext cx="7696948" cy="776250"/>
      </dsp:txXfrm>
    </dsp:sp>
    <dsp:sp modelId="{8508A640-13FA-4055-8481-A169CC4FAAEB}">
      <dsp:nvSpPr>
        <dsp:cNvPr id="0" name=""/>
        <dsp:cNvSpPr/>
      </dsp:nvSpPr>
      <dsp:spPr>
        <a:xfrm>
          <a:off x="161359" y="862770"/>
          <a:ext cx="9018616" cy="4794400"/>
        </a:xfrm>
        <a:prstGeom prst="rect">
          <a:avLst/>
        </a:prstGeom>
        <a:noFill/>
        <a:ln>
          <a:noFill/>
        </a:ln>
        <a:effectLst/>
        <a:scene3d>
          <a:camera prst="orthographicFront">
            <a:rot lat="0" lon="0" rev="0"/>
          </a:camera>
          <a:lightRig rig="contrasting" dir="t">
            <a:rot lat="0" lon="0" rev="7800000"/>
          </a:lightRig>
        </a:scene3d>
        <a:sp3d>
          <a:bevelT w="139700" h="139700"/>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Extremely stable – Highly resistant to heat, and chemical breakdown</a:t>
          </a:r>
        </a:p>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r>
            <a:rPr lang="en-US" sz="2000" kern="1200" dirty="0"/>
            <a:t>Very Persistent – They don’t degrade easily in the environment </a:t>
          </a:r>
        </a:p>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r>
            <a:rPr lang="en-US" sz="2000" kern="1200" dirty="0"/>
            <a:t>Ubiquitous – widespread presence in drinking water, wildlife and even accumulate in humans over time</a:t>
          </a:r>
        </a:p>
        <a:p>
          <a:pPr marL="228600" lvl="1" indent="-228600" algn="l" defTabSz="889000">
            <a:lnSpc>
              <a:spcPct val="90000"/>
            </a:lnSpc>
            <a:spcBef>
              <a:spcPct val="0"/>
            </a:spcBef>
            <a:spcAft>
              <a:spcPct val="15000"/>
            </a:spcAft>
            <a:buChar char="•"/>
          </a:pPr>
          <a:endParaRPr lang="en-US" sz="2000" kern="1200" dirty="0"/>
        </a:p>
        <a:p>
          <a:pPr marL="457200" lvl="2" indent="-228600" algn="l" defTabSz="889000">
            <a:lnSpc>
              <a:spcPct val="90000"/>
            </a:lnSpc>
            <a:spcBef>
              <a:spcPct val="0"/>
            </a:spcBef>
            <a:spcAft>
              <a:spcPct val="15000"/>
            </a:spcAft>
            <a:buNone/>
          </a:pPr>
          <a:r>
            <a:rPr lang="en-US" sz="2000" kern="1200" dirty="0"/>
            <a:t>			                    </a:t>
          </a:r>
          <a:r>
            <a:rPr lang="en-US" sz="2400" b="1" kern="1200" dirty="0">
              <a:solidFill>
                <a:schemeClr val="accent2">
                  <a:lumMod val="75000"/>
                </a:schemeClr>
              </a:solidFill>
            </a:rPr>
            <a:t>THE CONNECTION</a:t>
          </a:r>
        </a:p>
        <a:p>
          <a:pPr marL="457200" lvl="2" indent="-228600" algn="l" defTabSz="889000">
            <a:lnSpc>
              <a:spcPct val="90000"/>
            </a:lnSpc>
            <a:spcBef>
              <a:spcPct val="0"/>
            </a:spcBef>
            <a:spcAft>
              <a:spcPct val="15000"/>
            </a:spcAft>
            <a:buChar char="•"/>
          </a:pPr>
          <a:endParaRPr lang="en-US" sz="2000" kern="1200" dirty="0"/>
        </a:p>
        <a:p>
          <a:pPr marL="457200" lvl="2" indent="-228600" algn="l" defTabSz="889000">
            <a:lnSpc>
              <a:spcPct val="90000"/>
            </a:lnSpc>
            <a:spcBef>
              <a:spcPct val="0"/>
            </a:spcBef>
            <a:spcAft>
              <a:spcPct val="15000"/>
            </a:spcAft>
            <a:buChar char="•"/>
          </a:pPr>
          <a:r>
            <a:rPr lang="en-US" sz="2000" kern="1200" dirty="0"/>
            <a:t>PTFE, is a polymerized tetrafluoroethylene &amp; chemically inert</a:t>
          </a:r>
        </a:p>
        <a:p>
          <a:pPr marL="457200" lvl="2" indent="-228600" algn="l" defTabSz="889000">
            <a:lnSpc>
              <a:spcPct val="90000"/>
            </a:lnSpc>
            <a:spcBef>
              <a:spcPct val="0"/>
            </a:spcBef>
            <a:spcAft>
              <a:spcPct val="15000"/>
            </a:spcAft>
            <a:buChar char="•"/>
          </a:pPr>
          <a:endParaRPr lang="en-US" sz="2000" kern="1200" dirty="0"/>
        </a:p>
        <a:p>
          <a:pPr marL="457200" lvl="2" indent="-228600" algn="l" defTabSz="889000">
            <a:lnSpc>
              <a:spcPct val="90000"/>
            </a:lnSpc>
            <a:spcBef>
              <a:spcPct val="0"/>
            </a:spcBef>
            <a:spcAft>
              <a:spcPct val="15000"/>
            </a:spcAft>
            <a:buChar char="•"/>
          </a:pPr>
          <a:r>
            <a:rPr lang="en-US" sz="2000" kern="1200" dirty="0"/>
            <a:t>The production and processing often involves PFAS based intermediates (PFOA).</a:t>
          </a:r>
        </a:p>
        <a:p>
          <a:pPr marL="457200" lvl="2" indent="-228600" algn="l" defTabSz="889000">
            <a:lnSpc>
              <a:spcPct val="90000"/>
            </a:lnSpc>
            <a:spcBef>
              <a:spcPct val="0"/>
            </a:spcBef>
            <a:spcAft>
              <a:spcPct val="15000"/>
            </a:spcAft>
            <a:buChar char="•"/>
          </a:pPr>
          <a:endParaRPr lang="en-US" sz="2000" kern="1200" dirty="0"/>
        </a:p>
        <a:p>
          <a:pPr marL="457200" lvl="2" indent="-228600" algn="l" defTabSz="889000">
            <a:lnSpc>
              <a:spcPct val="90000"/>
            </a:lnSpc>
            <a:spcBef>
              <a:spcPct val="0"/>
            </a:spcBef>
            <a:spcAft>
              <a:spcPct val="15000"/>
            </a:spcAft>
            <a:buChar char="•"/>
          </a:pPr>
          <a:r>
            <a:rPr lang="en-US" sz="2000" kern="1200" dirty="0"/>
            <a:t>It is in this light, that regulators often target PFAS as a class, meaning inert polymers like PTFE are getting phased out entirely.</a:t>
          </a:r>
        </a:p>
      </dsp:txBody>
      <dsp:txXfrm>
        <a:off x="161359" y="862770"/>
        <a:ext cx="9018616" cy="47944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6ED298-E75A-42A5-B971-E604243F2B0B}">
      <dsp:nvSpPr>
        <dsp:cNvPr id="0" name=""/>
        <dsp:cNvSpPr/>
      </dsp:nvSpPr>
      <dsp:spPr>
        <a:xfrm>
          <a:off x="0" y="0"/>
          <a:ext cx="9101316" cy="1123537"/>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b="0" i="0" kern="1200" baseline="0"/>
            <a:t>Slip and Mar Resistance</a:t>
          </a:r>
          <a:endParaRPr lang="en-US" sz="3700" kern="1200"/>
        </a:p>
      </dsp:txBody>
      <dsp:txXfrm>
        <a:off x="32907" y="32907"/>
        <a:ext cx="7793994" cy="1057723"/>
      </dsp:txXfrm>
    </dsp:sp>
    <dsp:sp modelId="{8D1474A7-5623-4D4E-868C-13620D988655}">
      <dsp:nvSpPr>
        <dsp:cNvPr id="0" name=""/>
        <dsp:cNvSpPr/>
      </dsp:nvSpPr>
      <dsp:spPr>
        <a:xfrm>
          <a:off x="762235" y="1327816"/>
          <a:ext cx="9101316" cy="1123537"/>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b="0" i="0" kern="1200" baseline="0"/>
            <a:t>Anti-scratch Performance</a:t>
          </a:r>
          <a:endParaRPr lang="en-US" sz="3700" kern="1200"/>
        </a:p>
      </dsp:txBody>
      <dsp:txXfrm>
        <a:off x="795142" y="1360723"/>
        <a:ext cx="7542968" cy="1057723"/>
      </dsp:txXfrm>
    </dsp:sp>
    <dsp:sp modelId="{D98B38FD-3F69-4EE7-8DDF-0C1860856E0E}">
      <dsp:nvSpPr>
        <dsp:cNvPr id="0" name=""/>
        <dsp:cNvSpPr/>
      </dsp:nvSpPr>
      <dsp:spPr>
        <a:xfrm>
          <a:off x="1513093" y="2655633"/>
          <a:ext cx="9101316" cy="1123537"/>
        </a:xfrm>
        <a:prstGeom prst="roundRect">
          <a:avLst>
            <a:gd name="adj" fmla="val 10000"/>
          </a:avLst>
        </a:prstGeom>
        <a:solidFill>
          <a:srgbClr val="00B050"/>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b="0" i="0" kern="1200" baseline="0" dirty="0"/>
            <a:t>Surface Texture and Gloss Control</a:t>
          </a:r>
          <a:endParaRPr lang="en-US" sz="3700" kern="1200" dirty="0"/>
        </a:p>
      </dsp:txBody>
      <dsp:txXfrm>
        <a:off x="1546000" y="2688540"/>
        <a:ext cx="7554345" cy="1057723"/>
      </dsp:txXfrm>
    </dsp:sp>
    <dsp:sp modelId="{C628DB1F-79EC-40C5-9893-5E62042FDFF1}">
      <dsp:nvSpPr>
        <dsp:cNvPr id="0" name=""/>
        <dsp:cNvSpPr/>
      </dsp:nvSpPr>
      <dsp:spPr>
        <a:xfrm>
          <a:off x="2275329" y="3983449"/>
          <a:ext cx="9101316" cy="1123537"/>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b="0" i="0" kern="1200" baseline="0"/>
            <a:t>Low Friction Properties</a:t>
          </a:r>
          <a:endParaRPr lang="en-US" sz="3700" kern="1200"/>
        </a:p>
      </dsp:txBody>
      <dsp:txXfrm>
        <a:off x="2308236" y="4016356"/>
        <a:ext cx="7542968" cy="1057723"/>
      </dsp:txXfrm>
    </dsp:sp>
    <dsp:sp modelId="{6D97348E-1D5A-4BD1-9BD8-6FD6D5A306DC}">
      <dsp:nvSpPr>
        <dsp:cNvPr id="0" name=""/>
        <dsp:cNvSpPr/>
      </dsp:nvSpPr>
      <dsp:spPr>
        <a:xfrm>
          <a:off x="8371017" y="860527"/>
          <a:ext cx="730299" cy="730299"/>
        </a:xfrm>
        <a:prstGeom prst="downArrow">
          <a:avLst>
            <a:gd name="adj1" fmla="val 55000"/>
            <a:gd name="adj2" fmla="val 45000"/>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endParaRPr lang="en-US" sz="3500" kern="1200"/>
        </a:p>
      </dsp:txBody>
      <dsp:txXfrm>
        <a:off x="8535334" y="860527"/>
        <a:ext cx="401665" cy="549550"/>
      </dsp:txXfrm>
    </dsp:sp>
    <dsp:sp modelId="{9B5DAA3D-1E5C-42AD-84C1-433B007F243E}">
      <dsp:nvSpPr>
        <dsp:cNvPr id="0" name=""/>
        <dsp:cNvSpPr/>
      </dsp:nvSpPr>
      <dsp:spPr>
        <a:xfrm>
          <a:off x="9133252" y="2188343"/>
          <a:ext cx="730299" cy="730299"/>
        </a:xfrm>
        <a:prstGeom prst="downArrow">
          <a:avLst>
            <a:gd name="adj1" fmla="val 55000"/>
            <a:gd name="adj2" fmla="val 45000"/>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endParaRPr lang="en-US" sz="3500" kern="1200"/>
        </a:p>
      </dsp:txBody>
      <dsp:txXfrm>
        <a:off x="9297569" y="2188343"/>
        <a:ext cx="401665" cy="549550"/>
      </dsp:txXfrm>
    </dsp:sp>
    <dsp:sp modelId="{EB576238-ACFC-461E-823B-4CFF8AEDA0EC}">
      <dsp:nvSpPr>
        <dsp:cNvPr id="0" name=""/>
        <dsp:cNvSpPr/>
      </dsp:nvSpPr>
      <dsp:spPr>
        <a:xfrm>
          <a:off x="9884111" y="3516160"/>
          <a:ext cx="730299" cy="730299"/>
        </a:xfrm>
        <a:prstGeom prst="downArrow">
          <a:avLst>
            <a:gd name="adj1" fmla="val 55000"/>
            <a:gd name="adj2" fmla="val 45000"/>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endParaRPr lang="en-US" sz="3500" kern="1200"/>
        </a:p>
      </dsp:txBody>
      <dsp:txXfrm>
        <a:off x="10048428" y="3516160"/>
        <a:ext cx="401665" cy="5495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888B-439B-433D-8B78-64B7E5A2860B}">
      <dsp:nvSpPr>
        <dsp:cNvPr id="0" name=""/>
        <dsp:cNvSpPr/>
      </dsp:nvSpPr>
      <dsp:spPr>
        <a:xfrm>
          <a:off x="0" y="0"/>
          <a:ext cx="1137602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C7E7D0-F318-47C0-AA31-66106CD69CA2}">
      <dsp:nvSpPr>
        <dsp:cNvPr id="0" name=""/>
        <dsp:cNvSpPr/>
      </dsp:nvSpPr>
      <dsp:spPr>
        <a:xfrm>
          <a:off x="0" y="0"/>
          <a:ext cx="11376026" cy="1276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dirty="0"/>
            <a:t>Bio-based polymers – Cellulose derivatives – Not efficient in creating the type of effects that are viable</a:t>
          </a:r>
        </a:p>
      </dsp:txBody>
      <dsp:txXfrm>
        <a:off x="0" y="0"/>
        <a:ext cx="11376026" cy="1276581"/>
      </dsp:txXfrm>
    </dsp:sp>
    <dsp:sp modelId="{8C333AD1-8E43-4612-A8B2-6595736DBB87}">
      <dsp:nvSpPr>
        <dsp:cNvPr id="0" name=""/>
        <dsp:cNvSpPr/>
      </dsp:nvSpPr>
      <dsp:spPr>
        <a:xfrm>
          <a:off x="0" y="1276581"/>
          <a:ext cx="1137602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7CF9BE8-7545-413A-946A-7A922B2A5A43}">
      <dsp:nvSpPr>
        <dsp:cNvPr id="0" name=""/>
        <dsp:cNvSpPr/>
      </dsp:nvSpPr>
      <dsp:spPr>
        <a:xfrm>
          <a:off x="0" y="1276581"/>
          <a:ext cx="11376026" cy="1276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Wax-Based Additives – Carnuba, PE, PP waxes – Limited in performance and heat stability</a:t>
          </a:r>
        </a:p>
      </dsp:txBody>
      <dsp:txXfrm>
        <a:off x="0" y="1276581"/>
        <a:ext cx="11376026" cy="1276581"/>
      </dsp:txXfrm>
    </dsp:sp>
    <dsp:sp modelId="{FC2B86DF-A42B-4E49-878E-EE9EC847ECEB}">
      <dsp:nvSpPr>
        <dsp:cNvPr id="0" name=""/>
        <dsp:cNvSpPr/>
      </dsp:nvSpPr>
      <dsp:spPr>
        <a:xfrm>
          <a:off x="0" y="2553162"/>
          <a:ext cx="1137602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F6BFF1F-1101-4A76-A15B-46FFD2CF501A}">
      <dsp:nvSpPr>
        <dsp:cNvPr id="0" name=""/>
        <dsp:cNvSpPr/>
      </dsp:nvSpPr>
      <dsp:spPr>
        <a:xfrm>
          <a:off x="0" y="2553162"/>
          <a:ext cx="11376026" cy="1276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Ceramic &amp; Inorganics – Silica, graphite – Not very effective, some addition as high as 10%</a:t>
          </a:r>
        </a:p>
      </dsp:txBody>
      <dsp:txXfrm>
        <a:off x="0" y="2553162"/>
        <a:ext cx="11376026" cy="1276581"/>
      </dsp:txXfrm>
    </dsp:sp>
    <dsp:sp modelId="{385811D2-5F69-46EB-925B-6E7529B8A231}">
      <dsp:nvSpPr>
        <dsp:cNvPr id="0" name=""/>
        <dsp:cNvSpPr/>
      </dsp:nvSpPr>
      <dsp:spPr>
        <a:xfrm>
          <a:off x="0" y="3829743"/>
          <a:ext cx="1137602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3C63923-4530-45B9-B72E-2932132F7D2A}">
      <dsp:nvSpPr>
        <dsp:cNvPr id="0" name=""/>
        <dsp:cNvSpPr/>
      </dsp:nvSpPr>
      <dsp:spPr>
        <a:xfrm>
          <a:off x="0" y="3829743"/>
          <a:ext cx="11376026" cy="1276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dirty="0"/>
            <a:t>Clay-based additives  - Shown success in creating ACCEPTABLE sand-textures as well as good test performances</a:t>
          </a:r>
        </a:p>
      </dsp:txBody>
      <dsp:txXfrm>
        <a:off x="0" y="3829743"/>
        <a:ext cx="11376026" cy="127658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545A45-0A98-4B26-8406-91D3FCE6C0E7}">
      <dsp:nvSpPr>
        <dsp:cNvPr id="0" name=""/>
        <dsp:cNvSpPr/>
      </dsp:nvSpPr>
      <dsp:spPr>
        <a:xfrm>
          <a:off x="93532" y="643087"/>
          <a:ext cx="1491902" cy="1491902"/>
        </a:xfrm>
        <a:prstGeom prst="ellipse">
          <a:avLst/>
        </a:prstGeom>
        <a:solidFill>
          <a:schemeClr val="accent5">
            <a:lumMod val="40000"/>
            <a:lumOff val="60000"/>
          </a:schemeClr>
        </a:solidFill>
        <a:ln>
          <a:noFill/>
        </a:ln>
        <a:effectLst/>
        <a:scene3d>
          <a:camera prst="orthographicFront">
            <a:rot lat="0" lon="0" rev="0"/>
          </a:camera>
          <a:lightRig rig="contrasting" dir="t">
            <a:rot lat="0" lon="0" rev="7800000"/>
          </a:lightRig>
        </a:scene3d>
        <a:sp3d>
          <a:bevelT w="139700" h="139700"/>
        </a:sp3d>
      </dsp:spPr>
      <dsp:style>
        <a:lnRef idx="0">
          <a:scrgbClr r="0" g="0" b="0"/>
        </a:lnRef>
        <a:fillRef idx="1">
          <a:scrgbClr r="0" g="0" b="0"/>
        </a:fillRef>
        <a:effectRef idx="0">
          <a:scrgbClr r="0" g="0" b="0"/>
        </a:effectRef>
        <a:fontRef idx="minor"/>
      </dsp:style>
    </dsp:sp>
    <dsp:sp modelId="{6DAC7C75-D2EB-4825-AF03-F7BE9FF2034E}">
      <dsp:nvSpPr>
        <dsp:cNvPr id="0" name=""/>
        <dsp:cNvSpPr/>
      </dsp:nvSpPr>
      <dsp:spPr>
        <a:xfrm>
          <a:off x="367027" y="940796"/>
          <a:ext cx="865303" cy="86530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7191FBB-B64E-48B8-9D2A-28CAB32E8C6F}">
      <dsp:nvSpPr>
        <dsp:cNvPr id="0" name=""/>
        <dsp:cNvSpPr/>
      </dsp:nvSpPr>
      <dsp:spPr>
        <a:xfrm>
          <a:off x="1865323" y="627497"/>
          <a:ext cx="3516626" cy="1491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90000"/>
            </a:lnSpc>
            <a:spcBef>
              <a:spcPct val="0"/>
            </a:spcBef>
            <a:spcAft>
              <a:spcPct val="35000"/>
            </a:spcAft>
            <a:buNone/>
          </a:pPr>
          <a:r>
            <a:rPr lang="en-US" sz="2400" b="0" i="0" kern="1200" baseline="0"/>
            <a:t>Binder and Resin Considerations</a:t>
          </a:r>
          <a:endParaRPr lang="en-US" sz="2400" kern="1200"/>
        </a:p>
      </dsp:txBody>
      <dsp:txXfrm>
        <a:off x="1865323" y="627497"/>
        <a:ext cx="3516626" cy="1491902"/>
      </dsp:txXfrm>
    </dsp:sp>
    <dsp:sp modelId="{62B37C20-7419-49CB-9D00-A747C7E73B9E}">
      <dsp:nvSpPr>
        <dsp:cNvPr id="0" name=""/>
        <dsp:cNvSpPr/>
      </dsp:nvSpPr>
      <dsp:spPr>
        <a:xfrm>
          <a:off x="5994695" y="627497"/>
          <a:ext cx="1491902" cy="1491902"/>
        </a:xfrm>
        <a:prstGeom prst="ellipse">
          <a:avLst/>
        </a:prstGeom>
        <a:solidFill>
          <a:schemeClr val="accent1">
            <a:lumMod val="75000"/>
          </a:schemeClr>
        </a:solidFill>
        <a:ln>
          <a:noFill/>
        </a:ln>
        <a:effectLst/>
        <a:scene3d>
          <a:camera prst="orthographicFront">
            <a:rot lat="0" lon="0" rev="0"/>
          </a:camera>
          <a:lightRig rig="chilly" dir="t">
            <a:rot lat="0" lon="0" rev="18480000"/>
          </a:lightRig>
        </a:scene3d>
        <a:sp3d prstMaterial="clear">
          <a:bevelT h="63500"/>
        </a:sp3d>
      </dsp:spPr>
      <dsp:style>
        <a:lnRef idx="0">
          <a:scrgbClr r="0" g="0" b="0"/>
        </a:lnRef>
        <a:fillRef idx="1">
          <a:scrgbClr r="0" g="0" b="0"/>
        </a:fillRef>
        <a:effectRef idx="0">
          <a:scrgbClr r="0" g="0" b="0"/>
        </a:effectRef>
        <a:fontRef idx="minor"/>
      </dsp:style>
    </dsp:sp>
    <dsp:sp modelId="{569AAA96-1930-4A3C-AAAB-0F0FB2F8FB4F}">
      <dsp:nvSpPr>
        <dsp:cNvPr id="0" name=""/>
        <dsp:cNvSpPr/>
      </dsp:nvSpPr>
      <dsp:spPr>
        <a:xfrm>
          <a:off x="6307995" y="940796"/>
          <a:ext cx="865303" cy="86530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1950783-A2E2-48AD-9E54-F51340413CE9}">
      <dsp:nvSpPr>
        <dsp:cNvPr id="0" name=""/>
        <dsp:cNvSpPr/>
      </dsp:nvSpPr>
      <dsp:spPr>
        <a:xfrm>
          <a:off x="7806291" y="627497"/>
          <a:ext cx="3516626" cy="1491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90000"/>
            </a:lnSpc>
            <a:spcBef>
              <a:spcPct val="0"/>
            </a:spcBef>
            <a:spcAft>
              <a:spcPct val="35000"/>
            </a:spcAft>
            <a:buNone/>
          </a:pPr>
          <a:r>
            <a:rPr lang="en-US" sz="2400" b="0" i="0" kern="1200" baseline="0"/>
            <a:t>Additive Synergies</a:t>
          </a:r>
          <a:endParaRPr lang="en-US" sz="2400" kern="1200"/>
        </a:p>
      </dsp:txBody>
      <dsp:txXfrm>
        <a:off x="7806291" y="627497"/>
        <a:ext cx="3516626" cy="1491902"/>
      </dsp:txXfrm>
    </dsp:sp>
    <dsp:sp modelId="{FE49109B-AA56-4107-A6FF-41D03F620FD0}">
      <dsp:nvSpPr>
        <dsp:cNvPr id="0" name=""/>
        <dsp:cNvSpPr/>
      </dsp:nvSpPr>
      <dsp:spPr>
        <a:xfrm>
          <a:off x="53728" y="2987587"/>
          <a:ext cx="1491902" cy="1491902"/>
        </a:xfrm>
        <a:prstGeom prst="ellipse">
          <a:avLst/>
        </a:prstGeom>
        <a:solidFill>
          <a:srgbClr val="7EB61C"/>
        </a:solidFill>
        <a:ln>
          <a:noFill/>
        </a:ln>
        <a:effectLst/>
        <a:scene3d>
          <a:camera prst="orthographicFront">
            <a:rot lat="0" lon="0" rev="0"/>
          </a:camera>
          <a:lightRig rig="chilly" dir="t">
            <a:rot lat="0" lon="0" rev="18480000"/>
          </a:lightRig>
        </a:scene3d>
        <a:sp3d prstMaterial="clear">
          <a:bevelT h="63500"/>
        </a:sp3d>
      </dsp:spPr>
      <dsp:style>
        <a:lnRef idx="0">
          <a:scrgbClr r="0" g="0" b="0"/>
        </a:lnRef>
        <a:fillRef idx="1">
          <a:scrgbClr r="0" g="0" b="0"/>
        </a:fillRef>
        <a:effectRef idx="0">
          <a:scrgbClr r="0" g="0" b="0"/>
        </a:effectRef>
        <a:fontRef idx="minor"/>
      </dsp:style>
    </dsp:sp>
    <dsp:sp modelId="{A704DE7B-CD2F-484A-952E-D89DD679BFE7}">
      <dsp:nvSpPr>
        <dsp:cNvPr id="0" name=""/>
        <dsp:cNvSpPr/>
      </dsp:nvSpPr>
      <dsp:spPr>
        <a:xfrm>
          <a:off x="367027" y="3300886"/>
          <a:ext cx="865303" cy="86530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60DF079-2170-4A68-862E-4060FA32798A}">
      <dsp:nvSpPr>
        <dsp:cNvPr id="0" name=""/>
        <dsp:cNvSpPr/>
      </dsp:nvSpPr>
      <dsp:spPr>
        <a:xfrm>
          <a:off x="1865323" y="2987587"/>
          <a:ext cx="3516626" cy="1491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90000"/>
            </a:lnSpc>
            <a:spcBef>
              <a:spcPct val="0"/>
            </a:spcBef>
            <a:spcAft>
              <a:spcPct val="35000"/>
            </a:spcAft>
            <a:buNone/>
          </a:pPr>
          <a:r>
            <a:rPr lang="en-US" sz="2400" b="0" i="0" kern="1200" baseline="0"/>
            <a:t>Particle Size and Dispersion Optimization</a:t>
          </a:r>
          <a:endParaRPr lang="en-US" sz="2400" kern="1200"/>
        </a:p>
      </dsp:txBody>
      <dsp:txXfrm>
        <a:off x="1865323" y="2987587"/>
        <a:ext cx="3516626" cy="1491902"/>
      </dsp:txXfrm>
    </dsp:sp>
    <dsp:sp modelId="{6355942F-9CE7-4CF1-BE6E-CE6A08B89010}">
      <dsp:nvSpPr>
        <dsp:cNvPr id="0" name=""/>
        <dsp:cNvSpPr/>
      </dsp:nvSpPr>
      <dsp:spPr>
        <a:xfrm>
          <a:off x="5994695" y="2987587"/>
          <a:ext cx="1491902" cy="1491902"/>
        </a:xfrm>
        <a:prstGeom prst="ellipse">
          <a:avLst/>
        </a:prstGeom>
        <a:solidFill>
          <a:srgbClr val="0070C0"/>
        </a:solidFill>
        <a:ln>
          <a:noFill/>
        </a:ln>
        <a:effectLst/>
        <a:scene3d>
          <a:camera prst="orthographicFront">
            <a:rot lat="0" lon="0" rev="0"/>
          </a:camera>
          <a:lightRig rig="chilly" dir="t">
            <a:rot lat="0" lon="0" rev="18480000"/>
          </a:lightRig>
        </a:scene3d>
        <a:sp3d prstMaterial="clear">
          <a:bevelT h="63500"/>
        </a:sp3d>
      </dsp:spPr>
      <dsp:style>
        <a:lnRef idx="0">
          <a:scrgbClr r="0" g="0" b="0"/>
        </a:lnRef>
        <a:fillRef idx="1">
          <a:scrgbClr r="0" g="0" b="0"/>
        </a:fillRef>
        <a:effectRef idx="0">
          <a:scrgbClr r="0" g="0" b="0"/>
        </a:effectRef>
        <a:fontRef idx="minor"/>
      </dsp:style>
    </dsp:sp>
    <dsp:sp modelId="{B0DDBDB5-70F6-4F03-A0E8-9B71B11D01E0}">
      <dsp:nvSpPr>
        <dsp:cNvPr id="0" name=""/>
        <dsp:cNvSpPr/>
      </dsp:nvSpPr>
      <dsp:spPr>
        <a:xfrm>
          <a:off x="6307995" y="3300886"/>
          <a:ext cx="865303" cy="86530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652D50F-4443-4A00-A623-239E4C6C3379}">
      <dsp:nvSpPr>
        <dsp:cNvPr id="0" name=""/>
        <dsp:cNvSpPr/>
      </dsp:nvSpPr>
      <dsp:spPr>
        <a:xfrm>
          <a:off x="7806291" y="2987587"/>
          <a:ext cx="3516626" cy="1491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90000"/>
            </a:lnSpc>
            <a:spcBef>
              <a:spcPct val="0"/>
            </a:spcBef>
            <a:spcAft>
              <a:spcPct val="35000"/>
            </a:spcAft>
            <a:buNone/>
          </a:pPr>
          <a:r>
            <a:rPr lang="en-US" sz="2400" b="0" i="0" kern="1200" baseline="0"/>
            <a:t>Surface Energy and Application Techniques</a:t>
          </a:r>
          <a:endParaRPr lang="en-US" sz="2400" kern="1200"/>
        </a:p>
      </dsp:txBody>
      <dsp:txXfrm>
        <a:off x="7806291" y="2987587"/>
        <a:ext cx="3516626" cy="149190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978987-A21E-42D0-A32A-273FC8DF4717}">
      <dsp:nvSpPr>
        <dsp:cNvPr id="0" name=""/>
        <dsp:cNvSpPr/>
      </dsp:nvSpPr>
      <dsp:spPr>
        <a:xfrm>
          <a:off x="0" y="483"/>
          <a:ext cx="11374395" cy="665320"/>
        </a:xfrm>
        <a:prstGeom prst="roundRect">
          <a:avLst>
            <a:gd name="adj" fmla="val 10000"/>
          </a:avLst>
        </a:prstGeom>
        <a:solidFill>
          <a:schemeClr val="bg1"/>
        </a:solidFill>
        <a:ln>
          <a:noFill/>
        </a:ln>
        <a:effectLst/>
        <a:scene3d>
          <a:camera prst="orthographicFront">
            <a:rot lat="0" lon="0" rev="0"/>
          </a:camera>
          <a:lightRig rig="contrasting" dir="t">
            <a:rot lat="0" lon="0" rev="7800000"/>
          </a:lightRig>
        </a:scene3d>
        <a:sp3d>
          <a:bevelT w="139700" h="139700"/>
        </a:sp3d>
      </dsp:spPr>
      <dsp:style>
        <a:lnRef idx="0">
          <a:scrgbClr r="0" g="0" b="0"/>
        </a:lnRef>
        <a:fillRef idx="1">
          <a:scrgbClr r="0" g="0" b="0"/>
        </a:fillRef>
        <a:effectRef idx="0">
          <a:scrgbClr r="0" g="0" b="0"/>
        </a:effectRef>
        <a:fontRef idx="minor"/>
      </dsp:style>
    </dsp:sp>
    <dsp:sp modelId="{B43BBFFB-802B-4265-B105-6B27D41A0492}">
      <dsp:nvSpPr>
        <dsp:cNvPr id="0" name=""/>
        <dsp:cNvSpPr/>
      </dsp:nvSpPr>
      <dsp:spPr>
        <a:xfrm>
          <a:off x="201259" y="150180"/>
          <a:ext cx="365926" cy="36592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B1D68BE-24C8-4356-963E-7C6536B28020}">
      <dsp:nvSpPr>
        <dsp:cNvPr id="0" name=""/>
        <dsp:cNvSpPr/>
      </dsp:nvSpPr>
      <dsp:spPr>
        <a:xfrm>
          <a:off x="768444" y="483"/>
          <a:ext cx="10605950" cy="665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413" tIns="70413" rIns="70413" bIns="70413" numCol="1" spcCol="1270" anchor="ctr" anchorCtr="0">
          <a:noAutofit/>
        </a:bodyPr>
        <a:lstStyle/>
        <a:p>
          <a:pPr marL="0" lvl="0" indent="0" algn="l" defTabSz="800100">
            <a:lnSpc>
              <a:spcPct val="100000"/>
            </a:lnSpc>
            <a:spcBef>
              <a:spcPct val="0"/>
            </a:spcBef>
            <a:spcAft>
              <a:spcPct val="35000"/>
            </a:spcAft>
            <a:buNone/>
          </a:pPr>
          <a:r>
            <a:rPr lang="en-US" sz="1800" kern="1200" dirty="0"/>
            <a:t>Through careful evaluation, we contend that clay-based additives can, in fact, give similar textures.</a:t>
          </a:r>
        </a:p>
      </dsp:txBody>
      <dsp:txXfrm>
        <a:off x="768444" y="483"/>
        <a:ext cx="10605950" cy="665320"/>
      </dsp:txXfrm>
    </dsp:sp>
    <dsp:sp modelId="{6CB60DB9-7FEA-483F-8281-8CB2106DA633}">
      <dsp:nvSpPr>
        <dsp:cNvPr id="0" name=""/>
        <dsp:cNvSpPr/>
      </dsp:nvSpPr>
      <dsp:spPr>
        <a:xfrm>
          <a:off x="0" y="832133"/>
          <a:ext cx="11374395" cy="665320"/>
        </a:xfrm>
        <a:prstGeom prst="roundRect">
          <a:avLst>
            <a:gd name="adj" fmla="val 10000"/>
          </a:avLst>
        </a:prstGeom>
        <a:solidFill>
          <a:schemeClr val="bg2">
            <a:lumMod val="20000"/>
            <a:lumOff val="80000"/>
          </a:schemeClr>
        </a:solidFill>
        <a:ln>
          <a:no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1">
          <a:scrgbClr r="0" g="0" b="0"/>
        </a:fillRef>
        <a:effectRef idx="0">
          <a:scrgbClr r="0" g="0" b="0"/>
        </a:effectRef>
        <a:fontRef idx="minor"/>
      </dsp:style>
    </dsp:sp>
    <dsp:sp modelId="{C8AB8ABE-81F2-4986-B621-C3DF06F9CEB4}">
      <dsp:nvSpPr>
        <dsp:cNvPr id="0" name=""/>
        <dsp:cNvSpPr/>
      </dsp:nvSpPr>
      <dsp:spPr>
        <a:xfrm>
          <a:off x="201259" y="981830"/>
          <a:ext cx="365926" cy="36592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9F0DB0D-3017-4783-AFC4-19A0D474FAC3}">
      <dsp:nvSpPr>
        <dsp:cNvPr id="0" name=""/>
        <dsp:cNvSpPr/>
      </dsp:nvSpPr>
      <dsp:spPr>
        <a:xfrm>
          <a:off x="768444" y="832133"/>
          <a:ext cx="10605950" cy="665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413" tIns="70413" rIns="70413" bIns="70413" numCol="1" spcCol="1270" anchor="ctr" anchorCtr="0">
          <a:noAutofit/>
        </a:bodyPr>
        <a:lstStyle/>
        <a:p>
          <a:pPr marL="0" lvl="0" indent="0" algn="l" defTabSz="711200">
            <a:lnSpc>
              <a:spcPct val="100000"/>
            </a:lnSpc>
            <a:spcBef>
              <a:spcPct val="0"/>
            </a:spcBef>
            <a:spcAft>
              <a:spcPct val="35000"/>
            </a:spcAft>
            <a:buNone/>
          </a:pPr>
          <a:r>
            <a:rPr lang="en-US" sz="1600" kern="1200" dirty="0"/>
            <a:t>Formulators must recognize:</a:t>
          </a:r>
        </a:p>
      </dsp:txBody>
      <dsp:txXfrm>
        <a:off x="768444" y="832133"/>
        <a:ext cx="10605950" cy="665320"/>
      </dsp:txXfrm>
    </dsp:sp>
    <dsp:sp modelId="{924DF163-9AD4-48B5-B3B2-A1D6168F7328}">
      <dsp:nvSpPr>
        <dsp:cNvPr id="0" name=""/>
        <dsp:cNvSpPr/>
      </dsp:nvSpPr>
      <dsp:spPr>
        <a:xfrm>
          <a:off x="0" y="1663783"/>
          <a:ext cx="11374395" cy="6653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D31E72-957A-44A9-BC25-8A60660F6DE4}">
      <dsp:nvSpPr>
        <dsp:cNvPr id="0" name=""/>
        <dsp:cNvSpPr/>
      </dsp:nvSpPr>
      <dsp:spPr>
        <a:xfrm>
          <a:off x="201259" y="1813480"/>
          <a:ext cx="365926" cy="36592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E5A9B64-EAC6-464F-80A0-4DF9F42292C1}">
      <dsp:nvSpPr>
        <dsp:cNvPr id="0" name=""/>
        <dsp:cNvSpPr/>
      </dsp:nvSpPr>
      <dsp:spPr>
        <a:xfrm>
          <a:off x="768444" y="1663783"/>
          <a:ext cx="10605950" cy="665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413" tIns="70413" rIns="70413" bIns="70413" numCol="1" spcCol="1270" anchor="ctr" anchorCtr="0">
          <a:noAutofit/>
        </a:bodyPr>
        <a:lstStyle/>
        <a:p>
          <a:pPr marL="0" lvl="0" indent="0" algn="l" defTabSz="711200">
            <a:lnSpc>
              <a:spcPct val="100000"/>
            </a:lnSpc>
            <a:spcBef>
              <a:spcPct val="0"/>
            </a:spcBef>
            <a:spcAft>
              <a:spcPct val="35000"/>
            </a:spcAft>
            <a:buNone/>
          </a:pPr>
          <a:r>
            <a:rPr lang="en-US" sz="1600" kern="1200" dirty="0"/>
            <a:t>The potential/inherent challenges especially with super-durable formulations </a:t>
          </a:r>
        </a:p>
      </dsp:txBody>
      <dsp:txXfrm>
        <a:off x="768444" y="1663783"/>
        <a:ext cx="10605950" cy="665320"/>
      </dsp:txXfrm>
    </dsp:sp>
    <dsp:sp modelId="{71CABBD5-8FC7-4362-B644-2BE899B6A08E}">
      <dsp:nvSpPr>
        <dsp:cNvPr id="0" name=""/>
        <dsp:cNvSpPr/>
      </dsp:nvSpPr>
      <dsp:spPr>
        <a:xfrm>
          <a:off x="0" y="2495433"/>
          <a:ext cx="11374395" cy="6653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FBC1ED1-4CF7-4436-8FF5-9E7987AC60DD}">
      <dsp:nvSpPr>
        <dsp:cNvPr id="0" name=""/>
        <dsp:cNvSpPr/>
      </dsp:nvSpPr>
      <dsp:spPr>
        <a:xfrm>
          <a:off x="201259" y="2645130"/>
          <a:ext cx="365926" cy="36592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94A64EF-04DD-41B2-96F3-CFC7839F62CC}">
      <dsp:nvSpPr>
        <dsp:cNvPr id="0" name=""/>
        <dsp:cNvSpPr/>
      </dsp:nvSpPr>
      <dsp:spPr>
        <a:xfrm>
          <a:off x="768444" y="2495433"/>
          <a:ext cx="10605950" cy="665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413" tIns="70413" rIns="70413" bIns="70413" numCol="1" spcCol="1270" anchor="ctr" anchorCtr="0">
          <a:noAutofit/>
        </a:bodyPr>
        <a:lstStyle/>
        <a:p>
          <a:pPr marL="0" lvl="0" indent="0" algn="l" defTabSz="711200">
            <a:lnSpc>
              <a:spcPct val="100000"/>
            </a:lnSpc>
            <a:spcBef>
              <a:spcPct val="0"/>
            </a:spcBef>
            <a:spcAft>
              <a:spcPct val="35000"/>
            </a:spcAft>
            <a:buNone/>
          </a:pPr>
          <a:r>
            <a:rPr lang="en-US" sz="1600" kern="1200" dirty="0"/>
            <a:t>How to best optimized the binder ratios with different clay-based additives to give the desired textures</a:t>
          </a:r>
        </a:p>
      </dsp:txBody>
      <dsp:txXfrm>
        <a:off x="768444" y="2495433"/>
        <a:ext cx="10605950" cy="665320"/>
      </dsp:txXfrm>
    </dsp:sp>
    <dsp:sp modelId="{91D40386-459D-4B46-A732-57244C3D28A8}">
      <dsp:nvSpPr>
        <dsp:cNvPr id="0" name=""/>
        <dsp:cNvSpPr/>
      </dsp:nvSpPr>
      <dsp:spPr>
        <a:xfrm>
          <a:off x="0" y="3327084"/>
          <a:ext cx="11374395" cy="6653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013A078-257E-4F26-BA2E-DC0F90BBF499}">
      <dsp:nvSpPr>
        <dsp:cNvPr id="0" name=""/>
        <dsp:cNvSpPr/>
      </dsp:nvSpPr>
      <dsp:spPr>
        <a:xfrm>
          <a:off x="201259" y="3476781"/>
          <a:ext cx="365926" cy="36592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F40FBEF-00A5-4CF3-88D8-4772294632F8}">
      <dsp:nvSpPr>
        <dsp:cNvPr id="0" name=""/>
        <dsp:cNvSpPr/>
      </dsp:nvSpPr>
      <dsp:spPr>
        <a:xfrm>
          <a:off x="768444" y="3327084"/>
          <a:ext cx="10605950" cy="665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413" tIns="70413" rIns="70413" bIns="70413" numCol="1" spcCol="1270" anchor="ctr" anchorCtr="0">
          <a:noAutofit/>
        </a:bodyPr>
        <a:lstStyle/>
        <a:p>
          <a:pPr marL="0" lvl="0" indent="0" algn="l" defTabSz="711200">
            <a:lnSpc>
              <a:spcPct val="100000"/>
            </a:lnSpc>
            <a:spcBef>
              <a:spcPct val="0"/>
            </a:spcBef>
            <a:spcAft>
              <a:spcPct val="35000"/>
            </a:spcAft>
            <a:buNone/>
          </a:pPr>
          <a:r>
            <a:rPr lang="en-US" sz="1600" kern="1200" dirty="0"/>
            <a:t>The need for synergistic fillers to lower gloss or resin systems are important</a:t>
          </a:r>
        </a:p>
      </dsp:txBody>
      <dsp:txXfrm>
        <a:off x="768444" y="3327084"/>
        <a:ext cx="10605950" cy="665320"/>
      </dsp:txXfrm>
    </dsp:sp>
    <dsp:sp modelId="{5D1DD09E-FFD6-4CE9-9FBC-334F7E1DC8EB}">
      <dsp:nvSpPr>
        <dsp:cNvPr id="0" name=""/>
        <dsp:cNvSpPr/>
      </dsp:nvSpPr>
      <dsp:spPr>
        <a:xfrm>
          <a:off x="0" y="4158734"/>
          <a:ext cx="11374395" cy="6653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EBCA27-BDEB-4BF2-AD2F-F569A1DC4AB4}">
      <dsp:nvSpPr>
        <dsp:cNvPr id="0" name=""/>
        <dsp:cNvSpPr/>
      </dsp:nvSpPr>
      <dsp:spPr>
        <a:xfrm>
          <a:off x="201259" y="4308431"/>
          <a:ext cx="365926" cy="36592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E45993A-7867-4EEE-BCD9-AC3F3330F656}">
      <dsp:nvSpPr>
        <dsp:cNvPr id="0" name=""/>
        <dsp:cNvSpPr/>
      </dsp:nvSpPr>
      <dsp:spPr>
        <a:xfrm>
          <a:off x="768444" y="4158734"/>
          <a:ext cx="10605950" cy="665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413" tIns="70413" rIns="70413" bIns="70413" numCol="1" spcCol="1270" anchor="ctr" anchorCtr="0">
          <a:noAutofit/>
        </a:bodyPr>
        <a:lstStyle/>
        <a:p>
          <a:pPr marL="0" lvl="0" indent="0" algn="l" defTabSz="711200">
            <a:lnSpc>
              <a:spcPct val="100000"/>
            </a:lnSpc>
            <a:spcBef>
              <a:spcPct val="0"/>
            </a:spcBef>
            <a:spcAft>
              <a:spcPct val="35000"/>
            </a:spcAft>
            <a:buNone/>
          </a:pPr>
          <a:r>
            <a:rPr lang="en-US" sz="1600" kern="1200" dirty="0"/>
            <a:t>The threshold for an exact PTFE Vs PTFE-free performance must be carefully evaluated and calibrated </a:t>
          </a:r>
        </a:p>
      </dsp:txBody>
      <dsp:txXfrm>
        <a:off x="768444" y="4158734"/>
        <a:ext cx="10605950" cy="665320"/>
      </dsp:txXfrm>
    </dsp:sp>
    <dsp:sp modelId="{100A63DA-0EEA-42F6-A2DF-DEF6DB14FC45}">
      <dsp:nvSpPr>
        <dsp:cNvPr id="0" name=""/>
        <dsp:cNvSpPr/>
      </dsp:nvSpPr>
      <dsp:spPr>
        <a:xfrm>
          <a:off x="0" y="4990384"/>
          <a:ext cx="11374395" cy="6653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68820A-F980-4695-B3CF-426DCB5E43B5}">
      <dsp:nvSpPr>
        <dsp:cNvPr id="0" name=""/>
        <dsp:cNvSpPr/>
      </dsp:nvSpPr>
      <dsp:spPr>
        <a:xfrm>
          <a:off x="201259" y="5140081"/>
          <a:ext cx="365926" cy="36592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B7411BF-7C87-4144-B0F4-A446B8CAB97F}">
      <dsp:nvSpPr>
        <dsp:cNvPr id="0" name=""/>
        <dsp:cNvSpPr/>
      </dsp:nvSpPr>
      <dsp:spPr>
        <a:xfrm>
          <a:off x="768444" y="4990384"/>
          <a:ext cx="10605950" cy="665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413" tIns="70413" rIns="70413" bIns="70413" numCol="1" spcCol="1270" anchor="ctr" anchorCtr="0">
          <a:noAutofit/>
        </a:bodyPr>
        <a:lstStyle/>
        <a:p>
          <a:pPr marL="0" lvl="0" indent="0" algn="l" defTabSz="711200">
            <a:lnSpc>
              <a:spcPct val="100000"/>
            </a:lnSpc>
            <a:spcBef>
              <a:spcPct val="0"/>
            </a:spcBef>
            <a:spcAft>
              <a:spcPct val="35000"/>
            </a:spcAft>
            <a:buNone/>
          </a:pPr>
          <a:r>
            <a:rPr lang="en-US" sz="1600" kern="1200" dirty="0"/>
            <a:t>We therefore conclude that a more enhanced approach to PTFE-free formulation is possible with the use of clay-based additives</a:t>
          </a:r>
        </a:p>
      </dsp:txBody>
      <dsp:txXfrm>
        <a:off x="768444" y="4990384"/>
        <a:ext cx="10605950" cy="6653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C9A0AA-916E-42E1-B4DE-D9CE31F4968C}">
      <dsp:nvSpPr>
        <dsp:cNvPr id="0" name=""/>
        <dsp:cNvSpPr/>
      </dsp:nvSpPr>
      <dsp:spPr>
        <a:xfrm>
          <a:off x="0" y="131049"/>
          <a:ext cx="11376026" cy="1482974"/>
        </a:xfrm>
        <a:prstGeom prst="roundRect">
          <a:avLst/>
        </a:prstGeom>
        <a:solidFill>
          <a:srgbClr val="004DA0"/>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effectLst/>
              <a:latin typeface="Arial" panose="020B0604020202020204" pitchFamily="34" charset="0"/>
              <a:ea typeface="SimSun" panose="02010600030101010101" pitchFamily="2" charset="-122"/>
              <a:cs typeface="Times New Roman" panose="02020603050405020304" pitchFamily="18" charset="0"/>
            </a:rPr>
            <a:t>BYK’s polymer-based slip/scratch additive </a:t>
          </a:r>
          <a:r>
            <a:rPr lang="en-US" sz="2800" kern="1200" dirty="0"/>
            <a:t>showed superior performance in terms of having the lowest coefficient of friction 0.143 </a:t>
          </a:r>
        </a:p>
      </dsp:txBody>
      <dsp:txXfrm>
        <a:off x="72393" y="203442"/>
        <a:ext cx="11231240" cy="1338188"/>
      </dsp:txXfrm>
    </dsp:sp>
    <dsp:sp modelId="{5E286FBE-E596-4EBE-A3BE-942C0B7FB855}">
      <dsp:nvSpPr>
        <dsp:cNvPr id="0" name=""/>
        <dsp:cNvSpPr/>
      </dsp:nvSpPr>
      <dsp:spPr>
        <a:xfrm>
          <a:off x="0" y="1809624"/>
          <a:ext cx="11376026" cy="1482974"/>
        </a:xfrm>
        <a:prstGeom prst="roundRect">
          <a:avLst/>
        </a:prstGeom>
        <a:solidFill>
          <a:schemeClr val="accent1"/>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Pencil scratch test, of 6H </a:t>
          </a:r>
        </a:p>
      </dsp:txBody>
      <dsp:txXfrm>
        <a:off x="72393" y="1882017"/>
        <a:ext cx="11231240" cy="1338188"/>
      </dsp:txXfrm>
    </dsp:sp>
    <dsp:sp modelId="{FCDB5356-6B8D-495A-A108-02A8D4F15A0C}">
      <dsp:nvSpPr>
        <dsp:cNvPr id="0" name=""/>
        <dsp:cNvSpPr/>
      </dsp:nvSpPr>
      <dsp:spPr>
        <a:xfrm>
          <a:off x="0" y="3479799"/>
          <a:ext cx="11376026" cy="1482974"/>
        </a:xfrm>
        <a:prstGeom prst="roundRect">
          <a:avLst/>
        </a:prstGeom>
        <a:solidFill>
          <a:schemeClr val="accent5"/>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effectLst/>
              <a:latin typeface="Arial" panose="020B0604020202020204" pitchFamily="34" charset="0"/>
              <a:ea typeface="SimSun" panose="02010600030101010101" pitchFamily="2" charset="-122"/>
              <a:cs typeface="Times New Roman" panose="02020603050405020304" pitchFamily="18" charset="0"/>
            </a:rPr>
            <a:t>BYK’s polymer-based slip/scratch additive </a:t>
          </a:r>
          <a:r>
            <a:rPr lang="en-US" sz="2800" kern="1200" dirty="0"/>
            <a:t>showed superior performance for scratch and slip properties in a Polyester TGIC-free system.</a:t>
          </a:r>
        </a:p>
      </dsp:txBody>
      <dsp:txXfrm>
        <a:off x="72393" y="3552192"/>
        <a:ext cx="11231240" cy="1338188"/>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3037840"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lvl1pPr>
          </a:lstStyle>
          <a:p>
            <a:endParaRPr lang="de-DE"/>
          </a:p>
        </p:txBody>
      </p:sp>
      <p:sp>
        <p:nvSpPr>
          <p:cNvPr id="11267" name="Rectangle 3"/>
          <p:cNvSpPr>
            <a:spLocks noGrp="1" noChangeArrowheads="1"/>
          </p:cNvSpPr>
          <p:nvPr>
            <p:ph type="dt" sz="quarter" idx="1"/>
          </p:nvPr>
        </p:nvSpPr>
        <p:spPr bwMode="auto">
          <a:xfrm>
            <a:off x="3970938" y="0"/>
            <a:ext cx="3037840"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de-DE"/>
          </a:p>
        </p:txBody>
      </p:sp>
      <p:sp>
        <p:nvSpPr>
          <p:cNvPr id="11268" name="Rectangle 4"/>
          <p:cNvSpPr>
            <a:spLocks noGrp="1" noChangeArrowheads="1"/>
          </p:cNvSpPr>
          <p:nvPr>
            <p:ph type="ftr" sz="quarter" idx="2"/>
          </p:nvPr>
        </p:nvSpPr>
        <p:spPr bwMode="auto">
          <a:xfrm>
            <a:off x="0" y="8829966"/>
            <a:ext cx="3037840"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lvl1pPr>
          </a:lstStyle>
          <a:p>
            <a:endParaRPr lang="de-DE"/>
          </a:p>
        </p:txBody>
      </p:sp>
      <p:sp>
        <p:nvSpPr>
          <p:cNvPr id="11269" name="Rectangle 5"/>
          <p:cNvSpPr>
            <a:spLocks noGrp="1" noChangeArrowheads="1"/>
          </p:cNvSpPr>
          <p:nvPr>
            <p:ph type="sldNum" sz="quarter" idx="3"/>
          </p:nvPr>
        </p:nvSpPr>
        <p:spPr bwMode="auto">
          <a:xfrm>
            <a:off x="3970938" y="8829966"/>
            <a:ext cx="3037840"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8F2A0847-3F3A-48F5-BD27-25163E677C37}" type="slidenum">
              <a:rPr lang="de-DE"/>
              <a:pPr/>
              <a:t>‹#›</a:t>
            </a:fld>
            <a:endParaRPr lang="de-DE"/>
          </a:p>
        </p:txBody>
      </p:sp>
    </p:spTree>
    <p:extLst>
      <p:ext uri="{BB962C8B-B14F-4D97-AF65-F5344CB8AC3E}">
        <p14:creationId xmlns:p14="http://schemas.microsoft.com/office/powerpoint/2010/main" val="21141762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840"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lvl1pPr>
          </a:lstStyle>
          <a:p>
            <a:endParaRPr lang="de-DE"/>
          </a:p>
        </p:txBody>
      </p:sp>
      <p:sp>
        <p:nvSpPr>
          <p:cNvPr id="3075" name="Rectangle 3"/>
          <p:cNvSpPr>
            <a:spLocks noGrp="1" noChangeArrowheads="1"/>
          </p:cNvSpPr>
          <p:nvPr>
            <p:ph type="dt" idx="1"/>
          </p:nvPr>
        </p:nvSpPr>
        <p:spPr bwMode="auto">
          <a:xfrm>
            <a:off x="3970938" y="0"/>
            <a:ext cx="3037840"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de-DE"/>
          </a:p>
        </p:txBody>
      </p:sp>
      <p:sp>
        <p:nvSpPr>
          <p:cNvPr id="3076" name="Rectangle 4"/>
          <p:cNvSpPr>
            <a:spLocks noGrp="1" noRot="1" noChangeAspect="1" noChangeArrowheads="1" noTextEdit="1"/>
          </p:cNvSpPr>
          <p:nvPr>
            <p:ph type="sldImg" idx="2"/>
          </p:nvPr>
        </p:nvSpPr>
        <p:spPr bwMode="auto">
          <a:xfrm>
            <a:off x="406400" y="696913"/>
            <a:ext cx="6197600"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gray">
          <a:xfrm>
            <a:off x="701041" y="4415790"/>
            <a:ext cx="5608320" cy="4183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25200" rIns="0" bIns="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3078" name="Rectangle 6"/>
          <p:cNvSpPr>
            <a:spLocks noGrp="1" noChangeArrowheads="1"/>
          </p:cNvSpPr>
          <p:nvPr>
            <p:ph type="ftr" sz="quarter" idx="4"/>
          </p:nvPr>
        </p:nvSpPr>
        <p:spPr bwMode="auto">
          <a:xfrm>
            <a:off x="0" y="8829966"/>
            <a:ext cx="3037840"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lvl1pPr>
          </a:lstStyle>
          <a:p>
            <a:endParaRPr lang="de-DE"/>
          </a:p>
        </p:txBody>
      </p:sp>
      <p:sp>
        <p:nvSpPr>
          <p:cNvPr id="3079" name="Rectangle 7"/>
          <p:cNvSpPr>
            <a:spLocks noGrp="1" noChangeArrowheads="1"/>
          </p:cNvSpPr>
          <p:nvPr>
            <p:ph type="sldNum" sz="quarter" idx="5"/>
          </p:nvPr>
        </p:nvSpPr>
        <p:spPr bwMode="auto">
          <a:xfrm>
            <a:off x="3970938" y="8829966"/>
            <a:ext cx="3037840"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A6635C5A-352F-41E6-BF34-465FD9462F8E}" type="slidenum">
              <a:rPr lang="de-DE"/>
              <a:pPr/>
              <a:t>‹#›</a:t>
            </a:fld>
            <a:endParaRPr lang="de-DE"/>
          </a:p>
        </p:txBody>
      </p:sp>
    </p:spTree>
    <p:extLst>
      <p:ext uri="{BB962C8B-B14F-4D97-AF65-F5344CB8AC3E}">
        <p14:creationId xmlns:p14="http://schemas.microsoft.com/office/powerpoint/2010/main" val="152881746"/>
      </p:ext>
    </p:extLst>
  </p:cSld>
  <p:clrMap bg1="lt1" tx1="dk1" bg2="lt2" tx2="dk2" accent1="accent1" accent2="accent2" accent3="accent3" accent4="accent4" accent5="accent5" accent6="accent6" hlink="hlink" folHlink="folHlink"/>
  <p:notesStyle>
    <a:lvl1pPr algn="l" rtl="0" fontAlgn="base">
      <a:lnSpc>
        <a:spcPct val="90000"/>
      </a:lnSpc>
      <a:spcBef>
        <a:spcPct val="20000"/>
      </a:spcBef>
      <a:spcAft>
        <a:spcPct val="0"/>
      </a:spcAft>
      <a:tabLst>
        <a:tab pos="271463" algn="l"/>
      </a:tabLst>
      <a:defRPr sz="1600" kern="1200">
        <a:solidFill>
          <a:schemeClr val="tx1"/>
        </a:solidFill>
        <a:latin typeface="Arial" charset="0"/>
        <a:ea typeface="+mn-ea"/>
        <a:cs typeface="+mn-cs"/>
      </a:defRPr>
    </a:lvl1pPr>
    <a:lvl2pPr marL="271463" indent="-269875" algn="l" rtl="0" fontAlgn="base">
      <a:lnSpc>
        <a:spcPct val="90000"/>
      </a:lnSpc>
      <a:spcBef>
        <a:spcPct val="20000"/>
      </a:spcBef>
      <a:spcAft>
        <a:spcPct val="0"/>
      </a:spcAft>
      <a:buChar char="•"/>
      <a:tabLst>
        <a:tab pos="271463" algn="l"/>
      </a:tabLst>
      <a:defRPr sz="1600" kern="1200">
        <a:solidFill>
          <a:schemeClr val="tx1"/>
        </a:solidFill>
        <a:latin typeface="Arial" charset="0"/>
        <a:ea typeface="+mn-ea"/>
        <a:cs typeface="+mn-cs"/>
      </a:defRPr>
    </a:lvl2pPr>
    <a:lvl3pPr marL="533400" indent="-260350" algn="l" rtl="0" fontAlgn="base">
      <a:lnSpc>
        <a:spcPct val="90000"/>
      </a:lnSpc>
      <a:spcBef>
        <a:spcPct val="20000"/>
      </a:spcBef>
      <a:spcAft>
        <a:spcPct val="0"/>
      </a:spcAft>
      <a:buChar char="•"/>
      <a:tabLst>
        <a:tab pos="271463" algn="l"/>
      </a:tabLst>
      <a:defRPr sz="1600" kern="1200">
        <a:solidFill>
          <a:schemeClr val="tx1"/>
        </a:solidFill>
        <a:latin typeface="Arial" charset="0"/>
        <a:ea typeface="+mn-ea"/>
        <a:cs typeface="+mn-cs"/>
      </a:defRPr>
    </a:lvl3pPr>
    <a:lvl4pPr marL="804863" indent="-269875" algn="l" rtl="0" fontAlgn="base">
      <a:lnSpc>
        <a:spcPct val="90000"/>
      </a:lnSpc>
      <a:spcBef>
        <a:spcPct val="20000"/>
      </a:spcBef>
      <a:spcAft>
        <a:spcPct val="0"/>
      </a:spcAft>
      <a:buChar char="•"/>
      <a:tabLst>
        <a:tab pos="271463" algn="l"/>
      </a:tabLst>
      <a:defRPr sz="1600" kern="1200">
        <a:solidFill>
          <a:schemeClr val="tx1"/>
        </a:solidFill>
        <a:latin typeface="Arial" charset="0"/>
        <a:ea typeface="+mn-ea"/>
        <a:cs typeface="+mn-cs"/>
      </a:defRPr>
    </a:lvl4pPr>
    <a:lvl5pPr marL="984250" indent="-177800" algn="l" rtl="0" fontAlgn="base">
      <a:lnSpc>
        <a:spcPct val="90000"/>
      </a:lnSpc>
      <a:spcBef>
        <a:spcPct val="20000"/>
      </a:spcBef>
      <a:spcAft>
        <a:spcPct val="0"/>
      </a:spcAft>
      <a:buChar char="•"/>
      <a:tabLst>
        <a:tab pos="271463" algn="l"/>
      </a:tabLst>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F6381-C667-4F32-0839-AE1CB5900345}"/>
            </a:ext>
          </a:extLst>
        </p:cNvPr>
        <p:cNvGrpSpPr/>
        <p:nvPr/>
      </p:nvGrpSpPr>
      <p:grpSpPr>
        <a:xfrm>
          <a:off x="0" y="0"/>
          <a:ext cx="0" cy="0"/>
          <a:chOff x="0" y="0"/>
          <a:chExt cx="0" cy="0"/>
        </a:xfrm>
      </p:grpSpPr>
      <p:sp>
        <p:nvSpPr>
          <p:cNvPr id="7" name="Rectangle 7">
            <a:extLst>
              <a:ext uri="{FF2B5EF4-FFF2-40B4-BE49-F238E27FC236}">
                <a16:creationId xmlns:a16="http://schemas.microsoft.com/office/drawing/2014/main" id="{BACDC555-FED7-E378-9FC5-8B36D132E904}"/>
              </a:ext>
            </a:extLst>
          </p:cNvPr>
          <p:cNvSpPr>
            <a:spLocks noGrp="1" noChangeArrowheads="1"/>
          </p:cNvSpPr>
          <p:nvPr>
            <p:ph type="sldNum" sz="quarter" idx="5"/>
          </p:nvPr>
        </p:nvSpPr>
        <p:spPr>
          <a:ln/>
        </p:spPr>
        <p:txBody>
          <a:bodyPr/>
          <a:lstStyle/>
          <a:p>
            <a:fld id="{12582C20-260B-43C4-A1EA-C1DAE82405BA}" type="slidenum">
              <a:rPr lang="en-US" smtClean="0"/>
              <a:pPr/>
              <a:t>8</a:t>
            </a:fld>
            <a:endParaRPr lang="en-US"/>
          </a:p>
        </p:txBody>
      </p:sp>
      <p:sp>
        <p:nvSpPr>
          <p:cNvPr id="58370" name="Rectangle 2">
            <a:extLst>
              <a:ext uri="{FF2B5EF4-FFF2-40B4-BE49-F238E27FC236}">
                <a16:creationId xmlns:a16="http://schemas.microsoft.com/office/drawing/2014/main" id="{00BF03EA-CBE9-B848-CA48-D6065365A328}"/>
              </a:ext>
            </a:extLst>
          </p:cNvPr>
          <p:cNvSpPr>
            <a:spLocks noGrp="1" noRot="1" noChangeAspect="1" noChangeArrowheads="1" noTextEdit="1"/>
          </p:cNvSpPr>
          <p:nvPr>
            <p:ph type="sldImg"/>
          </p:nvPr>
        </p:nvSpPr>
        <p:spPr>
          <a:xfrm>
            <a:off x="90488" y="744538"/>
            <a:ext cx="6616700" cy="3722687"/>
          </a:xfrm>
          <a:ln/>
        </p:spPr>
      </p:sp>
      <p:sp>
        <p:nvSpPr>
          <p:cNvPr id="58371" name="Rectangle 3">
            <a:extLst>
              <a:ext uri="{FF2B5EF4-FFF2-40B4-BE49-F238E27FC236}">
                <a16:creationId xmlns:a16="http://schemas.microsoft.com/office/drawing/2014/main" id="{05213EBF-1B5E-258B-153F-27828AC893D3}"/>
              </a:ext>
            </a:extLst>
          </p:cNvPr>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58145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1CB68D-DFF8-FF32-F98F-9D9054F4A4E5}"/>
            </a:ext>
          </a:extLst>
        </p:cNvPr>
        <p:cNvGrpSpPr/>
        <p:nvPr/>
      </p:nvGrpSpPr>
      <p:grpSpPr>
        <a:xfrm>
          <a:off x="0" y="0"/>
          <a:ext cx="0" cy="0"/>
          <a:chOff x="0" y="0"/>
          <a:chExt cx="0" cy="0"/>
        </a:xfrm>
      </p:grpSpPr>
      <p:sp>
        <p:nvSpPr>
          <p:cNvPr id="7" name="Rectangle 7">
            <a:extLst>
              <a:ext uri="{FF2B5EF4-FFF2-40B4-BE49-F238E27FC236}">
                <a16:creationId xmlns:a16="http://schemas.microsoft.com/office/drawing/2014/main" id="{896B6B24-2B8A-05C4-5E2E-03BDF3DE7D84}"/>
              </a:ext>
            </a:extLst>
          </p:cNvPr>
          <p:cNvSpPr>
            <a:spLocks noGrp="1" noChangeArrowheads="1"/>
          </p:cNvSpPr>
          <p:nvPr>
            <p:ph type="sldNum" sz="quarter" idx="5"/>
          </p:nvPr>
        </p:nvSpPr>
        <p:spPr>
          <a:ln/>
        </p:spPr>
        <p:txBody>
          <a:bodyPr/>
          <a:lstStyle/>
          <a:p>
            <a:fld id="{12582C20-260B-43C4-A1EA-C1DAE82405BA}" type="slidenum">
              <a:rPr lang="en-US" smtClean="0"/>
              <a:pPr/>
              <a:t>13</a:t>
            </a:fld>
            <a:endParaRPr lang="en-US"/>
          </a:p>
        </p:txBody>
      </p:sp>
      <p:sp>
        <p:nvSpPr>
          <p:cNvPr id="58370" name="Rectangle 2">
            <a:extLst>
              <a:ext uri="{FF2B5EF4-FFF2-40B4-BE49-F238E27FC236}">
                <a16:creationId xmlns:a16="http://schemas.microsoft.com/office/drawing/2014/main" id="{0A470B68-B549-99EE-C069-CD72FA5F30EC}"/>
              </a:ext>
            </a:extLst>
          </p:cNvPr>
          <p:cNvSpPr>
            <a:spLocks noGrp="1" noRot="1" noChangeAspect="1" noChangeArrowheads="1" noTextEdit="1"/>
          </p:cNvSpPr>
          <p:nvPr>
            <p:ph type="sldImg"/>
          </p:nvPr>
        </p:nvSpPr>
        <p:spPr>
          <a:xfrm>
            <a:off x="90488" y="744538"/>
            <a:ext cx="6616700" cy="3722687"/>
          </a:xfrm>
          <a:ln/>
        </p:spPr>
      </p:sp>
      <p:sp>
        <p:nvSpPr>
          <p:cNvPr id="58371" name="Rectangle 3">
            <a:extLst>
              <a:ext uri="{FF2B5EF4-FFF2-40B4-BE49-F238E27FC236}">
                <a16:creationId xmlns:a16="http://schemas.microsoft.com/office/drawing/2014/main" id="{C0F479D6-BD53-1663-E6AE-51B44408088A}"/>
              </a:ext>
            </a:extLst>
          </p:cNvPr>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6857098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4.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B1D4CB11-33DD-4427-99E2-7A01236383A1}"/>
              </a:ext>
            </a:extLst>
          </p:cNvPr>
          <p:cNvSpPr>
            <a:spLocks noGrp="1"/>
          </p:cNvSpPr>
          <p:nvPr>
            <p:ph type="pic" sz="quarter" idx="12"/>
          </p:nvPr>
        </p:nvSpPr>
        <p:spPr bwMode="gray">
          <a:xfrm>
            <a:off x="407988" y="1"/>
            <a:ext cx="11784012" cy="6023869"/>
          </a:xfrm>
          <a:custGeom>
            <a:avLst/>
            <a:gdLst>
              <a:gd name="connsiteX0" fmla="*/ 0 w 11784012"/>
              <a:gd name="connsiteY0" fmla="*/ 0 h 6023869"/>
              <a:gd name="connsiteX1" fmla="*/ 11784012 w 11784012"/>
              <a:gd name="connsiteY1" fmla="*/ 0 h 6023869"/>
              <a:gd name="connsiteX2" fmla="*/ 11784012 w 11784012"/>
              <a:gd name="connsiteY2" fmla="*/ 6023869 h 6023869"/>
              <a:gd name="connsiteX3" fmla="*/ 431428 w 11784012"/>
              <a:gd name="connsiteY3" fmla="*/ 6023869 h 6023869"/>
              <a:gd name="connsiteX4" fmla="*/ 431428 w 11784012"/>
              <a:gd name="connsiteY4" fmla="*/ 6023867 h 6023869"/>
              <a:gd name="connsiteX5" fmla="*/ 196623 w 11784012"/>
              <a:gd name="connsiteY5" fmla="*/ 6023867 h 6023869"/>
              <a:gd name="connsiteX6" fmla="*/ 0 w 11784012"/>
              <a:gd name="connsiteY6" fmla="*/ 5827244 h 6023869"/>
              <a:gd name="connsiteX7" fmla="*/ 0 w 11784012"/>
              <a:gd name="connsiteY7" fmla="*/ 5592415 h 602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4012" h="6023869">
                <a:moveTo>
                  <a:pt x="0" y="0"/>
                </a:moveTo>
                <a:lnTo>
                  <a:pt x="11784012" y="0"/>
                </a:lnTo>
                <a:lnTo>
                  <a:pt x="11784012" y="6023869"/>
                </a:lnTo>
                <a:lnTo>
                  <a:pt x="431428" y="6023869"/>
                </a:lnTo>
                <a:lnTo>
                  <a:pt x="431428" y="6023867"/>
                </a:lnTo>
                <a:lnTo>
                  <a:pt x="196623" y="6023867"/>
                </a:lnTo>
                <a:cubicBezTo>
                  <a:pt x="88031" y="6023867"/>
                  <a:pt x="0" y="5935836"/>
                  <a:pt x="0" y="5827244"/>
                </a:cubicBezTo>
                <a:lnTo>
                  <a:pt x="0" y="5592415"/>
                </a:lnTo>
                <a:close/>
              </a:path>
            </a:pathLst>
          </a:custGeom>
          <a:solidFill>
            <a:schemeClr val="tx2"/>
          </a:solidFill>
          <a:ln>
            <a:noFill/>
          </a:ln>
          <a:effectLst/>
        </p:spPr>
        <p:txBody>
          <a:bodyPr wrap="square" tIns="0" anchor="ctr" anchorCtr="0">
            <a:noAutofit/>
          </a:bodyPr>
          <a:lstStyle>
            <a:lvl1pPr marL="0" indent="0" algn="ctr">
              <a:buNone/>
              <a:defRPr sz="1200"/>
            </a:lvl1pPr>
          </a:lstStyle>
          <a:p>
            <a:endParaRPr lang="de-DE" noProof="0" dirty="0"/>
          </a:p>
        </p:txBody>
      </p:sp>
      <p:sp>
        <p:nvSpPr>
          <p:cNvPr id="4" name="Textplatzhalter 3"/>
          <p:cNvSpPr>
            <a:spLocks noGrp="1"/>
          </p:cNvSpPr>
          <p:nvPr>
            <p:ph type="body" sz="quarter" idx="10"/>
          </p:nvPr>
        </p:nvSpPr>
        <p:spPr bwMode="gray">
          <a:xfrm>
            <a:off x="407988" y="3068960"/>
            <a:ext cx="7118454" cy="2414836"/>
          </a:xfrm>
          <a:prstGeom prst="round1Rect">
            <a:avLst>
              <a:gd name="adj" fmla="val 8916"/>
            </a:avLst>
          </a:prstGeom>
          <a:solidFill>
            <a:schemeClr val="bg1"/>
          </a:solidFill>
        </p:spPr>
        <p:txBody>
          <a:bodyPr lIns="1314000" tIns="288000"/>
          <a:lstStyle>
            <a:lvl1pPr marL="0" indent="0">
              <a:spcBef>
                <a:spcPts val="0"/>
              </a:spcBef>
              <a:spcAft>
                <a:spcPts val="1800"/>
              </a:spcAft>
              <a:buNone/>
              <a:defRPr sz="3800" b="0">
                <a:solidFill>
                  <a:schemeClr val="accent2"/>
                </a:solidFill>
              </a:defRPr>
            </a:lvl1pPr>
            <a:lvl2pPr marL="1588" indent="0">
              <a:spcBef>
                <a:spcPts val="0"/>
              </a:spcBef>
              <a:buNone/>
              <a:defRPr sz="1200" b="1" baseline="0">
                <a:solidFill>
                  <a:schemeClr val="accent1"/>
                </a:solidFill>
              </a:defRPr>
            </a:lvl2pPr>
            <a:lvl3pPr marL="0" indent="0">
              <a:spcBef>
                <a:spcPts val="0"/>
              </a:spcBef>
              <a:buNone/>
              <a:tabLst/>
              <a:defRPr sz="1200" b="0">
                <a:solidFill>
                  <a:schemeClr val="accent1"/>
                </a:solidFill>
              </a:defRPr>
            </a:lvl3pPr>
          </a:lstStyle>
          <a:p>
            <a:pPr lvl="0"/>
            <a:r>
              <a:rPr lang="de-DE" noProof="0" dirty="0"/>
              <a:t>Textmasterformat bearbeiten</a:t>
            </a:r>
          </a:p>
          <a:p>
            <a:pPr lvl="1"/>
            <a:r>
              <a:rPr lang="de-DE" noProof="0" dirty="0"/>
              <a:t>Zweite Ebene</a:t>
            </a:r>
          </a:p>
          <a:p>
            <a:pPr lvl="2"/>
            <a:r>
              <a:rPr lang="de-DE" noProof="0" dirty="0"/>
              <a:t>Dritte Ebene</a:t>
            </a:r>
          </a:p>
        </p:txBody>
      </p:sp>
      <p:sp>
        <p:nvSpPr>
          <p:cNvPr id="13326" name="Rectangle 14"/>
          <p:cNvSpPr>
            <a:spLocks noChangeArrowheads="1"/>
          </p:cNvSpPr>
          <p:nvPr userDrawn="1"/>
        </p:nvSpPr>
        <p:spPr bwMode="gray">
          <a:xfrm>
            <a:off x="0" y="3068960"/>
            <a:ext cx="407988" cy="241483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64310" tIns="32155" rIns="64310" bIns="32155" anchor="ctr"/>
          <a:lstStyle/>
          <a:p>
            <a:pPr defTabSz="642938" eaLnBrk="0" hangingPunct="0"/>
            <a:endParaRPr lang="de-DE" sz="500" noProof="0" dirty="0">
              <a:solidFill>
                <a:srgbClr val="00A5E9"/>
              </a:solidFill>
              <a:ea typeface="ヒラギノ角ゴ Pro W3" charset="-128"/>
            </a:endParaRPr>
          </a:p>
        </p:txBody>
      </p:sp>
      <p:pic>
        <p:nvPicPr>
          <p:cNvPr id="9" name="Grafik 8">
            <a:extLst>
              <a:ext uri="{FF2B5EF4-FFF2-40B4-BE49-F238E27FC236}">
                <a16:creationId xmlns:a16="http://schemas.microsoft.com/office/drawing/2014/main" id="{3CB558B8-5439-4EC9-9317-7ACD83A226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494" y="6232350"/>
            <a:ext cx="991557" cy="266400"/>
          </a:xfrm>
          <a:prstGeom prst="rect">
            <a:avLst/>
          </a:prstGeom>
        </p:spPr>
      </p:pic>
      <p:pic>
        <p:nvPicPr>
          <p:cNvPr id="10" name="Grafik 9">
            <a:extLst>
              <a:ext uri="{FF2B5EF4-FFF2-40B4-BE49-F238E27FC236}">
                <a16:creationId xmlns:a16="http://schemas.microsoft.com/office/drawing/2014/main" id="{71882FD3-5151-42EF-9490-D82516B5BBC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368" y="6353530"/>
            <a:ext cx="1620000" cy="130701"/>
          </a:xfrm>
          <a:prstGeom prst="rect">
            <a:avLst/>
          </a:prstGeom>
        </p:spPr>
      </p:pic>
    </p:spTree>
    <p:extLst>
      <p:ext uri="{BB962C8B-B14F-4D97-AF65-F5344CB8AC3E}">
        <p14:creationId xmlns:p14="http://schemas.microsoft.com/office/powerpoint/2010/main" val="29778093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ext (18p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3" name="Inhaltsplatzhalter 2"/>
          <p:cNvSpPr>
            <a:spLocks noGrp="1"/>
          </p:cNvSpPr>
          <p:nvPr>
            <p:ph idx="1"/>
          </p:nvPr>
        </p:nvSpPr>
        <p:spPr bwMode="gray">
          <a:xfrm>
            <a:off x="407368" y="1201738"/>
            <a:ext cx="11376646" cy="5106987"/>
          </a:xfrm>
        </p:spPr>
        <p:txBody>
          <a:bodyPr tIns="36000"/>
          <a:lstStyle>
            <a:lvl1pPr marL="182563" indent="-182563">
              <a:spcBef>
                <a:spcPts val="400"/>
              </a:spcBef>
              <a:tabLst>
                <a:tab pos="182563" algn="l"/>
              </a:tabLst>
              <a:defRPr sz="1800"/>
            </a:lvl1pPr>
            <a:lvl2pPr marL="358775" indent="-179388">
              <a:spcBef>
                <a:spcPts val="400"/>
              </a:spcBef>
              <a:defRPr sz="1800"/>
            </a:lvl2pPr>
            <a:lvl3pPr marL="538163" indent="-179388">
              <a:spcBef>
                <a:spcPts val="400"/>
              </a:spcBef>
              <a:defRPr sz="1800"/>
            </a:lvl3pPr>
            <a:lvl4pPr marL="717550" indent="-179388">
              <a:spcBef>
                <a:spcPts val="400"/>
              </a:spcBef>
              <a:defRPr sz="1800"/>
            </a:lvl4pPr>
            <a:lvl5pPr marL="896938" indent="-179388">
              <a:spcBef>
                <a:spcPts val="400"/>
              </a:spcBef>
              <a:defRPr sz="1800"/>
            </a:lvl5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8" name="Datumsplatzhalter 7">
            <a:extLst>
              <a:ext uri="{FF2B5EF4-FFF2-40B4-BE49-F238E27FC236}">
                <a16:creationId xmlns:a16="http://schemas.microsoft.com/office/drawing/2014/main" id="{6011C837-D561-4F34-9DF6-B23BC8AF8A92}"/>
              </a:ext>
            </a:extLst>
          </p:cNvPr>
          <p:cNvSpPr>
            <a:spLocks noGrp="1"/>
          </p:cNvSpPr>
          <p:nvPr>
            <p:ph type="dt" sz="half" idx="10"/>
          </p:nvPr>
        </p:nvSpPr>
        <p:spPr/>
        <p:txBody>
          <a:bodyPr/>
          <a:lstStyle/>
          <a:p>
            <a:r>
              <a:rPr lang="en-US"/>
              <a:t>September 2025</a:t>
            </a:r>
            <a:endParaRPr lang="de-DE" dirty="0"/>
          </a:p>
        </p:txBody>
      </p:sp>
      <p:sp>
        <p:nvSpPr>
          <p:cNvPr id="9" name="Fußzeilenplatzhalter 8">
            <a:extLst>
              <a:ext uri="{FF2B5EF4-FFF2-40B4-BE49-F238E27FC236}">
                <a16:creationId xmlns:a16="http://schemas.microsoft.com/office/drawing/2014/main" id="{D0F1EC21-E10D-46B6-BC2D-CD9A7111108D}"/>
              </a:ext>
            </a:extLst>
          </p:cNvPr>
          <p:cNvSpPr>
            <a:spLocks noGrp="1"/>
          </p:cNvSpPr>
          <p:nvPr>
            <p:ph type="ftr" sz="quarter" idx="11"/>
          </p:nvPr>
        </p:nvSpPr>
        <p:spPr/>
        <p:txBody>
          <a:bodyPr/>
          <a:lstStyle/>
          <a:p>
            <a:r>
              <a:rPr lang="en-US"/>
              <a:t>Achieving robust textures with PTFE-free additives</a:t>
            </a:r>
            <a:endParaRPr lang="de-DE" dirty="0"/>
          </a:p>
        </p:txBody>
      </p:sp>
      <p:sp>
        <p:nvSpPr>
          <p:cNvPr id="10" name="Foliennummernplatzhalter 9">
            <a:extLst>
              <a:ext uri="{FF2B5EF4-FFF2-40B4-BE49-F238E27FC236}">
                <a16:creationId xmlns:a16="http://schemas.microsoft.com/office/drawing/2014/main" id="{AED57495-551D-4AD4-B1A7-4960ABD2B20D}"/>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37313684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ext (16p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3" name="Inhaltsplatzhalter 2"/>
          <p:cNvSpPr>
            <a:spLocks noGrp="1"/>
          </p:cNvSpPr>
          <p:nvPr>
            <p:ph idx="1"/>
          </p:nvPr>
        </p:nvSpPr>
        <p:spPr bwMode="gray">
          <a:xfrm>
            <a:off x="407988" y="1206501"/>
            <a:ext cx="11376026" cy="5102224"/>
          </a:xfrm>
        </p:spPr>
        <p:txBody>
          <a:bodyPr tIns="36000"/>
          <a:lstStyle>
            <a:lvl1pPr marL="179388" indent="-179388">
              <a:spcBef>
                <a:spcPts val="400"/>
              </a:spcBef>
              <a:tabLst>
                <a:tab pos="179388" algn="l"/>
              </a:tabLst>
              <a:defRPr sz="1600"/>
            </a:lvl1pPr>
            <a:lvl2pPr marL="358775" indent="-179388">
              <a:spcBef>
                <a:spcPts val="400"/>
              </a:spcBef>
              <a:defRPr sz="1600"/>
            </a:lvl2pPr>
            <a:lvl3pPr marL="538163" indent="-179388">
              <a:spcBef>
                <a:spcPts val="400"/>
              </a:spcBef>
              <a:defRPr sz="1600"/>
            </a:lvl3pPr>
            <a:lvl4pPr marL="717550" indent="-179388">
              <a:spcBef>
                <a:spcPts val="400"/>
              </a:spcBef>
              <a:defRPr sz="1600"/>
            </a:lvl4pPr>
            <a:lvl5pPr marL="896938" indent="-179388">
              <a:spcBef>
                <a:spcPts val="400"/>
              </a:spcBef>
              <a:defRPr sz="1600"/>
            </a:lvl5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8" name="Datumsplatzhalter 7">
            <a:extLst>
              <a:ext uri="{FF2B5EF4-FFF2-40B4-BE49-F238E27FC236}">
                <a16:creationId xmlns:a16="http://schemas.microsoft.com/office/drawing/2014/main" id="{14D6E253-00D0-4439-B9F8-94D67604CF60}"/>
              </a:ext>
            </a:extLst>
          </p:cNvPr>
          <p:cNvSpPr>
            <a:spLocks noGrp="1"/>
          </p:cNvSpPr>
          <p:nvPr>
            <p:ph type="dt" sz="half" idx="10"/>
          </p:nvPr>
        </p:nvSpPr>
        <p:spPr/>
        <p:txBody>
          <a:bodyPr/>
          <a:lstStyle/>
          <a:p>
            <a:r>
              <a:rPr lang="en-US"/>
              <a:t>September 2025</a:t>
            </a:r>
            <a:endParaRPr lang="de-DE" dirty="0"/>
          </a:p>
        </p:txBody>
      </p:sp>
      <p:sp>
        <p:nvSpPr>
          <p:cNvPr id="9" name="Fußzeilenplatzhalter 8">
            <a:extLst>
              <a:ext uri="{FF2B5EF4-FFF2-40B4-BE49-F238E27FC236}">
                <a16:creationId xmlns:a16="http://schemas.microsoft.com/office/drawing/2014/main" id="{85F9234F-7AF9-4FC9-BF57-DD0683EDBCD5}"/>
              </a:ext>
            </a:extLst>
          </p:cNvPr>
          <p:cNvSpPr>
            <a:spLocks noGrp="1"/>
          </p:cNvSpPr>
          <p:nvPr>
            <p:ph type="ftr" sz="quarter" idx="11"/>
          </p:nvPr>
        </p:nvSpPr>
        <p:spPr/>
        <p:txBody>
          <a:bodyPr/>
          <a:lstStyle/>
          <a:p>
            <a:r>
              <a:rPr lang="en-US"/>
              <a:t>Achieving robust textures with PTFE-free additives</a:t>
            </a:r>
            <a:endParaRPr lang="de-DE" dirty="0"/>
          </a:p>
        </p:txBody>
      </p:sp>
      <p:sp>
        <p:nvSpPr>
          <p:cNvPr id="10" name="Foliennummernplatzhalter 9">
            <a:extLst>
              <a:ext uri="{FF2B5EF4-FFF2-40B4-BE49-F238E27FC236}">
                <a16:creationId xmlns:a16="http://schemas.microsoft.com/office/drawing/2014/main" id="{2DAEF887-F646-4B6D-BD4E-DE8A02A599DB}"/>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29625676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ext (14p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3" name="Inhaltsplatzhalter 2"/>
          <p:cNvSpPr>
            <a:spLocks noGrp="1"/>
          </p:cNvSpPr>
          <p:nvPr>
            <p:ph idx="1"/>
          </p:nvPr>
        </p:nvSpPr>
        <p:spPr bwMode="gray">
          <a:xfrm>
            <a:off x="407368" y="1207526"/>
            <a:ext cx="11376645" cy="5101200"/>
          </a:xfrm>
        </p:spPr>
        <p:txBody>
          <a:bodyPr tIns="36000"/>
          <a:lstStyle>
            <a:lvl1pPr marL="179388" indent="-179388">
              <a:spcBef>
                <a:spcPts val="400"/>
              </a:spcBef>
              <a:tabLst>
                <a:tab pos="179388" algn="l"/>
              </a:tabLst>
              <a:defRPr sz="1400"/>
            </a:lvl1pPr>
            <a:lvl2pPr marL="358775" indent="-179388">
              <a:spcBef>
                <a:spcPts val="400"/>
              </a:spcBef>
              <a:defRPr sz="1400"/>
            </a:lvl2pPr>
            <a:lvl3pPr marL="538163" indent="-179388">
              <a:spcBef>
                <a:spcPts val="400"/>
              </a:spcBef>
              <a:defRPr sz="1400"/>
            </a:lvl3pPr>
            <a:lvl4pPr marL="717550" indent="-179388">
              <a:spcBef>
                <a:spcPts val="400"/>
              </a:spcBef>
              <a:defRPr sz="1400"/>
            </a:lvl4pPr>
            <a:lvl5pPr marL="896938" indent="-179388">
              <a:spcBef>
                <a:spcPts val="400"/>
              </a:spcBef>
              <a:defRPr sz="1400"/>
            </a:lvl5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8" name="Datumsplatzhalter 7">
            <a:extLst>
              <a:ext uri="{FF2B5EF4-FFF2-40B4-BE49-F238E27FC236}">
                <a16:creationId xmlns:a16="http://schemas.microsoft.com/office/drawing/2014/main" id="{ACAB5FC3-78C2-403F-90F3-4F63814E8A21}"/>
              </a:ext>
            </a:extLst>
          </p:cNvPr>
          <p:cNvSpPr>
            <a:spLocks noGrp="1"/>
          </p:cNvSpPr>
          <p:nvPr>
            <p:ph type="dt" sz="half" idx="10"/>
          </p:nvPr>
        </p:nvSpPr>
        <p:spPr/>
        <p:txBody>
          <a:bodyPr/>
          <a:lstStyle/>
          <a:p>
            <a:r>
              <a:rPr lang="en-US"/>
              <a:t>September 2025</a:t>
            </a:r>
            <a:endParaRPr lang="de-DE" dirty="0"/>
          </a:p>
        </p:txBody>
      </p:sp>
      <p:sp>
        <p:nvSpPr>
          <p:cNvPr id="9" name="Fußzeilenplatzhalter 8">
            <a:extLst>
              <a:ext uri="{FF2B5EF4-FFF2-40B4-BE49-F238E27FC236}">
                <a16:creationId xmlns:a16="http://schemas.microsoft.com/office/drawing/2014/main" id="{3B41B787-BCFB-4D81-8996-63BE89E68105}"/>
              </a:ext>
            </a:extLst>
          </p:cNvPr>
          <p:cNvSpPr>
            <a:spLocks noGrp="1"/>
          </p:cNvSpPr>
          <p:nvPr>
            <p:ph type="ftr" sz="quarter" idx="11"/>
          </p:nvPr>
        </p:nvSpPr>
        <p:spPr/>
        <p:txBody>
          <a:bodyPr/>
          <a:lstStyle/>
          <a:p>
            <a:r>
              <a:rPr lang="en-US"/>
              <a:t>Achieving robust textures with PTFE-free additives</a:t>
            </a:r>
            <a:endParaRPr lang="de-DE" dirty="0"/>
          </a:p>
        </p:txBody>
      </p:sp>
      <p:sp>
        <p:nvSpPr>
          <p:cNvPr id="10" name="Foliennummernplatzhalter 9">
            <a:extLst>
              <a:ext uri="{FF2B5EF4-FFF2-40B4-BE49-F238E27FC236}">
                <a16:creationId xmlns:a16="http://schemas.microsoft.com/office/drawing/2014/main" id="{D6282CDC-6C8A-4F04-A6AF-AF79316A9746}"/>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25366874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whi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7" name="Datumsplatzhalter 6">
            <a:extLst>
              <a:ext uri="{FF2B5EF4-FFF2-40B4-BE49-F238E27FC236}">
                <a16:creationId xmlns:a16="http://schemas.microsoft.com/office/drawing/2014/main" id="{815A2FB1-3844-45B5-A03C-444BD7846991}"/>
              </a:ext>
            </a:extLst>
          </p:cNvPr>
          <p:cNvSpPr>
            <a:spLocks noGrp="1"/>
          </p:cNvSpPr>
          <p:nvPr>
            <p:ph type="dt" sz="half" idx="10"/>
          </p:nvPr>
        </p:nvSpPr>
        <p:spPr/>
        <p:txBody>
          <a:bodyPr/>
          <a:lstStyle/>
          <a:p>
            <a:r>
              <a:rPr lang="en-US"/>
              <a:t>September 2025</a:t>
            </a:r>
            <a:endParaRPr lang="de-DE" dirty="0"/>
          </a:p>
        </p:txBody>
      </p:sp>
      <p:sp>
        <p:nvSpPr>
          <p:cNvPr id="8" name="Fußzeilenplatzhalter 7">
            <a:extLst>
              <a:ext uri="{FF2B5EF4-FFF2-40B4-BE49-F238E27FC236}">
                <a16:creationId xmlns:a16="http://schemas.microsoft.com/office/drawing/2014/main" id="{20ABB252-6D50-4862-8848-738C1E33E050}"/>
              </a:ext>
            </a:extLst>
          </p:cNvPr>
          <p:cNvSpPr>
            <a:spLocks noGrp="1"/>
          </p:cNvSpPr>
          <p:nvPr>
            <p:ph type="ftr" sz="quarter" idx="11"/>
          </p:nvPr>
        </p:nvSpPr>
        <p:spPr/>
        <p:txBody>
          <a:bodyPr/>
          <a:lstStyle/>
          <a:p>
            <a:r>
              <a:rPr lang="en-US"/>
              <a:t>Achieving robust textures with PTFE-free additives</a:t>
            </a:r>
            <a:endParaRPr lang="de-DE" dirty="0"/>
          </a:p>
        </p:txBody>
      </p:sp>
      <p:sp>
        <p:nvSpPr>
          <p:cNvPr id="9" name="Foliennummernplatzhalter 8">
            <a:extLst>
              <a:ext uri="{FF2B5EF4-FFF2-40B4-BE49-F238E27FC236}">
                <a16:creationId xmlns:a16="http://schemas.microsoft.com/office/drawing/2014/main" id="{7347101E-461B-43DD-BA15-F42ED113E8F2}"/>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35564234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24pt, grey)">
    <p:spTree>
      <p:nvGrpSpPr>
        <p:cNvPr id="1" name=""/>
        <p:cNvGrpSpPr/>
        <p:nvPr/>
      </p:nvGrpSpPr>
      <p:grpSpPr>
        <a:xfrm>
          <a:off x="0" y="0"/>
          <a:ext cx="0" cy="0"/>
          <a:chOff x="0" y="0"/>
          <a:chExt cx="0" cy="0"/>
        </a:xfrm>
      </p:grpSpPr>
      <p:sp>
        <p:nvSpPr>
          <p:cNvPr id="21" name="Inhaltsplatzhalter 20">
            <a:extLst>
              <a:ext uri="{FF2B5EF4-FFF2-40B4-BE49-F238E27FC236}">
                <a16:creationId xmlns:a16="http://schemas.microsoft.com/office/drawing/2014/main" id="{9D6C20D1-EA2A-4F4F-9857-4D9E5F7593C1}"/>
              </a:ext>
            </a:extLst>
          </p:cNvPr>
          <p:cNvSpPr>
            <a:spLocks noGrp="1"/>
          </p:cNvSpPr>
          <p:nvPr>
            <p:ph idx="1"/>
          </p:nvPr>
        </p:nvSpPr>
        <p:spPr bwMode="gray">
          <a:xfrm>
            <a:off x="407989" y="1268413"/>
            <a:ext cx="11784011" cy="5040312"/>
          </a:xfrm>
          <a:custGeom>
            <a:avLst/>
            <a:gdLst>
              <a:gd name="connsiteX0" fmla="*/ 0 w 11784011"/>
              <a:gd name="connsiteY0" fmla="*/ 0 h 5040312"/>
              <a:gd name="connsiteX1" fmla="*/ 6696123 w 11784011"/>
              <a:gd name="connsiteY1" fmla="*/ 0 h 5040312"/>
              <a:gd name="connsiteX2" fmla="*/ 11376021 w 11784011"/>
              <a:gd name="connsiteY2" fmla="*/ 0 h 5040312"/>
              <a:gd name="connsiteX3" fmla="*/ 11784011 w 11784011"/>
              <a:gd name="connsiteY3" fmla="*/ 0 h 5040312"/>
              <a:gd name="connsiteX4" fmla="*/ 11784011 w 11784011"/>
              <a:gd name="connsiteY4" fmla="*/ 5040312 h 5040312"/>
              <a:gd name="connsiteX5" fmla="*/ 6696123 w 11784011"/>
              <a:gd name="connsiteY5" fmla="*/ 5040312 h 5040312"/>
              <a:gd name="connsiteX6" fmla="*/ 6696123 w 11784011"/>
              <a:gd name="connsiteY6" fmla="*/ 5040303 h 5040312"/>
              <a:gd name="connsiteX7" fmla="*/ 196621 w 11784011"/>
              <a:gd name="connsiteY7" fmla="*/ 5040303 h 5040312"/>
              <a:gd name="connsiteX8" fmla="*/ 15450 w 11784011"/>
              <a:gd name="connsiteY8" fmla="*/ 4920215 h 5040312"/>
              <a:gd name="connsiteX9" fmla="*/ 0 w 11784011"/>
              <a:gd name="connsiteY9" fmla="*/ 4843690 h 504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4011" h="5040312">
                <a:moveTo>
                  <a:pt x="0" y="0"/>
                </a:moveTo>
                <a:lnTo>
                  <a:pt x="6696123" y="0"/>
                </a:lnTo>
                <a:lnTo>
                  <a:pt x="11376021" y="0"/>
                </a:lnTo>
                <a:lnTo>
                  <a:pt x="11784011" y="0"/>
                </a:lnTo>
                <a:lnTo>
                  <a:pt x="11784011" y="5040312"/>
                </a:lnTo>
                <a:lnTo>
                  <a:pt x="6696123" y="5040312"/>
                </a:lnTo>
                <a:lnTo>
                  <a:pt x="6696123" y="5040303"/>
                </a:lnTo>
                <a:lnTo>
                  <a:pt x="196621" y="5040303"/>
                </a:lnTo>
                <a:cubicBezTo>
                  <a:pt x="115177" y="5040303"/>
                  <a:pt x="45299" y="4990786"/>
                  <a:pt x="15450" y="4920215"/>
                </a:cubicBezTo>
                <a:lnTo>
                  <a:pt x="0" y="4843690"/>
                </a:lnTo>
                <a:close/>
              </a:path>
            </a:pathLst>
          </a:custGeom>
          <a:solidFill>
            <a:srgbClr val="EBEBEB"/>
          </a:solidFill>
        </p:spPr>
        <p:txBody>
          <a:bodyPr wrap="square" lIns="360000" tIns="306000" rIns="406800" bIns="40680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 name="Titel 1"/>
          <p:cNvSpPr>
            <a:spLocks noGrp="1"/>
          </p:cNvSpPr>
          <p:nvPr>
            <p:ph type="title"/>
          </p:nvPr>
        </p:nvSpPr>
        <p:spPr bwMode="gray"/>
        <p:txBody>
          <a:bodyPr/>
          <a:lstStyle/>
          <a:p>
            <a:r>
              <a:rPr lang="de-DE" noProof="0" dirty="0"/>
              <a:t>Titelmasterformat durch Klicken bearbeiten</a:t>
            </a:r>
          </a:p>
        </p:txBody>
      </p:sp>
      <p:sp>
        <p:nvSpPr>
          <p:cNvPr id="9" name="Datumsplatzhalter 8">
            <a:extLst>
              <a:ext uri="{FF2B5EF4-FFF2-40B4-BE49-F238E27FC236}">
                <a16:creationId xmlns:a16="http://schemas.microsoft.com/office/drawing/2014/main" id="{9D54B39A-2532-4920-9E96-03595B855507}"/>
              </a:ext>
            </a:extLst>
          </p:cNvPr>
          <p:cNvSpPr>
            <a:spLocks noGrp="1"/>
          </p:cNvSpPr>
          <p:nvPr>
            <p:ph type="dt" sz="half" idx="10"/>
          </p:nvPr>
        </p:nvSpPr>
        <p:spPr/>
        <p:txBody>
          <a:bodyPr/>
          <a:lstStyle/>
          <a:p>
            <a:r>
              <a:rPr lang="en-US"/>
              <a:t>September 2025</a:t>
            </a:r>
            <a:endParaRPr lang="de-DE" dirty="0"/>
          </a:p>
        </p:txBody>
      </p:sp>
      <p:sp>
        <p:nvSpPr>
          <p:cNvPr id="10" name="Fußzeilenplatzhalter 9">
            <a:extLst>
              <a:ext uri="{FF2B5EF4-FFF2-40B4-BE49-F238E27FC236}">
                <a16:creationId xmlns:a16="http://schemas.microsoft.com/office/drawing/2014/main" id="{96721834-DDD2-4362-B83B-CD3812129C89}"/>
              </a:ext>
            </a:extLst>
          </p:cNvPr>
          <p:cNvSpPr>
            <a:spLocks noGrp="1"/>
          </p:cNvSpPr>
          <p:nvPr>
            <p:ph type="ftr" sz="quarter" idx="11"/>
          </p:nvPr>
        </p:nvSpPr>
        <p:spPr/>
        <p:txBody>
          <a:bodyPr/>
          <a:lstStyle/>
          <a:p>
            <a:r>
              <a:rPr lang="en-US"/>
              <a:t>Achieving robust textures with PTFE-free additives</a:t>
            </a:r>
            <a:endParaRPr lang="de-DE" dirty="0"/>
          </a:p>
        </p:txBody>
      </p:sp>
      <p:sp>
        <p:nvSpPr>
          <p:cNvPr id="11" name="Foliennummernplatzhalter 10">
            <a:extLst>
              <a:ext uri="{FF2B5EF4-FFF2-40B4-BE49-F238E27FC236}">
                <a16:creationId xmlns:a16="http://schemas.microsoft.com/office/drawing/2014/main" id="{B2AF0311-04EF-4D6F-9659-C1C83B850D77}"/>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19487552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20pt, grey)">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9" name="Datumsplatzhalter 8">
            <a:extLst>
              <a:ext uri="{FF2B5EF4-FFF2-40B4-BE49-F238E27FC236}">
                <a16:creationId xmlns:a16="http://schemas.microsoft.com/office/drawing/2014/main" id="{A298D8C3-587A-40AD-B5F3-3728FD356596}"/>
              </a:ext>
            </a:extLst>
          </p:cNvPr>
          <p:cNvSpPr>
            <a:spLocks noGrp="1"/>
          </p:cNvSpPr>
          <p:nvPr>
            <p:ph type="dt" sz="half" idx="10"/>
          </p:nvPr>
        </p:nvSpPr>
        <p:spPr/>
        <p:txBody>
          <a:bodyPr/>
          <a:lstStyle/>
          <a:p>
            <a:r>
              <a:rPr lang="en-US"/>
              <a:t>September 2025</a:t>
            </a:r>
            <a:endParaRPr lang="de-DE" dirty="0"/>
          </a:p>
        </p:txBody>
      </p:sp>
      <p:sp>
        <p:nvSpPr>
          <p:cNvPr id="10" name="Fußzeilenplatzhalter 9">
            <a:extLst>
              <a:ext uri="{FF2B5EF4-FFF2-40B4-BE49-F238E27FC236}">
                <a16:creationId xmlns:a16="http://schemas.microsoft.com/office/drawing/2014/main" id="{162F9071-80EB-49E7-9071-F74E1C284587}"/>
              </a:ext>
            </a:extLst>
          </p:cNvPr>
          <p:cNvSpPr>
            <a:spLocks noGrp="1"/>
          </p:cNvSpPr>
          <p:nvPr>
            <p:ph type="ftr" sz="quarter" idx="11"/>
          </p:nvPr>
        </p:nvSpPr>
        <p:spPr/>
        <p:txBody>
          <a:bodyPr/>
          <a:lstStyle/>
          <a:p>
            <a:r>
              <a:rPr lang="en-US"/>
              <a:t>Achieving robust textures with PTFE-free additives</a:t>
            </a:r>
            <a:endParaRPr lang="de-DE" dirty="0"/>
          </a:p>
        </p:txBody>
      </p:sp>
      <p:sp>
        <p:nvSpPr>
          <p:cNvPr id="11" name="Foliennummernplatzhalter 10">
            <a:extLst>
              <a:ext uri="{FF2B5EF4-FFF2-40B4-BE49-F238E27FC236}">
                <a16:creationId xmlns:a16="http://schemas.microsoft.com/office/drawing/2014/main" id="{27E18C1A-B047-4C2C-8EC7-D03FCF8046DD}"/>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12" name="Inhaltsplatzhalter 11">
            <a:extLst>
              <a:ext uri="{FF2B5EF4-FFF2-40B4-BE49-F238E27FC236}">
                <a16:creationId xmlns:a16="http://schemas.microsoft.com/office/drawing/2014/main" id="{2900CD28-7ED9-4894-9A49-75FEA1D41AF8}"/>
              </a:ext>
            </a:extLst>
          </p:cNvPr>
          <p:cNvSpPr>
            <a:spLocks noGrp="1"/>
          </p:cNvSpPr>
          <p:nvPr>
            <p:ph idx="1"/>
          </p:nvPr>
        </p:nvSpPr>
        <p:spPr bwMode="gray">
          <a:xfrm>
            <a:off x="407989" y="1268413"/>
            <a:ext cx="11784011" cy="5040312"/>
          </a:xfrm>
          <a:custGeom>
            <a:avLst/>
            <a:gdLst>
              <a:gd name="connsiteX0" fmla="*/ 0 w 11784011"/>
              <a:gd name="connsiteY0" fmla="*/ 0 h 5040312"/>
              <a:gd name="connsiteX1" fmla="*/ 6696123 w 11784011"/>
              <a:gd name="connsiteY1" fmla="*/ 0 h 5040312"/>
              <a:gd name="connsiteX2" fmla="*/ 11376021 w 11784011"/>
              <a:gd name="connsiteY2" fmla="*/ 0 h 5040312"/>
              <a:gd name="connsiteX3" fmla="*/ 11784011 w 11784011"/>
              <a:gd name="connsiteY3" fmla="*/ 0 h 5040312"/>
              <a:gd name="connsiteX4" fmla="*/ 11784011 w 11784011"/>
              <a:gd name="connsiteY4" fmla="*/ 5040312 h 5040312"/>
              <a:gd name="connsiteX5" fmla="*/ 6696123 w 11784011"/>
              <a:gd name="connsiteY5" fmla="*/ 5040312 h 5040312"/>
              <a:gd name="connsiteX6" fmla="*/ 6696123 w 11784011"/>
              <a:gd name="connsiteY6" fmla="*/ 5040303 h 5040312"/>
              <a:gd name="connsiteX7" fmla="*/ 196621 w 11784011"/>
              <a:gd name="connsiteY7" fmla="*/ 5040303 h 5040312"/>
              <a:gd name="connsiteX8" fmla="*/ 15450 w 11784011"/>
              <a:gd name="connsiteY8" fmla="*/ 4920215 h 5040312"/>
              <a:gd name="connsiteX9" fmla="*/ 0 w 11784011"/>
              <a:gd name="connsiteY9" fmla="*/ 4843690 h 504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4011" h="5040312">
                <a:moveTo>
                  <a:pt x="0" y="0"/>
                </a:moveTo>
                <a:lnTo>
                  <a:pt x="6696123" y="0"/>
                </a:lnTo>
                <a:lnTo>
                  <a:pt x="11376021" y="0"/>
                </a:lnTo>
                <a:lnTo>
                  <a:pt x="11784011" y="0"/>
                </a:lnTo>
                <a:lnTo>
                  <a:pt x="11784011" y="5040312"/>
                </a:lnTo>
                <a:lnTo>
                  <a:pt x="6696123" y="5040312"/>
                </a:lnTo>
                <a:lnTo>
                  <a:pt x="6696123" y="5040303"/>
                </a:lnTo>
                <a:lnTo>
                  <a:pt x="196621" y="5040303"/>
                </a:lnTo>
                <a:cubicBezTo>
                  <a:pt x="115177" y="5040303"/>
                  <a:pt x="45299" y="4990786"/>
                  <a:pt x="15450" y="4920215"/>
                </a:cubicBezTo>
                <a:lnTo>
                  <a:pt x="0" y="4843690"/>
                </a:lnTo>
                <a:close/>
              </a:path>
            </a:pathLst>
          </a:custGeom>
          <a:solidFill>
            <a:srgbClr val="EBEBEB"/>
          </a:solidFill>
        </p:spPr>
        <p:txBody>
          <a:bodyPr wrap="square" lIns="360000" tIns="320400" rIns="406800" bIns="406800">
            <a:noAutofit/>
          </a:bodyPr>
          <a:lstStyle>
            <a:lvl1pPr>
              <a:defRPr sz="2000"/>
            </a:lvl1pPr>
            <a:lvl2pPr>
              <a:defRPr sz="2000"/>
            </a:lvl2pPr>
            <a:lvl3pPr>
              <a:defRPr sz="2000"/>
            </a:lvl3pPr>
            <a:lvl4pPr>
              <a:defRPr sz="2000"/>
            </a:lvl4pPr>
            <a:lvl5pPr>
              <a:defRPr sz="2000"/>
            </a:lvl5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17879969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18pt, grey)">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9" name="Datumsplatzhalter 8">
            <a:extLst>
              <a:ext uri="{FF2B5EF4-FFF2-40B4-BE49-F238E27FC236}">
                <a16:creationId xmlns:a16="http://schemas.microsoft.com/office/drawing/2014/main" id="{73061D78-70DE-459E-91F5-2E23B54C2522}"/>
              </a:ext>
            </a:extLst>
          </p:cNvPr>
          <p:cNvSpPr>
            <a:spLocks noGrp="1"/>
          </p:cNvSpPr>
          <p:nvPr>
            <p:ph type="dt" sz="half" idx="10"/>
          </p:nvPr>
        </p:nvSpPr>
        <p:spPr/>
        <p:txBody>
          <a:bodyPr/>
          <a:lstStyle/>
          <a:p>
            <a:r>
              <a:rPr lang="en-US"/>
              <a:t>September 2025</a:t>
            </a:r>
            <a:endParaRPr lang="de-DE" dirty="0"/>
          </a:p>
        </p:txBody>
      </p:sp>
      <p:sp>
        <p:nvSpPr>
          <p:cNvPr id="10" name="Fußzeilenplatzhalter 9">
            <a:extLst>
              <a:ext uri="{FF2B5EF4-FFF2-40B4-BE49-F238E27FC236}">
                <a16:creationId xmlns:a16="http://schemas.microsoft.com/office/drawing/2014/main" id="{4FD4F347-D4D1-45DD-85DB-F058CF1081DE}"/>
              </a:ext>
            </a:extLst>
          </p:cNvPr>
          <p:cNvSpPr>
            <a:spLocks noGrp="1"/>
          </p:cNvSpPr>
          <p:nvPr>
            <p:ph type="ftr" sz="quarter" idx="11"/>
          </p:nvPr>
        </p:nvSpPr>
        <p:spPr/>
        <p:txBody>
          <a:bodyPr/>
          <a:lstStyle/>
          <a:p>
            <a:r>
              <a:rPr lang="en-US"/>
              <a:t>Achieving robust textures with PTFE-free additives</a:t>
            </a:r>
            <a:endParaRPr lang="de-DE" dirty="0"/>
          </a:p>
        </p:txBody>
      </p:sp>
      <p:sp>
        <p:nvSpPr>
          <p:cNvPr id="11" name="Foliennummernplatzhalter 10">
            <a:extLst>
              <a:ext uri="{FF2B5EF4-FFF2-40B4-BE49-F238E27FC236}">
                <a16:creationId xmlns:a16="http://schemas.microsoft.com/office/drawing/2014/main" id="{7CCE4566-0CBD-44AF-86CE-887986FA691A}"/>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12" name="Inhaltsplatzhalter 11">
            <a:extLst>
              <a:ext uri="{FF2B5EF4-FFF2-40B4-BE49-F238E27FC236}">
                <a16:creationId xmlns:a16="http://schemas.microsoft.com/office/drawing/2014/main" id="{ED288AC6-1AF5-40E1-A42F-9119B6A188B5}"/>
              </a:ext>
            </a:extLst>
          </p:cNvPr>
          <p:cNvSpPr>
            <a:spLocks noGrp="1"/>
          </p:cNvSpPr>
          <p:nvPr>
            <p:ph idx="1"/>
          </p:nvPr>
        </p:nvSpPr>
        <p:spPr bwMode="gray">
          <a:xfrm>
            <a:off x="407989" y="1268413"/>
            <a:ext cx="11784011" cy="5040312"/>
          </a:xfrm>
          <a:custGeom>
            <a:avLst/>
            <a:gdLst>
              <a:gd name="connsiteX0" fmla="*/ 0 w 11784011"/>
              <a:gd name="connsiteY0" fmla="*/ 0 h 5040312"/>
              <a:gd name="connsiteX1" fmla="*/ 6696123 w 11784011"/>
              <a:gd name="connsiteY1" fmla="*/ 0 h 5040312"/>
              <a:gd name="connsiteX2" fmla="*/ 11376021 w 11784011"/>
              <a:gd name="connsiteY2" fmla="*/ 0 h 5040312"/>
              <a:gd name="connsiteX3" fmla="*/ 11784011 w 11784011"/>
              <a:gd name="connsiteY3" fmla="*/ 0 h 5040312"/>
              <a:gd name="connsiteX4" fmla="*/ 11784011 w 11784011"/>
              <a:gd name="connsiteY4" fmla="*/ 5040312 h 5040312"/>
              <a:gd name="connsiteX5" fmla="*/ 6696123 w 11784011"/>
              <a:gd name="connsiteY5" fmla="*/ 5040312 h 5040312"/>
              <a:gd name="connsiteX6" fmla="*/ 6696123 w 11784011"/>
              <a:gd name="connsiteY6" fmla="*/ 5040303 h 5040312"/>
              <a:gd name="connsiteX7" fmla="*/ 196621 w 11784011"/>
              <a:gd name="connsiteY7" fmla="*/ 5040303 h 5040312"/>
              <a:gd name="connsiteX8" fmla="*/ 15450 w 11784011"/>
              <a:gd name="connsiteY8" fmla="*/ 4920215 h 5040312"/>
              <a:gd name="connsiteX9" fmla="*/ 0 w 11784011"/>
              <a:gd name="connsiteY9" fmla="*/ 4843690 h 504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4011" h="5040312">
                <a:moveTo>
                  <a:pt x="0" y="0"/>
                </a:moveTo>
                <a:lnTo>
                  <a:pt x="6696123" y="0"/>
                </a:lnTo>
                <a:lnTo>
                  <a:pt x="11376021" y="0"/>
                </a:lnTo>
                <a:lnTo>
                  <a:pt x="11784011" y="0"/>
                </a:lnTo>
                <a:lnTo>
                  <a:pt x="11784011" y="5040312"/>
                </a:lnTo>
                <a:lnTo>
                  <a:pt x="6696123" y="5040312"/>
                </a:lnTo>
                <a:lnTo>
                  <a:pt x="6696123" y="5040303"/>
                </a:lnTo>
                <a:lnTo>
                  <a:pt x="196621" y="5040303"/>
                </a:lnTo>
                <a:cubicBezTo>
                  <a:pt x="115177" y="5040303"/>
                  <a:pt x="45299" y="4990786"/>
                  <a:pt x="15450" y="4920215"/>
                </a:cubicBezTo>
                <a:lnTo>
                  <a:pt x="0" y="4843690"/>
                </a:lnTo>
                <a:close/>
              </a:path>
            </a:pathLst>
          </a:custGeom>
          <a:solidFill>
            <a:srgbClr val="EBEBEB"/>
          </a:solidFill>
        </p:spPr>
        <p:txBody>
          <a:bodyPr wrap="square" lIns="360000" tIns="320400" rIns="406800" bIns="406800">
            <a:noAutofit/>
          </a:bodyPr>
          <a:lstStyle>
            <a:lvl1pPr>
              <a:defRPr sz="1800"/>
            </a:lvl1pPr>
            <a:lvl2pPr>
              <a:defRPr sz="1800"/>
            </a:lvl2pPr>
            <a:lvl3pPr>
              <a:defRPr sz="1800"/>
            </a:lvl3pPr>
            <a:lvl4pPr>
              <a:defRPr sz="1800"/>
            </a:lvl4pPr>
            <a:lvl5pPr>
              <a:defRPr sz="1800"/>
            </a:lvl5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16031971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16pt, grey)">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9" name="Datumsplatzhalter 8">
            <a:extLst>
              <a:ext uri="{FF2B5EF4-FFF2-40B4-BE49-F238E27FC236}">
                <a16:creationId xmlns:a16="http://schemas.microsoft.com/office/drawing/2014/main" id="{3F1EF47C-B115-4B4E-9BC3-B6E31FF52F7E}"/>
              </a:ext>
            </a:extLst>
          </p:cNvPr>
          <p:cNvSpPr>
            <a:spLocks noGrp="1"/>
          </p:cNvSpPr>
          <p:nvPr>
            <p:ph type="dt" sz="half" idx="10"/>
          </p:nvPr>
        </p:nvSpPr>
        <p:spPr/>
        <p:txBody>
          <a:bodyPr/>
          <a:lstStyle/>
          <a:p>
            <a:r>
              <a:rPr lang="en-US"/>
              <a:t>September 2025</a:t>
            </a:r>
            <a:endParaRPr lang="de-DE" dirty="0"/>
          </a:p>
        </p:txBody>
      </p:sp>
      <p:sp>
        <p:nvSpPr>
          <p:cNvPr id="10" name="Fußzeilenplatzhalter 9">
            <a:extLst>
              <a:ext uri="{FF2B5EF4-FFF2-40B4-BE49-F238E27FC236}">
                <a16:creationId xmlns:a16="http://schemas.microsoft.com/office/drawing/2014/main" id="{907E0C27-94D6-4F50-B9CD-68ACD116B0E2}"/>
              </a:ext>
            </a:extLst>
          </p:cNvPr>
          <p:cNvSpPr>
            <a:spLocks noGrp="1"/>
          </p:cNvSpPr>
          <p:nvPr>
            <p:ph type="ftr" sz="quarter" idx="11"/>
          </p:nvPr>
        </p:nvSpPr>
        <p:spPr/>
        <p:txBody>
          <a:bodyPr/>
          <a:lstStyle/>
          <a:p>
            <a:r>
              <a:rPr lang="en-US"/>
              <a:t>Achieving robust textures with PTFE-free additives</a:t>
            </a:r>
            <a:endParaRPr lang="de-DE" dirty="0"/>
          </a:p>
        </p:txBody>
      </p:sp>
      <p:sp>
        <p:nvSpPr>
          <p:cNvPr id="11" name="Foliennummernplatzhalter 10">
            <a:extLst>
              <a:ext uri="{FF2B5EF4-FFF2-40B4-BE49-F238E27FC236}">
                <a16:creationId xmlns:a16="http://schemas.microsoft.com/office/drawing/2014/main" id="{7907FFD9-4D2E-4C9A-9F78-268BC23D4322}"/>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12" name="Inhaltsplatzhalter 11">
            <a:extLst>
              <a:ext uri="{FF2B5EF4-FFF2-40B4-BE49-F238E27FC236}">
                <a16:creationId xmlns:a16="http://schemas.microsoft.com/office/drawing/2014/main" id="{087464DC-8905-4F51-BA4D-0CEE58F58600}"/>
              </a:ext>
            </a:extLst>
          </p:cNvPr>
          <p:cNvSpPr>
            <a:spLocks noGrp="1"/>
          </p:cNvSpPr>
          <p:nvPr>
            <p:ph idx="1"/>
          </p:nvPr>
        </p:nvSpPr>
        <p:spPr bwMode="gray">
          <a:xfrm>
            <a:off x="407989" y="1268413"/>
            <a:ext cx="11784011" cy="5040312"/>
          </a:xfrm>
          <a:custGeom>
            <a:avLst/>
            <a:gdLst>
              <a:gd name="connsiteX0" fmla="*/ 0 w 11784011"/>
              <a:gd name="connsiteY0" fmla="*/ 0 h 5040312"/>
              <a:gd name="connsiteX1" fmla="*/ 6696123 w 11784011"/>
              <a:gd name="connsiteY1" fmla="*/ 0 h 5040312"/>
              <a:gd name="connsiteX2" fmla="*/ 11376021 w 11784011"/>
              <a:gd name="connsiteY2" fmla="*/ 0 h 5040312"/>
              <a:gd name="connsiteX3" fmla="*/ 11784011 w 11784011"/>
              <a:gd name="connsiteY3" fmla="*/ 0 h 5040312"/>
              <a:gd name="connsiteX4" fmla="*/ 11784011 w 11784011"/>
              <a:gd name="connsiteY4" fmla="*/ 5040312 h 5040312"/>
              <a:gd name="connsiteX5" fmla="*/ 6696123 w 11784011"/>
              <a:gd name="connsiteY5" fmla="*/ 5040312 h 5040312"/>
              <a:gd name="connsiteX6" fmla="*/ 6696123 w 11784011"/>
              <a:gd name="connsiteY6" fmla="*/ 5040303 h 5040312"/>
              <a:gd name="connsiteX7" fmla="*/ 196621 w 11784011"/>
              <a:gd name="connsiteY7" fmla="*/ 5040303 h 5040312"/>
              <a:gd name="connsiteX8" fmla="*/ 15450 w 11784011"/>
              <a:gd name="connsiteY8" fmla="*/ 4920215 h 5040312"/>
              <a:gd name="connsiteX9" fmla="*/ 0 w 11784011"/>
              <a:gd name="connsiteY9" fmla="*/ 4843690 h 504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4011" h="5040312">
                <a:moveTo>
                  <a:pt x="0" y="0"/>
                </a:moveTo>
                <a:lnTo>
                  <a:pt x="6696123" y="0"/>
                </a:lnTo>
                <a:lnTo>
                  <a:pt x="11376021" y="0"/>
                </a:lnTo>
                <a:lnTo>
                  <a:pt x="11784011" y="0"/>
                </a:lnTo>
                <a:lnTo>
                  <a:pt x="11784011" y="5040312"/>
                </a:lnTo>
                <a:lnTo>
                  <a:pt x="6696123" y="5040312"/>
                </a:lnTo>
                <a:lnTo>
                  <a:pt x="6696123" y="5040303"/>
                </a:lnTo>
                <a:lnTo>
                  <a:pt x="196621" y="5040303"/>
                </a:lnTo>
                <a:cubicBezTo>
                  <a:pt x="115177" y="5040303"/>
                  <a:pt x="45299" y="4990786"/>
                  <a:pt x="15450" y="4920215"/>
                </a:cubicBezTo>
                <a:lnTo>
                  <a:pt x="0" y="4843690"/>
                </a:lnTo>
                <a:close/>
              </a:path>
            </a:pathLst>
          </a:custGeom>
          <a:solidFill>
            <a:srgbClr val="EBEBEB"/>
          </a:solidFill>
        </p:spPr>
        <p:txBody>
          <a:bodyPr wrap="square" lIns="360000" tIns="324000" rIns="406800" bIns="406800">
            <a:noAutofit/>
          </a:bodyPr>
          <a:lstStyle>
            <a:lvl1pPr>
              <a:defRPr sz="1600"/>
            </a:lvl1pPr>
            <a:lvl2pPr>
              <a:defRPr sz="1600"/>
            </a:lvl2pPr>
            <a:lvl3pPr>
              <a:defRPr sz="1600"/>
            </a:lvl3pPr>
            <a:lvl4pPr>
              <a:defRPr sz="1600"/>
            </a:lvl4pPr>
            <a:lvl5pPr>
              <a:defRPr sz="1600"/>
            </a:lvl5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25136168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14pt, grey)">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9" name="Datumsplatzhalter 8">
            <a:extLst>
              <a:ext uri="{FF2B5EF4-FFF2-40B4-BE49-F238E27FC236}">
                <a16:creationId xmlns:a16="http://schemas.microsoft.com/office/drawing/2014/main" id="{058660B5-E867-48AF-B3DC-C8B055807B1A}"/>
              </a:ext>
            </a:extLst>
          </p:cNvPr>
          <p:cNvSpPr>
            <a:spLocks noGrp="1"/>
          </p:cNvSpPr>
          <p:nvPr>
            <p:ph type="dt" sz="half" idx="10"/>
          </p:nvPr>
        </p:nvSpPr>
        <p:spPr/>
        <p:txBody>
          <a:bodyPr/>
          <a:lstStyle/>
          <a:p>
            <a:r>
              <a:rPr lang="en-US"/>
              <a:t>September 2025</a:t>
            </a:r>
            <a:endParaRPr lang="de-DE" dirty="0"/>
          </a:p>
        </p:txBody>
      </p:sp>
      <p:sp>
        <p:nvSpPr>
          <p:cNvPr id="10" name="Fußzeilenplatzhalter 9">
            <a:extLst>
              <a:ext uri="{FF2B5EF4-FFF2-40B4-BE49-F238E27FC236}">
                <a16:creationId xmlns:a16="http://schemas.microsoft.com/office/drawing/2014/main" id="{C58F2BBD-A854-41C2-A824-EC32BC3E006D}"/>
              </a:ext>
            </a:extLst>
          </p:cNvPr>
          <p:cNvSpPr>
            <a:spLocks noGrp="1"/>
          </p:cNvSpPr>
          <p:nvPr>
            <p:ph type="ftr" sz="quarter" idx="11"/>
          </p:nvPr>
        </p:nvSpPr>
        <p:spPr/>
        <p:txBody>
          <a:bodyPr/>
          <a:lstStyle/>
          <a:p>
            <a:r>
              <a:rPr lang="en-US"/>
              <a:t>Achieving robust textures with PTFE-free additives</a:t>
            </a:r>
            <a:endParaRPr lang="de-DE" dirty="0"/>
          </a:p>
        </p:txBody>
      </p:sp>
      <p:sp>
        <p:nvSpPr>
          <p:cNvPr id="11" name="Foliennummernplatzhalter 10">
            <a:extLst>
              <a:ext uri="{FF2B5EF4-FFF2-40B4-BE49-F238E27FC236}">
                <a16:creationId xmlns:a16="http://schemas.microsoft.com/office/drawing/2014/main" id="{EECC725E-8F70-4B64-8FDC-4FC9CB14654D}"/>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12" name="Inhaltsplatzhalter 11">
            <a:extLst>
              <a:ext uri="{FF2B5EF4-FFF2-40B4-BE49-F238E27FC236}">
                <a16:creationId xmlns:a16="http://schemas.microsoft.com/office/drawing/2014/main" id="{52907658-6188-4C17-A570-2E85F8E0CEF9}"/>
              </a:ext>
            </a:extLst>
          </p:cNvPr>
          <p:cNvSpPr>
            <a:spLocks noGrp="1"/>
          </p:cNvSpPr>
          <p:nvPr>
            <p:ph idx="1"/>
          </p:nvPr>
        </p:nvSpPr>
        <p:spPr bwMode="gray">
          <a:xfrm>
            <a:off x="407989" y="1268413"/>
            <a:ext cx="11784011" cy="5040312"/>
          </a:xfrm>
          <a:custGeom>
            <a:avLst/>
            <a:gdLst>
              <a:gd name="connsiteX0" fmla="*/ 0 w 11784011"/>
              <a:gd name="connsiteY0" fmla="*/ 0 h 5040312"/>
              <a:gd name="connsiteX1" fmla="*/ 6696123 w 11784011"/>
              <a:gd name="connsiteY1" fmla="*/ 0 h 5040312"/>
              <a:gd name="connsiteX2" fmla="*/ 11376021 w 11784011"/>
              <a:gd name="connsiteY2" fmla="*/ 0 h 5040312"/>
              <a:gd name="connsiteX3" fmla="*/ 11784011 w 11784011"/>
              <a:gd name="connsiteY3" fmla="*/ 0 h 5040312"/>
              <a:gd name="connsiteX4" fmla="*/ 11784011 w 11784011"/>
              <a:gd name="connsiteY4" fmla="*/ 5040312 h 5040312"/>
              <a:gd name="connsiteX5" fmla="*/ 6696123 w 11784011"/>
              <a:gd name="connsiteY5" fmla="*/ 5040312 h 5040312"/>
              <a:gd name="connsiteX6" fmla="*/ 6696123 w 11784011"/>
              <a:gd name="connsiteY6" fmla="*/ 5040303 h 5040312"/>
              <a:gd name="connsiteX7" fmla="*/ 196621 w 11784011"/>
              <a:gd name="connsiteY7" fmla="*/ 5040303 h 5040312"/>
              <a:gd name="connsiteX8" fmla="*/ 15450 w 11784011"/>
              <a:gd name="connsiteY8" fmla="*/ 4920215 h 5040312"/>
              <a:gd name="connsiteX9" fmla="*/ 0 w 11784011"/>
              <a:gd name="connsiteY9" fmla="*/ 4843690 h 504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4011" h="5040312">
                <a:moveTo>
                  <a:pt x="0" y="0"/>
                </a:moveTo>
                <a:lnTo>
                  <a:pt x="6696123" y="0"/>
                </a:lnTo>
                <a:lnTo>
                  <a:pt x="11376021" y="0"/>
                </a:lnTo>
                <a:lnTo>
                  <a:pt x="11784011" y="0"/>
                </a:lnTo>
                <a:lnTo>
                  <a:pt x="11784011" y="5040312"/>
                </a:lnTo>
                <a:lnTo>
                  <a:pt x="6696123" y="5040312"/>
                </a:lnTo>
                <a:lnTo>
                  <a:pt x="6696123" y="5040303"/>
                </a:lnTo>
                <a:lnTo>
                  <a:pt x="196621" y="5040303"/>
                </a:lnTo>
                <a:cubicBezTo>
                  <a:pt x="115177" y="5040303"/>
                  <a:pt x="45299" y="4990786"/>
                  <a:pt x="15450" y="4920215"/>
                </a:cubicBezTo>
                <a:lnTo>
                  <a:pt x="0" y="4843690"/>
                </a:lnTo>
                <a:close/>
              </a:path>
            </a:pathLst>
          </a:custGeom>
          <a:solidFill>
            <a:srgbClr val="EBEBEB"/>
          </a:solidFill>
        </p:spPr>
        <p:txBody>
          <a:bodyPr wrap="square" lIns="360000" tIns="334800" rIns="406800" bIns="406800">
            <a:noAutofit/>
          </a:bodyPr>
          <a:lstStyle>
            <a:lvl1pPr>
              <a:defRPr sz="1400"/>
            </a:lvl1pPr>
            <a:lvl2pPr>
              <a:defRPr sz="1400"/>
            </a:lvl2pPr>
            <a:lvl3pPr>
              <a:defRPr sz="1400"/>
            </a:lvl3pPr>
            <a:lvl4pPr>
              <a:defRPr sz="1400"/>
            </a:lvl4pPr>
            <a:lvl5pPr>
              <a:defRPr sz="1400"/>
            </a:lvl5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31180202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grey)">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8" name="Datumsplatzhalter 7">
            <a:extLst>
              <a:ext uri="{FF2B5EF4-FFF2-40B4-BE49-F238E27FC236}">
                <a16:creationId xmlns:a16="http://schemas.microsoft.com/office/drawing/2014/main" id="{24B752C1-3BBE-4012-B56D-BBEDDFD25F53}"/>
              </a:ext>
            </a:extLst>
          </p:cNvPr>
          <p:cNvSpPr>
            <a:spLocks noGrp="1"/>
          </p:cNvSpPr>
          <p:nvPr>
            <p:ph type="dt" sz="half" idx="10"/>
          </p:nvPr>
        </p:nvSpPr>
        <p:spPr/>
        <p:txBody>
          <a:bodyPr/>
          <a:lstStyle/>
          <a:p>
            <a:r>
              <a:rPr lang="en-US"/>
              <a:t>September 2025</a:t>
            </a:r>
            <a:endParaRPr lang="de-DE" dirty="0"/>
          </a:p>
        </p:txBody>
      </p:sp>
      <p:sp>
        <p:nvSpPr>
          <p:cNvPr id="9" name="Fußzeilenplatzhalter 8">
            <a:extLst>
              <a:ext uri="{FF2B5EF4-FFF2-40B4-BE49-F238E27FC236}">
                <a16:creationId xmlns:a16="http://schemas.microsoft.com/office/drawing/2014/main" id="{969BFD1E-2582-4836-B6B5-3DD14A856324}"/>
              </a:ext>
            </a:extLst>
          </p:cNvPr>
          <p:cNvSpPr>
            <a:spLocks noGrp="1"/>
          </p:cNvSpPr>
          <p:nvPr>
            <p:ph type="ftr" sz="quarter" idx="11"/>
          </p:nvPr>
        </p:nvSpPr>
        <p:spPr/>
        <p:txBody>
          <a:bodyPr/>
          <a:lstStyle/>
          <a:p>
            <a:r>
              <a:rPr lang="en-US"/>
              <a:t>Achieving robust textures with PTFE-free additives</a:t>
            </a:r>
            <a:endParaRPr lang="de-DE" dirty="0"/>
          </a:p>
        </p:txBody>
      </p:sp>
      <p:sp>
        <p:nvSpPr>
          <p:cNvPr id="10" name="Foliennummernplatzhalter 9">
            <a:extLst>
              <a:ext uri="{FF2B5EF4-FFF2-40B4-BE49-F238E27FC236}">
                <a16:creationId xmlns:a16="http://schemas.microsoft.com/office/drawing/2014/main" id="{D519D23E-5CFB-4551-AC1E-40C6AB91D2E9}"/>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11" name="Inhaltsplatzhalter 10">
            <a:extLst>
              <a:ext uri="{FF2B5EF4-FFF2-40B4-BE49-F238E27FC236}">
                <a16:creationId xmlns:a16="http://schemas.microsoft.com/office/drawing/2014/main" id="{C153EC1B-822D-4BB2-AC9D-FF9E25AC6D8B}"/>
              </a:ext>
            </a:extLst>
          </p:cNvPr>
          <p:cNvSpPr>
            <a:spLocks noGrp="1"/>
          </p:cNvSpPr>
          <p:nvPr>
            <p:ph idx="1"/>
          </p:nvPr>
        </p:nvSpPr>
        <p:spPr bwMode="gray">
          <a:xfrm>
            <a:off x="407989" y="1268413"/>
            <a:ext cx="11784011" cy="5040312"/>
          </a:xfrm>
          <a:custGeom>
            <a:avLst/>
            <a:gdLst>
              <a:gd name="connsiteX0" fmla="*/ 0 w 11784011"/>
              <a:gd name="connsiteY0" fmla="*/ 0 h 5040312"/>
              <a:gd name="connsiteX1" fmla="*/ 6696123 w 11784011"/>
              <a:gd name="connsiteY1" fmla="*/ 0 h 5040312"/>
              <a:gd name="connsiteX2" fmla="*/ 11376021 w 11784011"/>
              <a:gd name="connsiteY2" fmla="*/ 0 h 5040312"/>
              <a:gd name="connsiteX3" fmla="*/ 11784011 w 11784011"/>
              <a:gd name="connsiteY3" fmla="*/ 0 h 5040312"/>
              <a:gd name="connsiteX4" fmla="*/ 11784011 w 11784011"/>
              <a:gd name="connsiteY4" fmla="*/ 5040312 h 5040312"/>
              <a:gd name="connsiteX5" fmla="*/ 6696123 w 11784011"/>
              <a:gd name="connsiteY5" fmla="*/ 5040312 h 5040312"/>
              <a:gd name="connsiteX6" fmla="*/ 6696123 w 11784011"/>
              <a:gd name="connsiteY6" fmla="*/ 5040303 h 5040312"/>
              <a:gd name="connsiteX7" fmla="*/ 196621 w 11784011"/>
              <a:gd name="connsiteY7" fmla="*/ 5040303 h 5040312"/>
              <a:gd name="connsiteX8" fmla="*/ 15450 w 11784011"/>
              <a:gd name="connsiteY8" fmla="*/ 4920215 h 5040312"/>
              <a:gd name="connsiteX9" fmla="*/ 0 w 11784011"/>
              <a:gd name="connsiteY9" fmla="*/ 4843690 h 504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4011" h="5040312">
                <a:moveTo>
                  <a:pt x="0" y="0"/>
                </a:moveTo>
                <a:lnTo>
                  <a:pt x="6696123" y="0"/>
                </a:lnTo>
                <a:lnTo>
                  <a:pt x="11376021" y="0"/>
                </a:lnTo>
                <a:lnTo>
                  <a:pt x="11784011" y="0"/>
                </a:lnTo>
                <a:lnTo>
                  <a:pt x="11784011" y="5040312"/>
                </a:lnTo>
                <a:lnTo>
                  <a:pt x="6696123" y="5040312"/>
                </a:lnTo>
                <a:lnTo>
                  <a:pt x="6696123" y="5040303"/>
                </a:lnTo>
                <a:lnTo>
                  <a:pt x="196621" y="5040303"/>
                </a:lnTo>
                <a:cubicBezTo>
                  <a:pt x="115177" y="5040303"/>
                  <a:pt x="45299" y="4990786"/>
                  <a:pt x="15450" y="4920215"/>
                </a:cubicBezTo>
                <a:lnTo>
                  <a:pt x="0" y="4843690"/>
                </a:lnTo>
                <a:close/>
              </a:path>
            </a:pathLst>
          </a:custGeom>
          <a:solidFill>
            <a:srgbClr val="EBEBEB"/>
          </a:solidFill>
        </p:spPr>
        <p:txBody>
          <a:bodyPr wrap="square" lIns="360000" tIns="306000" rIns="406800" bIns="40680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1769991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2 (with Pic)">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B4C8E925-9B3C-440E-B700-D243E6A9E9FE}"/>
              </a:ext>
            </a:extLst>
          </p:cNvPr>
          <p:cNvSpPr>
            <a:spLocks noGrp="1"/>
          </p:cNvSpPr>
          <p:nvPr>
            <p:ph type="pic" sz="quarter" idx="12"/>
          </p:nvPr>
        </p:nvSpPr>
        <p:spPr bwMode="gray">
          <a:xfrm>
            <a:off x="407988" y="1"/>
            <a:ext cx="11784012" cy="6023869"/>
          </a:xfrm>
          <a:custGeom>
            <a:avLst/>
            <a:gdLst>
              <a:gd name="connsiteX0" fmla="*/ 0 w 11784012"/>
              <a:gd name="connsiteY0" fmla="*/ 0 h 6023869"/>
              <a:gd name="connsiteX1" fmla="*/ 11784012 w 11784012"/>
              <a:gd name="connsiteY1" fmla="*/ 0 h 6023869"/>
              <a:gd name="connsiteX2" fmla="*/ 11784012 w 11784012"/>
              <a:gd name="connsiteY2" fmla="*/ 6023869 h 6023869"/>
              <a:gd name="connsiteX3" fmla="*/ 431428 w 11784012"/>
              <a:gd name="connsiteY3" fmla="*/ 6023869 h 6023869"/>
              <a:gd name="connsiteX4" fmla="*/ 431428 w 11784012"/>
              <a:gd name="connsiteY4" fmla="*/ 6023867 h 6023869"/>
              <a:gd name="connsiteX5" fmla="*/ 196623 w 11784012"/>
              <a:gd name="connsiteY5" fmla="*/ 6023867 h 6023869"/>
              <a:gd name="connsiteX6" fmla="*/ 0 w 11784012"/>
              <a:gd name="connsiteY6" fmla="*/ 5827244 h 6023869"/>
              <a:gd name="connsiteX7" fmla="*/ 0 w 11784012"/>
              <a:gd name="connsiteY7" fmla="*/ 5592415 h 602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4012" h="6023869">
                <a:moveTo>
                  <a:pt x="0" y="0"/>
                </a:moveTo>
                <a:lnTo>
                  <a:pt x="11784012" y="0"/>
                </a:lnTo>
                <a:lnTo>
                  <a:pt x="11784012" y="6023869"/>
                </a:lnTo>
                <a:lnTo>
                  <a:pt x="431428" y="6023869"/>
                </a:lnTo>
                <a:lnTo>
                  <a:pt x="431428" y="6023867"/>
                </a:lnTo>
                <a:lnTo>
                  <a:pt x="196623" y="6023867"/>
                </a:lnTo>
                <a:cubicBezTo>
                  <a:pt x="88031" y="6023867"/>
                  <a:pt x="0" y="5935836"/>
                  <a:pt x="0" y="5827244"/>
                </a:cubicBezTo>
                <a:lnTo>
                  <a:pt x="0" y="5592415"/>
                </a:lnTo>
                <a:close/>
              </a:path>
            </a:pathLst>
          </a:custGeom>
          <a:solidFill>
            <a:schemeClr val="tx2"/>
          </a:solidFill>
          <a:ln>
            <a:noFill/>
          </a:ln>
          <a:effectLst/>
        </p:spPr>
        <p:txBody>
          <a:bodyPr wrap="square" tIns="0" anchor="ctr" anchorCtr="0">
            <a:noAutofit/>
          </a:bodyPr>
          <a:lstStyle>
            <a:lvl1pPr marL="0" indent="0" algn="ctr">
              <a:buNone/>
              <a:defRPr sz="1200"/>
            </a:lvl1pPr>
          </a:lstStyle>
          <a:p>
            <a:endParaRPr lang="de-DE" noProof="0" dirty="0"/>
          </a:p>
        </p:txBody>
      </p:sp>
      <p:sp>
        <p:nvSpPr>
          <p:cNvPr id="4" name="Textplatzhalter 3"/>
          <p:cNvSpPr>
            <a:spLocks noGrp="1"/>
          </p:cNvSpPr>
          <p:nvPr>
            <p:ph type="body" sz="quarter" idx="10"/>
          </p:nvPr>
        </p:nvSpPr>
        <p:spPr bwMode="gray">
          <a:xfrm>
            <a:off x="407988" y="475200"/>
            <a:ext cx="7118454" cy="2414836"/>
          </a:xfrm>
          <a:prstGeom prst="round1Rect">
            <a:avLst>
              <a:gd name="adj" fmla="val 8916"/>
            </a:avLst>
          </a:prstGeom>
          <a:solidFill>
            <a:schemeClr val="bg1"/>
          </a:solidFill>
        </p:spPr>
        <p:txBody>
          <a:bodyPr lIns="1314000" tIns="288000"/>
          <a:lstStyle>
            <a:lvl1pPr marL="0" indent="0">
              <a:spcBef>
                <a:spcPts val="0"/>
              </a:spcBef>
              <a:spcAft>
                <a:spcPts val="1800"/>
              </a:spcAft>
              <a:buNone/>
              <a:defRPr sz="3800" b="0">
                <a:solidFill>
                  <a:schemeClr val="accent2"/>
                </a:solidFill>
              </a:defRPr>
            </a:lvl1pPr>
            <a:lvl2pPr marL="1588" indent="0">
              <a:spcBef>
                <a:spcPts val="0"/>
              </a:spcBef>
              <a:buNone/>
              <a:defRPr sz="1200" b="1" baseline="0">
                <a:solidFill>
                  <a:schemeClr val="accent1"/>
                </a:solidFill>
              </a:defRPr>
            </a:lvl2pPr>
            <a:lvl3pPr marL="0" indent="0">
              <a:spcBef>
                <a:spcPts val="0"/>
              </a:spcBef>
              <a:buNone/>
              <a:tabLst/>
              <a:defRPr sz="1200" b="0">
                <a:solidFill>
                  <a:schemeClr val="accent1"/>
                </a:solidFill>
              </a:defRPr>
            </a:lvl3pPr>
          </a:lstStyle>
          <a:p>
            <a:pPr lvl="0"/>
            <a:r>
              <a:rPr lang="de-DE" noProof="0" dirty="0"/>
              <a:t>Textmasterformat bearbeiten</a:t>
            </a:r>
          </a:p>
          <a:p>
            <a:pPr lvl="1"/>
            <a:r>
              <a:rPr lang="de-DE" noProof="0" dirty="0"/>
              <a:t>Zweite Ebene</a:t>
            </a:r>
          </a:p>
          <a:p>
            <a:pPr lvl="2"/>
            <a:r>
              <a:rPr lang="de-DE" noProof="0" dirty="0"/>
              <a:t>Dritte Ebene</a:t>
            </a:r>
          </a:p>
        </p:txBody>
      </p:sp>
      <p:sp>
        <p:nvSpPr>
          <p:cNvPr id="13326" name="Rectangle 14"/>
          <p:cNvSpPr>
            <a:spLocks noChangeArrowheads="1"/>
          </p:cNvSpPr>
          <p:nvPr userDrawn="1"/>
        </p:nvSpPr>
        <p:spPr bwMode="gray">
          <a:xfrm>
            <a:off x="0" y="475200"/>
            <a:ext cx="407988" cy="241483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64310" tIns="32155" rIns="64310" bIns="32155" anchor="ctr"/>
          <a:lstStyle/>
          <a:p>
            <a:pPr defTabSz="642938" eaLnBrk="0" hangingPunct="0"/>
            <a:endParaRPr lang="de-DE" sz="500" noProof="0" dirty="0">
              <a:solidFill>
                <a:srgbClr val="00A5E9"/>
              </a:solidFill>
              <a:ea typeface="ヒラギノ角ゴ Pro W3" charset="-128"/>
            </a:endParaRPr>
          </a:p>
        </p:txBody>
      </p:sp>
      <p:pic>
        <p:nvPicPr>
          <p:cNvPr id="7" name="Grafik 6">
            <a:extLst>
              <a:ext uri="{FF2B5EF4-FFF2-40B4-BE49-F238E27FC236}">
                <a16:creationId xmlns:a16="http://schemas.microsoft.com/office/drawing/2014/main" id="{1ACE62E2-58E5-400E-B458-C29EEAFC686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494" y="6232350"/>
            <a:ext cx="991557" cy="266400"/>
          </a:xfrm>
          <a:prstGeom prst="rect">
            <a:avLst/>
          </a:prstGeom>
        </p:spPr>
      </p:pic>
      <p:pic>
        <p:nvPicPr>
          <p:cNvPr id="8" name="Grafik 7">
            <a:extLst>
              <a:ext uri="{FF2B5EF4-FFF2-40B4-BE49-F238E27FC236}">
                <a16:creationId xmlns:a16="http://schemas.microsoft.com/office/drawing/2014/main" id="{B7331411-CC04-4EE0-928C-82E8EEDEB5A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368" y="6353530"/>
            <a:ext cx="1620000" cy="130701"/>
          </a:xfrm>
          <a:prstGeom prst="rect">
            <a:avLst/>
          </a:prstGeom>
        </p:spPr>
      </p:pic>
    </p:spTree>
    <p:extLst>
      <p:ext uri="{BB962C8B-B14F-4D97-AF65-F5344CB8AC3E}">
        <p14:creationId xmlns:p14="http://schemas.microsoft.com/office/powerpoint/2010/main" val="3910441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 Pciture (24pt)">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919CB8F3-F9ED-4354-B66C-35E219F97111}"/>
              </a:ext>
            </a:extLst>
          </p:cNvPr>
          <p:cNvSpPr>
            <a:spLocks noGrp="1"/>
          </p:cNvSpPr>
          <p:nvPr>
            <p:ph type="pic" sz="quarter" idx="13"/>
          </p:nvPr>
        </p:nvSpPr>
        <p:spPr bwMode="gray">
          <a:xfrm>
            <a:off x="407988" y="1268413"/>
            <a:ext cx="11784012" cy="5040312"/>
          </a:xfrm>
          <a:custGeom>
            <a:avLst/>
            <a:gdLst>
              <a:gd name="connsiteX0" fmla="*/ 0 w 11784012"/>
              <a:gd name="connsiteY0" fmla="*/ 0 h 5040312"/>
              <a:gd name="connsiteX1" fmla="*/ 11784012 w 11784012"/>
              <a:gd name="connsiteY1" fmla="*/ 0 h 5040312"/>
              <a:gd name="connsiteX2" fmla="*/ 11784012 w 11784012"/>
              <a:gd name="connsiteY2" fmla="*/ 5040312 h 5040312"/>
              <a:gd name="connsiteX3" fmla="*/ 431428 w 11784012"/>
              <a:gd name="connsiteY3" fmla="*/ 5040312 h 5040312"/>
              <a:gd name="connsiteX4" fmla="*/ 431428 w 11784012"/>
              <a:gd name="connsiteY4" fmla="*/ 5040310 h 5040312"/>
              <a:gd name="connsiteX5" fmla="*/ 196623 w 11784012"/>
              <a:gd name="connsiteY5" fmla="*/ 5040310 h 5040312"/>
              <a:gd name="connsiteX6" fmla="*/ 0 w 11784012"/>
              <a:gd name="connsiteY6" fmla="*/ 4843687 h 5040312"/>
              <a:gd name="connsiteX7" fmla="*/ 0 w 11784012"/>
              <a:gd name="connsiteY7" fmla="*/ 4608858 h 504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4012" h="5040312">
                <a:moveTo>
                  <a:pt x="0" y="0"/>
                </a:moveTo>
                <a:lnTo>
                  <a:pt x="11784012" y="0"/>
                </a:lnTo>
                <a:lnTo>
                  <a:pt x="11784012" y="5040312"/>
                </a:lnTo>
                <a:lnTo>
                  <a:pt x="431428" y="5040312"/>
                </a:lnTo>
                <a:lnTo>
                  <a:pt x="431428" y="5040310"/>
                </a:lnTo>
                <a:lnTo>
                  <a:pt x="196623" y="5040310"/>
                </a:lnTo>
                <a:cubicBezTo>
                  <a:pt x="88031" y="5040310"/>
                  <a:pt x="0" y="4952279"/>
                  <a:pt x="0" y="4843687"/>
                </a:cubicBezTo>
                <a:lnTo>
                  <a:pt x="0" y="4608858"/>
                </a:lnTo>
                <a:close/>
              </a:path>
            </a:pathLst>
          </a:custGeom>
          <a:solidFill>
            <a:srgbClr val="EBEBEB"/>
          </a:solidFill>
          <a:ln>
            <a:noFill/>
          </a:ln>
          <a:effectLst/>
        </p:spPr>
        <p:txBody>
          <a:bodyPr wrap="square" tIns="0" anchor="ctr" anchorCtr="0">
            <a:noAutofit/>
          </a:bodyPr>
          <a:lstStyle>
            <a:lvl1pPr marL="0" indent="0" algn="ctr">
              <a:buNone/>
              <a:defRPr sz="1200"/>
            </a:lvl1pPr>
          </a:lstStyle>
          <a:p>
            <a:endParaRPr lang="de-DE" noProof="0" dirty="0"/>
          </a:p>
        </p:txBody>
      </p:sp>
      <p:sp>
        <p:nvSpPr>
          <p:cNvPr id="2" name="Titel 1"/>
          <p:cNvSpPr>
            <a:spLocks noGrp="1"/>
          </p:cNvSpPr>
          <p:nvPr>
            <p:ph type="title"/>
          </p:nvPr>
        </p:nvSpPr>
        <p:spPr bwMode="gray"/>
        <p:txBody>
          <a:bodyPr/>
          <a:lstStyle/>
          <a:p>
            <a:r>
              <a:rPr lang="de-DE" noProof="0" dirty="0"/>
              <a:t>Titelmasterformat durch Klicken bearbeiten</a:t>
            </a:r>
          </a:p>
        </p:txBody>
      </p:sp>
      <p:sp>
        <p:nvSpPr>
          <p:cNvPr id="9" name="Datumsplatzhalter 8">
            <a:extLst>
              <a:ext uri="{FF2B5EF4-FFF2-40B4-BE49-F238E27FC236}">
                <a16:creationId xmlns:a16="http://schemas.microsoft.com/office/drawing/2014/main" id="{9D54B39A-2532-4920-9E96-03595B855507}"/>
              </a:ext>
            </a:extLst>
          </p:cNvPr>
          <p:cNvSpPr>
            <a:spLocks noGrp="1"/>
          </p:cNvSpPr>
          <p:nvPr>
            <p:ph type="dt" sz="half" idx="10"/>
          </p:nvPr>
        </p:nvSpPr>
        <p:spPr/>
        <p:txBody>
          <a:bodyPr/>
          <a:lstStyle/>
          <a:p>
            <a:r>
              <a:rPr lang="en-US"/>
              <a:t>September 2025</a:t>
            </a:r>
            <a:endParaRPr lang="de-DE" dirty="0"/>
          </a:p>
        </p:txBody>
      </p:sp>
      <p:sp>
        <p:nvSpPr>
          <p:cNvPr id="10" name="Fußzeilenplatzhalter 9">
            <a:extLst>
              <a:ext uri="{FF2B5EF4-FFF2-40B4-BE49-F238E27FC236}">
                <a16:creationId xmlns:a16="http://schemas.microsoft.com/office/drawing/2014/main" id="{96721834-DDD2-4362-B83B-CD3812129C89}"/>
              </a:ext>
            </a:extLst>
          </p:cNvPr>
          <p:cNvSpPr>
            <a:spLocks noGrp="1"/>
          </p:cNvSpPr>
          <p:nvPr>
            <p:ph type="ftr" sz="quarter" idx="11"/>
          </p:nvPr>
        </p:nvSpPr>
        <p:spPr/>
        <p:txBody>
          <a:bodyPr/>
          <a:lstStyle/>
          <a:p>
            <a:r>
              <a:rPr lang="en-US"/>
              <a:t>Achieving robust textures with PTFE-free additives</a:t>
            </a:r>
            <a:endParaRPr lang="de-DE" dirty="0"/>
          </a:p>
        </p:txBody>
      </p:sp>
      <p:sp>
        <p:nvSpPr>
          <p:cNvPr id="11" name="Foliennummernplatzhalter 10">
            <a:extLst>
              <a:ext uri="{FF2B5EF4-FFF2-40B4-BE49-F238E27FC236}">
                <a16:creationId xmlns:a16="http://schemas.microsoft.com/office/drawing/2014/main" id="{B2AF0311-04EF-4D6F-9659-C1C83B850D77}"/>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8" name="Inhaltsplatzhalter 10">
            <a:extLst>
              <a:ext uri="{FF2B5EF4-FFF2-40B4-BE49-F238E27FC236}">
                <a16:creationId xmlns:a16="http://schemas.microsoft.com/office/drawing/2014/main" id="{F493D387-0A77-441E-A0C0-FD59C4EB764B}"/>
              </a:ext>
            </a:extLst>
          </p:cNvPr>
          <p:cNvSpPr>
            <a:spLocks noGrp="1"/>
          </p:cNvSpPr>
          <p:nvPr>
            <p:ph idx="1"/>
          </p:nvPr>
        </p:nvSpPr>
        <p:spPr bwMode="gray">
          <a:xfrm>
            <a:off x="407989" y="1268413"/>
            <a:ext cx="11784011" cy="5040312"/>
          </a:xfrm>
          <a:custGeom>
            <a:avLst/>
            <a:gdLst>
              <a:gd name="connsiteX0" fmla="*/ 0 w 11784011"/>
              <a:gd name="connsiteY0" fmla="*/ 0 h 5040312"/>
              <a:gd name="connsiteX1" fmla="*/ 6696123 w 11784011"/>
              <a:gd name="connsiteY1" fmla="*/ 0 h 5040312"/>
              <a:gd name="connsiteX2" fmla="*/ 11376021 w 11784011"/>
              <a:gd name="connsiteY2" fmla="*/ 0 h 5040312"/>
              <a:gd name="connsiteX3" fmla="*/ 11784011 w 11784011"/>
              <a:gd name="connsiteY3" fmla="*/ 0 h 5040312"/>
              <a:gd name="connsiteX4" fmla="*/ 11784011 w 11784011"/>
              <a:gd name="connsiteY4" fmla="*/ 5040312 h 5040312"/>
              <a:gd name="connsiteX5" fmla="*/ 6696123 w 11784011"/>
              <a:gd name="connsiteY5" fmla="*/ 5040312 h 5040312"/>
              <a:gd name="connsiteX6" fmla="*/ 6696123 w 11784011"/>
              <a:gd name="connsiteY6" fmla="*/ 5040303 h 5040312"/>
              <a:gd name="connsiteX7" fmla="*/ 196621 w 11784011"/>
              <a:gd name="connsiteY7" fmla="*/ 5040303 h 5040312"/>
              <a:gd name="connsiteX8" fmla="*/ 15450 w 11784011"/>
              <a:gd name="connsiteY8" fmla="*/ 4920215 h 5040312"/>
              <a:gd name="connsiteX9" fmla="*/ 0 w 11784011"/>
              <a:gd name="connsiteY9" fmla="*/ 4843690 h 504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4011" h="5040312">
                <a:moveTo>
                  <a:pt x="0" y="0"/>
                </a:moveTo>
                <a:lnTo>
                  <a:pt x="6696123" y="0"/>
                </a:lnTo>
                <a:lnTo>
                  <a:pt x="11376021" y="0"/>
                </a:lnTo>
                <a:lnTo>
                  <a:pt x="11784011" y="0"/>
                </a:lnTo>
                <a:lnTo>
                  <a:pt x="11784011" y="5040312"/>
                </a:lnTo>
                <a:lnTo>
                  <a:pt x="6696123" y="5040312"/>
                </a:lnTo>
                <a:lnTo>
                  <a:pt x="6696123" y="5040303"/>
                </a:lnTo>
                <a:lnTo>
                  <a:pt x="196621" y="5040303"/>
                </a:lnTo>
                <a:cubicBezTo>
                  <a:pt x="115177" y="5040303"/>
                  <a:pt x="45299" y="4990786"/>
                  <a:pt x="15450" y="4920215"/>
                </a:cubicBezTo>
                <a:lnTo>
                  <a:pt x="0" y="4843690"/>
                </a:lnTo>
                <a:close/>
              </a:path>
            </a:pathLst>
          </a:custGeom>
          <a:gradFill flip="none" rotWithShape="1">
            <a:gsLst>
              <a:gs pos="0">
                <a:schemeClr val="bg1">
                  <a:alpha val="75000"/>
                </a:schemeClr>
              </a:gs>
              <a:gs pos="100000">
                <a:schemeClr val="bg1">
                  <a:alpha val="0"/>
                </a:schemeClr>
              </a:gs>
            </a:gsLst>
            <a:lin ang="0" scaled="1"/>
            <a:tileRect/>
          </a:gradFill>
        </p:spPr>
        <p:txBody>
          <a:bodyPr wrap="square" lIns="360000" tIns="306000" rIns="406800" bIns="40680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32119825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8" name="Datumsplatzhalter 7">
            <a:extLst>
              <a:ext uri="{FF2B5EF4-FFF2-40B4-BE49-F238E27FC236}">
                <a16:creationId xmlns:a16="http://schemas.microsoft.com/office/drawing/2014/main" id="{B36CEEA1-CCCD-473A-A87C-8F06C3742ECF}"/>
              </a:ext>
            </a:extLst>
          </p:cNvPr>
          <p:cNvSpPr>
            <a:spLocks noGrp="1"/>
          </p:cNvSpPr>
          <p:nvPr>
            <p:ph type="dt" sz="half" idx="10"/>
          </p:nvPr>
        </p:nvSpPr>
        <p:spPr/>
        <p:txBody>
          <a:bodyPr/>
          <a:lstStyle/>
          <a:p>
            <a:r>
              <a:rPr lang="en-US"/>
              <a:t>September 2025</a:t>
            </a:r>
            <a:endParaRPr lang="de-DE" dirty="0"/>
          </a:p>
        </p:txBody>
      </p:sp>
      <p:sp>
        <p:nvSpPr>
          <p:cNvPr id="9" name="Fußzeilenplatzhalter 8">
            <a:extLst>
              <a:ext uri="{FF2B5EF4-FFF2-40B4-BE49-F238E27FC236}">
                <a16:creationId xmlns:a16="http://schemas.microsoft.com/office/drawing/2014/main" id="{B9103B97-2232-4EE3-89B7-C13EFED42FF2}"/>
              </a:ext>
            </a:extLst>
          </p:cNvPr>
          <p:cNvSpPr>
            <a:spLocks noGrp="1"/>
          </p:cNvSpPr>
          <p:nvPr>
            <p:ph type="ftr" sz="quarter" idx="11"/>
          </p:nvPr>
        </p:nvSpPr>
        <p:spPr/>
        <p:txBody>
          <a:bodyPr/>
          <a:lstStyle/>
          <a:p>
            <a:r>
              <a:rPr lang="en-US"/>
              <a:t>Achieving robust textures with PTFE-free additives</a:t>
            </a:r>
            <a:endParaRPr lang="de-DE" dirty="0"/>
          </a:p>
        </p:txBody>
      </p:sp>
      <p:sp>
        <p:nvSpPr>
          <p:cNvPr id="10" name="Foliennummernplatzhalter 9">
            <a:extLst>
              <a:ext uri="{FF2B5EF4-FFF2-40B4-BE49-F238E27FC236}">
                <a16:creationId xmlns:a16="http://schemas.microsoft.com/office/drawing/2014/main" id="{9BE62567-F106-4118-972F-5A90B9E3A6B8}"/>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5" name="Bildplatzhalter 9">
            <a:extLst>
              <a:ext uri="{FF2B5EF4-FFF2-40B4-BE49-F238E27FC236}">
                <a16:creationId xmlns:a16="http://schemas.microsoft.com/office/drawing/2014/main" id="{3B7D66EC-23CE-49DB-9CC7-D06F6774AD5C}"/>
              </a:ext>
            </a:extLst>
          </p:cNvPr>
          <p:cNvSpPr>
            <a:spLocks noGrp="1"/>
          </p:cNvSpPr>
          <p:nvPr>
            <p:ph type="pic" sz="quarter" idx="13"/>
          </p:nvPr>
        </p:nvSpPr>
        <p:spPr bwMode="gray">
          <a:xfrm>
            <a:off x="0" y="1268413"/>
            <a:ext cx="12192000" cy="5040312"/>
          </a:xfrm>
          <a:solidFill>
            <a:schemeClr val="tx2"/>
          </a:solidFill>
        </p:spPr>
        <p:txBody>
          <a:bodyPr anchor="ctr" anchorCtr="0"/>
          <a:lstStyle>
            <a:lvl1pPr marL="0" indent="0" algn="ctr">
              <a:buNone/>
              <a:defRPr sz="1200"/>
            </a:lvl1pPr>
          </a:lstStyle>
          <a:p>
            <a:endParaRPr lang="de-DE" noProof="0" dirty="0"/>
          </a:p>
        </p:txBody>
      </p:sp>
      <p:sp>
        <p:nvSpPr>
          <p:cNvPr id="2" name="Titel 1">
            <a:extLst>
              <a:ext uri="{FF2B5EF4-FFF2-40B4-BE49-F238E27FC236}">
                <a16:creationId xmlns:a16="http://schemas.microsoft.com/office/drawing/2014/main" id="{DF57FFF9-7F2F-4BF7-AF01-4416406EC174}"/>
              </a:ext>
            </a:extLst>
          </p:cNvPr>
          <p:cNvSpPr>
            <a:spLocks noGrp="1"/>
          </p:cNvSpPr>
          <p:nvPr>
            <p:ph type="title"/>
          </p:nvPr>
        </p:nvSpPr>
        <p:spPr/>
        <p:txBody>
          <a:bodyPr/>
          <a:lstStyle/>
          <a:p>
            <a:r>
              <a:rPr lang="de-DE"/>
              <a:t>Mastertitelformat bearbeiten</a:t>
            </a:r>
          </a:p>
        </p:txBody>
      </p:sp>
      <p:sp>
        <p:nvSpPr>
          <p:cNvPr id="12" name="Textplatzhalter 2">
            <a:extLst>
              <a:ext uri="{FF2B5EF4-FFF2-40B4-BE49-F238E27FC236}">
                <a16:creationId xmlns:a16="http://schemas.microsoft.com/office/drawing/2014/main" id="{CD556D2B-C3E2-45A0-8303-96EA875437AE}"/>
              </a:ext>
            </a:extLst>
          </p:cNvPr>
          <p:cNvSpPr>
            <a:spLocks noGrp="1"/>
          </p:cNvSpPr>
          <p:nvPr>
            <p:ph type="body" sz="quarter" idx="14" hasCustomPrompt="1"/>
          </p:nvPr>
        </p:nvSpPr>
        <p:spPr>
          <a:xfrm>
            <a:off x="407988" y="5983188"/>
            <a:ext cx="9792468" cy="182116"/>
          </a:xfrm>
        </p:spPr>
        <p:txBody>
          <a:bodyPr tIns="0" anchor="b"/>
          <a:lstStyle>
            <a:lvl1pPr marL="0" indent="0">
              <a:lnSpc>
                <a:spcPct val="100000"/>
              </a:lnSpc>
              <a:spcBef>
                <a:spcPts val="0"/>
              </a:spcBef>
              <a:buNone/>
              <a:defRPr sz="800"/>
            </a:lvl1pPr>
          </a:lstStyle>
          <a:p>
            <a:pPr lvl="0"/>
            <a:r>
              <a:rPr lang="de-DE" dirty="0"/>
              <a:t>Bildnachweis</a:t>
            </a:r>
          </a:p>
        </p:txBody>
      </p:sp>
    </p:spTree>
    <p:extLst>
      <p:ext uri="{BB962C8B-B14F-4D97-AF65-F5344CB8AC3E}">
        <p14:creationId xmlns:p14="http://schemas.microsoft.com/office/powerpoint/2010/main" val="1681093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Big)">
    <p:spTree>
      <p:nvGrpSpPr>
        <p:cNvPr id="1" name=""/>
        <p:cNvGrpSpPr/>
        <p:nvPr/>
      </p:nvGrpSpPr>
      <p:grpSpPr>
        <a:xfrm>
          <a:off x="0" y="0"/>
          <a:ext cx="0" cy="0"/>
          <a:chOff x="0" y="0"/>
          <a:chExt cx="0" cy="0"/>
        </a:xfrm>
      </p:grpSpPr>
      <p:sp>
        <p:nvSpPr>
          <p:cNvPr id="8" name="Datumsplatzhalter 7">
            <a:extLst>
              <a:ext uri="{FF2B5EF4-FFF2-40B4-BE49-F238E27FC236}">
                <a16:creationId xmlns:a16="http://schemas.microsoft.com/office/drawing/2014/main" id="{B36CEEA1-CCCD-473A-A87C-8F06C3742ECF}"/>
              </a:ext>
            </a:extLst>
          </p:cNvPr>
          <p:cNvSpPr>
            <a:spLocks noGrp="1"/>
          </p:cNvSpPr>
          <p:nvPr>
            <p:ph type="dt" sz="half" idx="10"/>
          </p:nvPr>
        </p:nvSpPr>
        <p:spPr/>
        <p:txBody>
          <a:bodyPr/>
          <a:lstStyle/>
          <a:p>
            <a:r>
              <a:rPr lang="en-US"/>
              <a:t>September 2025</a:t>
            </a:r>
            <a:endParaRPr lang="de-DE" dirty="0"/>
          </a:p>
        </p:txBody>
      </p:sp>
      <p:sp>
        <p:nvSpPr>
          <p:cNvPr id="9" name="Fußzeilenplatzhalter 8">
            <a:extLst>
              <a:ext uri="{FF2B5EF4-FFF2-40B4-BE49-F238E27FC236}">
                <a16:creationId xmlns:a16="http://schemas.microsoft.com/office/drawing/2014/main" id="{B9103B97-2232-4EE3-89B7-C13EFED42FF2}"/>
              </a:ext>
            </a:extLst>
          </p:cNvPr>
          <p:cNvSpPr>
            <a:spLocks noGrp="1"/>
          </p:cNvSpPr>
          <p:nvPr>
            <p:ph type="ftr" sz="quarter" idx="11"/>
          </p:nvPr>
        </p:nvSpPr>
        <p:spPr/>
        <p:txBody>
          <a:bodyPr/>
          <a:lstStyle/>
          <a:p>
            <a:r>
              <a:rPr lang="en-US"/>
              <a:t>Achieving robust textures with PTFE-free additives</a:t>
            </a:r>
            <a:endParaRPr lang="de-DE" dirty="0"/>
          </a:p>
        </p:txBody>
      </p:sp>
      <p:sp>
        <p:nvSpPr>
          <p:cNvPr id="10" name="Foliennummernplatzhalter 9">
            <a:extLst>
              <a:ext uri="{FF2B5EF4-FFF2-40B4-BE49-F238E27FC236}">
                <a16:creationId xmlns:a16="http://schemas.microsoft.com/office/drawing/2014/main" id="{9BE62567-F106-4118-972F-5A90B9E3A6B8}"/>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5" name="Bildplatzhalter 9">
            <a:extLst>
              <a:ext uri="{FF2B5EF4-FFF2-40B4-BE49-F238E27FC236}">
                <a16:creationId xmlns:a16="http://schemas.microsoft.com/office/drawing/2014/main" id="{3B7D66EC-23CE-49DB-9CC7-D06F6774AD5C}"/>
              </a:ext>
            </a:extLst>
          </p:cNvPr>
          <p:cNvSpPr>
            <a:spLocks noGrp="1"/>
          </p:cNvSpPr>
          <p:nvPr>
            <p:ph type="pic" sz="quarter" idx="13"/>
          </p:nvPr>
        </p:nvSpPr>
        <p:spPr bwMode="gray">
          <a:xfrm>
            <a:off x="0" y="0"/>
            <a:ext cx="12192000" cy="6308725"/>
          </a:xfrm>
          <a:solidFill>
            <a:schemeClr val="tx2"/>
          </a:solidFill>
        </p:spPr>
        <p:txBody>
          <a:bodyPr anchor="ctr" anchorCtr="0"/>
          <a:lstStyle>
            <a:lvl1pPr marL="0" indent="0" algn="ctr">
              <a:buNone/>
              <a:defRPr sz="1200"/>
            </a:lvl1pPr>
          </a:lstStyle>
          <a:p>
            <a:endParaRPr lang="de-DE" noProof="0" dirty="0"/>
          </a:p>
        </p:txBody>
      </p:sp>
      <p:sp>
        <p:nvSpPr>
          <p:cNvPr id="3" name="Textplatzhalter 2">
            <a:extLst>
              <a:ext uri="{FF2B5EF4-FFF2-40B4-BE49-F238E27FC236}">
                <a16:creationId xmlns:a16="http://schemas.microsoft.com/office/drawing/2014/main" id="{44E7E092-1F62-4449-9D75-FBDB0F00BD90}"/>
              </a:ext>
            </a:extLst>
          </p:cNvPr>
          <p:cNvSpPr>
            <a:spLocks noGrp="1"/>
          </p:cNvSpPr>
          <p:nvPr>
            <p:ph type="body" sz="quarter" idx="14" hasCustomPrompt="1"/>
          </p:nvPr>
        </p:nvSpPr>
        <p:spPr>
          <a:xfrm>
            <a:off x="407988" y="5983188"/>
            <a:ext cx="9792468" cy="182116"/>
          </a:xfrm>
        </p:spPr>
        <p:txBody>
          <a:bodyPr tIns="0" anchor="b"/>
          <a:lstStyle>
            <a:lvl1pPr marL="0" indent="0">
              <a:lnSpc>
                <a:spcPct val="100000"/>
              </a:lnSpc>
              <a:spcBef>
                <a:spcPts val="0"/>
              </a:spcBef>
              <a:buNone/>
              <a:defRPr sz="800"/>
            </a:lvl1pPr>
          </a:lstStyle>
          <a:p>
            <a:pPr lvl="0"/>
            <a:r>
              <a:rPr lang="de-DE" dirty="0"/>
              <a:t>Bildnachweis</a:t>
            </a:r>
          </a:p>
        </p:txBody>
      </p:sp>
    </p:spTree>
    <p:extLst>
      <p:ext uri="{BB962C8B-B14F-4D97-AF65-F5344CB8AC3E}">
        <p14:creationId xmlns:p14="http://schemas.microsoft.com/office/powerpoint/2010/main" val="35936005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Full Page)">
    <p:spTree>
      <p:nvGrpSpPr>
        <p:cNvPr id="1" name=""/>
        <p:cNvGrpSpPr/>
        <p:nvPr/>
      </p:nvGrpSpPr>
      <p:grpSpPr>
        <a:xfrm>
          <a:off x="0" y="0"/>
          <a:ext cx="0" cy="0"/>
          <a:chOff x="0" y="0"/>
          <a:chExt cx="0" cy="0"/>
        </a:xfrm>
      </p:grpSpPr>
      <p:sp>
        <p:nvSpPr>
          <p:cNvPr id="5" name="Bildplatzhalter 9">
            <a:extLst>
              <a:ext uri="{FF2B5EF4-FFF2-40B4-BE49-F238E27FC236}">
                <a16:creationId xmlns:a16="http://schemas.microsoft.com/office/drawing/2014/main" id="{3B7D66EC-23CE-49DB-9CC7-D06F6774AD5C}"/>
              </a:ext>
            </a:extLst>
          </p:cNvPr>
          <p:cNvSpPr>
            <a:spLocks noGrp="1"/>
          </p:cNvSpPr>
          <p:nvPr>
            <p:ph type="pic" sz="quarter" idx="13"/>
          </p:nvPr>
        </p:nvSpPr>
        <p:spPr bwMode="gray">
          <a:xfrm>
            <a:off x="0" y="0"/>
            <a:ext cx="12192000" cy="6858000"/>
          </a:xfrm>
          <a:solidFill>
            <a:schemeClr val="tx2"/>
          </a:solidFill>
        </p:spPr>
        <p:txBody>
          <a:bodyPr anchor="ctr" anchorCtr="0"/>
          <a:lstStyle>
            <a:lvl1pPr marL="0" indent="0" algn="ctr">
              <a:buNone/>
              <a:defRPr sz="1200"/>
            </a:lvl1pPr>
          </a:lstStyle>
          <a:p>
            <a:endParaRPr lang="de-DE" noProof="0" dirty="0"/>
          </a:p>
        </p:txBody>
      </p:sp>
      <p:sp>
        <p:nvSpPr>
          <p:cNvPr id="7" name="Textplatzhalter 2">
            <a:extLst>
              <a:ext uri="{FF2B5EF4-FFF2-40B4-BE49-F238E27FC236}">
                <a16:creationId xmlns:a16="http://schemas.microsoft.com/office/drawing/2014/main" id="{F525F8E8-646C-41DA-91C5-C0DFC426B493}"/>
              </a:ext>
            </a:extLst>
          </p:cNvPr>
          <p:cNvSpPr>
            <a:spLocks noGrp="1"/>
          </p:cNvSpPr>
          <p:nvPr>
            <p:ph type="body" sz="quarter" idx="14" hasCustomPrompt="1"/>
          </p:nvPr>
        </p:nvSpPr>
        <p:spPr>
          <a:xfrm>
            <a:off x="407988" y="6453336"/>
            <a:ext cx="9792468" cy="182116"/>
          </a:xfrm>
        </p:spPr>
        <p:txBody>
          <a:bodyPr tIns="0" anchor="b"/>
          <a:lstStyle>
            <a:lvl1pPr marL="0" indent="0">
              <a:lnSpc>
                <a:spcPct val="100000"/>
              </a:lnSpc>
              <a:spcBef>
                <a:spcPts val="0"/>
              </a:spcBef>
              <a:buNone/>
              <a:defRPr sz="800"/>
            </a:lvl1pPr>
          </a:lstStyle>
          <a:p>
            <a:pPr lvl="0"/>
            <a:r>
              <a:rPr lang="de-DE" dirty="0"/>
              <a:t>Bildnachweis</a:t>
            </a:r>
          </a:p>
        </p:txBody>
      </p:sp>
    </p:spTree>
    <p:extLst>
      <p:ext uri="{BB962C8B-B14F-4D97-AF65-F5344CB8AC3E}">
        <p14:creationId xmlns:p14="http://schemas.microsoft.com/office/powerpoint/2010/main" val="3673232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Full Page with Title)">
    <p:spTree>
      <p:nvGrpSpPr>
        <p:cNvPr id="1" name=""/>
        <p:cNvGrpSpPr/>
        <p:nvPr/>
      </p:nvGrpSpPr>
      <p:grpSpPr>
        <a:xfrm>
          <a:off x="0" y="0"/>
          <a:ext cx="0" cy="0"/>
          <a:chOff x="0" y="0"/>
          <a:chExt cx="0" cy="0"/>
        </a:xfrm>
      </p:grpSpPr>
      <p:sp>
        <p:nvSpPr>
          <p:cNvPr id="5" name="Bildplatzhalter 9">
            <a:extLst>
              <a:ext uri="{FF2B5EF4-FFF2-40B4-BE49-F238E27FC236}">
                <a16:creationId xmlns:a16="http://schemas.microsoft.com/office/drawing/2014/main" id="{3B7D66EC-23CE-49DB-9CC7-D06F6774AD5C}"/>
              </a:ext>
            </a:extLst>
          </p:cNvPr>
          <p:cNvSpPr>
            <a:spLocks noGrp="1"/>
          </p:cNvSpPr>
          <p:nvPr>
            <p:ph type="pic" sz="quarter" idx="13"/>
          </p:nvPr>
        </p:nvSpPr>
        <p:spPr bwMode="gray">
          <a:xfrm>
            <a:off x="0" y="0"/>
            <a:ext cx="12192000" cy="6858000"/>
          </a:xfrm>
          <a:solidFill>
            <a:schemeClr val="tx2"/>
          </a:solidFill>
        </p:spPr>
        <p:txBody>
          <a:bodyPr anchor="ctr" anchorCtr="0"/>
          <a:lstStyle>
            <a:lvl1pPr marL="0" indent="0" algn="ctr">
              <a:buNone/>
              <a:defRPr sz="1200"/>
            </a:lvl1pPr>
          </a:lstStyle>
          <a:p>
            <a:endParaRPr lang="de-DE" noProof="0" dirty="0"/>
          </a:p>
        </p:txBody>
      </p:sp>
      <p:sp>
        <p:nvSpPr>
          <p:cNvPr id="2" name="Titel 1">
            <a:extLst>
              <a:ext uri="{FF2B5EF4-FFF2-40B4-BE49-F238E27FC236}">
                <a16:creationId xmlns:a16="http://schemas.microsoft.com/office/drawing/2014/main" id="{3BF2A21A-4B12-488D-97CE-46F524B8679F}"/>
              </a:ext>
            </a:extLst>
          </p:cNvPr>
          <p:cNvSpPr>
            <a:spLocks noGrp="1"/>
          </p:cNvSpPr>
          <p:nvPr>
            <p:ph type="title"/>
          </p:nvPr>
        </p:nvSpPr>
        <p:spPr/>
        <p:txBody>
          <a:bodyPr/>
          <a:lstStyle/>
          <a:p>
            <a:r>
              <a:rPr lang="de-DE"/>
              <a:t>Mastertitelformat bearbeiten</a:t>
            </a:r>
          </a:p>
        </p:txBody>
      </p:sp>
      <p:sp>
        <p:nvSpPr>
          <p:cNvPr id="6" name="Textplatzhalter 2">
            <a:extLst>
              <a:ext uri="{FF2B5EF4-FFF2-40B4-BE49-F238E27FC236}">
                <a16:creationId xmlns:a16="http://schemas.microsoft.com/office/drawing/2014/main" id="{9E87549C-5A4A-4E08-BFE2-2BAF53509D56}"/>
              </a:ext>
            </a:extLst>
          </p:cNvPr>
          <p:cNvSpPr>
            <a:spLocks noGrp="1"/>
          </p:cNvSpPr>
          <p:nvPr>
            <p:ph type="body" sz="quarter" idx="14" hasCustomPrompt="1"/>
          </p:nvPr>
        </p:nvSpPr>
        <p:spPr>
          <a:xfrm>
            <a:off x="407988" y="6453336"/>
            <a:ext cx="9792468" cy="182116"/>
          </a:xfrm>
        </p:spPr>
        <p:txBody>
          <a:bodyPr tIns="0" anchor="b"/>
          <a:lstStyle>
            <a:lvl1pPr marL="0" indent="0">
              <a:lnSpc>
                <a:spcPct val="100000"/>
              </a:lnSpc>
              <a:spcBef>
                <a:spcPts val="0"/>
              </a:spcBef>
              <a:buNone/>
              <a:defRPr sz="800"/>
            </a:lvl1pPr>
          </a:lstStyle>
          <a:p>
            <a:pPr lvl="0"/>
            <a:r>
              <a:rPr lang="de-DE" dirty="0"/>
              <a:t>Bildnachweis</a:t>
            </a:r>
          </a:p>
        </p:txBody>
      </p:sp>
    </p:spTree>
    <p:extLst>
      <p:ext uri="{BB962C8B-B14F-4D97-AF65-F5344CB8AC3E}">
        <p14:creationId xmlns:p14="http://schemas.microsoft.com/office/powerpoint/2010/main" val="36027859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Full Page with Box)">
    <p:spTree>
      <p:nvGrpSpPr>
        <p:cNvPr id="1" name=""/>
        <p:cNvGrpSpPr/>
        <p:nvPr/>
      </p:nvGrpSpPr>
      <p:grpSpPr>
        <a:xfrm>
          <a:off x="0" y="0"/>
          <a:ext cx="0" cy="0"/>
          <a:chOff x="0" y="0"/>
          <a:chExt cx="0" cy="0"/>
        </a:xfrm>
      </p:grpSpPr>
      <p:sp>
        <p:nvSpPr>
          <p:cNvPr id="5" name="Bildplatzhalter 9">
            <a:extLst>
              <a:ext uri="{FF2B5EF4-FFF2-40B4-BE49-F238E27FC236}">
                <a16:creationId xmlns:a16="http://schemas.microsoft.com/office/drawing/2014/main" id="{3B7D66EC-23CE-49DB-9CC7-D06F6774AD5C}"/>
              </a:ext>
            </a:extLst>
          </p:cNvPr>
          <p:cNvSpPr>
            <a:spLocks noGrp="1"/>
          </p:cNvSpPr>
          <p:nvPr>
            <p:ph type="pic" sz="quarter" idx="13"/>
          </p:nvPr>
        </p:nvSpPr>
        <p:spPr bwMode="gray">
          <a:xfrm>
            <a:off x="0" y="0"/>
            <a:ext cx="12192000" cy="6858000"/>
          </a:xfrm>
          <a:solidFill>
            <a:schemeClr val="tx2"/>
          </a:solidFill>
        </p:spPr>
        <p:txBody>
          <a:bodyPr anchor="ctr" anchorCtr="0"/>
          <a:lstStyle>
            <a:lvl1pPr marL="0" indent="0" algn="ctr">
              <a:buNone/>
              <a:defRPr sz="1200"/>
            </a:lvl1pPr>
          </a:lstStyle>
          <a:p>
            <a:endParaRPr lang="de-DE" noProof="0" dirty="0"/>
          </a:p>
        </p:txBody>
      </p:sp>
      <p:sp>
        <p:nvSpPr>
          <p:cNvPr id="4" name="Textplatzhalter 8">
            <a:extLst>
              <a:ext uri="{FF2B5EF4-FFF2-40B4-BE49-F238E27FC236}">
                <a16:creationId xmlns:a16="http://schemas.microsoft.com/office/drawing/2014/main" id="{864AEA59-5EC5-476A-938E-4B2D80EE9F64}"/>
              </a:ext>
            </a:extLst>
          </p:cNvPr>
          <p:cNvSpPr>
            <a:spLocks noGrp="1"/>
          </p:cNvSpPr>
          <p:nvPr>
            <p:ph type="body" sz="quarter" idx="14"/>
          </p:nvPr>
        </p:nvSpPr>
        <p:spPr>
          <a:xfrm>
            <a:off x="7105200" y="3093009"/>
            <a:ext cx="5086800" cy="1416111"/>
          </a:xfrm>
          <a:prstGeom prst="rect">
            <a:avLst/>
          </a:prstGeom>
          <a:solidFill>
            <a:schemeClr val="bg1"/>
          </a:solidFill>
        </p:spPr>
        <p:txBody>
          <a:bodyPr lIns="216000" tIns="216000" rIns="396000" bIns="144000" anchor="b" anchorCtr="0">
            <a:spAutoFit/>
          </a:bodyPr>
          <a:lstStyle>
            <a:lvl1pPr marL="0" indent="0" algn="r">
              <a:spcBef>
                <a:spcPts val="0"/>
              </a:spcBef>
              <a:buNone/>
              <a:defRPr sz="3800">
                <a:solidFill>
                  <a:schemeClr val="accent2"/>
                </a:solidFill>
              </a:defRPr>
            </a:lvl1pPr>
          </a:lstStyle>
          <a:p>
            <a:pPr lvl="0"/>
            <a:r>
              <a:rPr lang="de-DE" dirty="0"/>
              <a:t>Mastertextformat bearbeiten</a:t>
            </a:r>
          </a:p>
        </p:txBody>
      </p:sp>
      <p:sp>
        <p:nvSpPr>
          <p:cNvPr id="7" name="Textplatzhalter 2">
            <a:extLst>
              <a:ext uri="{FF2B5EF4-FFF2-40B4-BE49-F238E27FC236}">
                <a16:creationId xmlns:a16="http://schemas.microsoft.com/office/drawing/2014/main" id="{490EBF41-C6BB-48DD-B454-AA22E41248A3}"/>
              </a:ext>
            </a:extLst>
          </p:cNvPr>
          <p:cNvSpPr>
            <a:spLocks noGrp="1"/>
          </p:cNvSpPr>
          <p:nvPr>
            <p:ph type="body" sz="quarter" idx="15" hasCustomPrompt="1"/>
          </p:nvPr>
        </p:nvSpPr>
        <p:spPr>
          <a:xfrm>
            <a:off x="407988" y="6453336"/>
            <a:ext cx="9792468" cy="182116"/>
          </a:xfrm>
        </p:spPr>
        <p:txBody>
          <a:bodyPr tIns="0" anchor="b"/>
          <a:lstStyle>
            <a:lvl1pPr marL="0" indent="0">
              <a:lnSpc>
                <a:spcPct val="100000"/>
              </a:lnSpc>
              <a:spcBef>
                <a:spcPts val="0"/>
              </a:spcBef>
              <a:buNone/>
              <a:defRPr sz="800"/>
            </a:lvl1pPr>
          </a:lstStyle>
          <a:p>
            <a:pPr lvl="0"/>
            <a:r>
              <a:rPr lang="de-DE" dirty="0"/>
              <a:t>Bildnachweis</a:t>
            </a:r>
          </a:p>
        </p:txBody>
      </p:sp>
    </p:spTree>
    <p:extLst>
      <p:ext uri="{BB962C8B-B14F-4D97-AF65-F5344CB8AC3E}">
        <p14:creationId xmlns:p14="http://schemas.microsoft.com/office/powerpoint/2010/main" val="27898161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with Headline and Text)">
    <p:spTree>
      <p:nvGrpSpPr>
        <p:cNvPr id="1" name=""/>
        <p:cNvGrpSpPr/>
        <p:nvPr/>
      </p:nvGrpSpPr>
      <p:grpSpPr>
        <a:xfrm>
          <a:off x="0" y="0"/>
          <a:ext cx="0" cy="0"/>
          <a:chOff x="0" y="0"/>
          <a:chExt cx="0" cy="0"/>
        </a:xfrm>
      </p:grpSpPr>
      <p:sp>
        <p:nvSpPr>
          <p:cNvPr id="7" name="Bildplatzhalter 9">
            <a:extLst>
              <a:ext uri="{FF2B5EF4-FFF2-40B4-BE49-F238E27FC236}">
                <a16:creationId xmlns:a16="http://schemas.microsoft.com/office/drawing/2014/main" id="{58293D0E-B23B-408B-B931-B875A6402B92}"/>
              </a:ext>
            </a:extLst>
          </p:cNvPr>
          <p:cNvSpPr>
            <a:spLocks noGrp="1"/>
          </p:cNvSpPr>
          <p:nvPr>
            <p:ph type="pic" sz="quarter" idx="13"/>
          </p:nvPr>
        </p:nvSpPr>
        <p:spPr bwMode="gray">
          <a:xfrm>
            <a:off x="407988" y="1268413"/>
            <a:ext cx="11784012" cy="3047150"/>
          </a:xfrm>
          <a:solidFill>
            <a:schemeClr val="tx2"/>
          </a:solidFill>
        </p:spPr>
        <p:txBody>
          <a:bodyPr anchor="ctr" anchorCtr="0"/>
          <a:lstStyle>
            <a:lvl1pPr marL="0" indent="0" algn="ctr">
              <a:buNone/>
              <a:defRPr sz="1200"/>
            </a:lvl1pPr>
          </a:lstStyle>
          <a:p>
            <a:endParaRPr lang="de-DE" noProof="0" dirty="0"/>
          </a:p>
        </p:txBody>
      </p:sp>
      <p:sp>
        <p:nvSpPr>
          <p:cNvPr id="2" name="Titel 1"/>
          <p:cNvSpPr>
            <a:spLocks noGrp="1"/>
          </p:cNvSpPr>
          <p:nvPr>
            <p:ph type="title"/>
          </p:nvPr>
        </p:nvSpPr>
        <p:spPr bwMode="gray"/>
        <p:txBody>
          <a:bodyPr/>
          <a:lstStyle/>
          <a:p>
            <a:r>
              <a:rPr lang="de-DE" noProof="0" dirty="0"/>
              <a:t>Titelmasterformat durch Klicken bearbeiten</a:t>
            </a:r>
          </a:p>
        </p:txBody>
      </p:sp>
      <p:sp>
        <p:nvSpPr>
          <p:cNvPr id="9" name="Datumsplatzhalter 8">
            <a:extLst>
              <a:ext uri="{FF2B5EF4-FFF2-40B4-BE49-F238E27FC236}">
                <a16:creationId xmlns:a16="http://schemas.microsoft.com/office/drawing/2014/main" id="{3F1EF47C-B115-4B4E-9BC3-B6E31FF52F7E}"/>
              </a:ext>
            </a:extLst>
          </p:cNvPr>
          <p:cNvSpPr>
            <a:spLocks noGrp="1"/>
          </p:cNvSpPr>
          <p:nvPr>
            <p:ph type="dt" sz="half" idx="10"/>
          </p:nvPr>
        </p:nvSpPr>
        <p:spPr/>
        <p:txBody>
          <a:bodyPr/>
          <a:lstStyle/>
          <a:p>
            <a:r>
              <a:rPr lang="en-US"/>
              <a:t>September 2025</a:t>
            </a:r>
            <a:endParaRPr lang="de-DE" dirty="0"/>
          </a:p>
        </p:txBody>
      </p:sp>
      <p:sp>
        <p:nvSpPr>
          <p:cNvPr id="10" name="Fußzeilenplatzhalter 9">
            <a:extLst>
              <a:ext uri="{FF2B5EF4-FFF2-40B4-BE49-F238E27FC236}">
                <a16:creationId xmlns:a16="http://schemas.microsoft.com/office/drawing/2014/main" id="{907E0C27-94D6-4F50-B9CD-68ACD116B0E2}"/>
              </a:ext>
            </a:extLst>
          </p:cNvPr>
          <p:cNvSpPr>
            <a:spLocks noGrp="1"/>
          </p:cNvSpPr>
          <p:nvPr>
            <p:ph type="ftr" sz="quarter" idx="11"/>
          </p:nvPr>
        </p:nvSpPr>
        <p:spPr/>
        <p:txBody>
          <a:bodyPr/>
          <a:lstStyle/>
          <a:p>
            <a:r>
              <a:rPr lang="en-US"/>
              <a:t>Achieving robust textures with PTFE-free additives</a:t>
            </a:r>
            <a:endParaRPr lang="de-DE" dirty="0"/>
          </a:p>
        </p:txBody>
      </p:sp>
      <p:sp>
        <p:nvSpPr>
          <p:cNvPr id="11" name="Foliennummernplatzhalter 10">
            <a:extLst>
              <a:ext uri="{FF2B5EF4-FFF2-40B4-BE49-F238E27FC236}">
                <a16:creationId xmlns:a16="http://schemas.microsoft.com/office/drawing/2014/main" id="{7907FFD9-4D2E-4C9A-9F78-268BC23D4322}"/>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14" name="Inhaltsplatzhalter 13">
            <a:extLst>
              <a:ext uri="{FF2B5EF4-FFF2-40B4-BE49-F238E27FC236}">
                <a16:creationId xmlns:a16="http://schemas.microsoft.com/office/drawing/2014/main" id="{F45AA15F-2290-4E16-BD27-4265084331CC}"/>
              </a:ext>
            </a:extLst>
          </p:cNvPr>
          <p:cNvSpPr>
            <a:spLocks noGrp="1"/>
          </p:cNvSpPr>
          <p:nvPr>
            <p:ph idx="1"/>
          </p:nvPr>
        </p:nvSpPr>
        <p:spPr bwMode="gray">
          <a:xfrm>
            <a:off x="407989" y="4315563"/>
            <a:ext cx="11784012" cy="1993162"/>
          </a:xfrm>
          <a:custGeom>
            <a:avLst/>
            <a:gdLst>
              <a:gd name="connsiteX0" fmla="*/ 0 w 11784011"/>
              <a:gd name="connsiteY0" fmla="*/ 0 h 1993162"/>
              <a:gd name="connsiteX1" fmla="*/ 11784011 w 11784011"/>
              <a:gd name="connsiteY1" fmla="*/ 0 h 1993162"/>
              <a:gd name="connsiteX2" fmla="*/ 11784011 w 11784011"/>
              <a:gd name="connsiteY2" fmla="*/ 1993162 h 1993162"/>
              <a:gd name="connsiteX3" fmla="*/ 6696123 w 11784011"/>
              <a:gd name="connsiteY3" fmla="*/ 1993162 h 1993162"/>
              <a:gd name="connsiteX4" fmla="*/ 6696123 w 11784011"/>
              <a:gd name="connsiteY4" fmla="*/ 1993153 h 1993162"/>
              <a:gd name="connsiteX5" fmla="*/ 196621 w 11784011"/>
              <a:gd name="connsiteY5" fmla="*/ 1993153 h 1993162"/>
              <a:gd name="connsiteX6" fmla="*/ 15450 w 11784011"/>
              <a:gd name="connsiteY6" fmla="*/ 1873065 h 1993162"/>
              <a:gd name="connsiteX7" fmla="*/ 0 w 11784011"/>
              <a:gd name="connsiteY7" fmla="*/ 1796540 h 199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4011" h="1993162">
                <a:moveTo>
                  <a:pt x="0" y="0"/>
                </a:moveTo>
                <a:lnTo>
                  <a:pt x="11784011" y="0"/>
                </a:lnTo>
                <a:lnTo>
                  <a:pt x="11784011" y="1993162"/>
                </a:lnTo>
                <a:lnTo>
                  <a:pt x="6696123" y="1993162"/>
                </a:lnTo>
                <a:lnTo>
                  <a:pt x="6696123" y="1993153"/>
                </a:lnTo>
                <a:lnTo>
                  <a:pt x="196621" y="1993153"/>
                </a:lnTo>
                <a:cubicBezTo>
                  <a:pt x="115177" y="1993153"/>
                  <a:pt x="45299" y="1943636"/>
                  <a:pt x="15450" y="1873065"/>
                </a:cubicBezTo>
                <a:lnTo>
                  <a:pt x="0" y="1796540"/>
                </a:lnTo>
                <a:close/>
              </a:path>
            </a:pathLst>
          </a:custGeom>
          <a:solidFill>
            <a:schemeClr val="accent2"/>
          </a:solidFill>
        </p:spPr>
        <p:txBody>
          <a:bodyPr wrap="square" lIns="360000" tIns="288000" rIns="406800" bIns="324000" anchor="t" anchorCtr="0">
            <a:no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7168574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Pics">
    <p:spTree>
      <p:nvGrpSpPr>
        <p:cNvPr id="1" name=""/>
        <p:cNvGrpSpPr/>
        <p:nvPr/>
      </p:nvGrpSpPr>
      <p:grpSpPr>
        <a:xfrm>
          <a:off x="0" y="0"/>
          <a:ext cx="0" cy="0"/>
          <a:chOff x="0" y="0"/>
          <a:chExt cx="0" cy="0"/>
        </a:xfrm>
      </p:grpSpPr>
      <p:sp>
        <p:nvSpPr>
          <p:cNvPr id="10" name="Bildplatzhalter 9"/>
          <p:cNvSpPr>
            <a:spLocks noGrp="1"/>
          </p:cNvSpPr>
          <p:nvPr>
            <p:ph type="pic" sz="quarter" idx="10"/>
          </p:nvPr>
        </p:nvSpPr>
        <p:spPr bwMode="gray">
          <a:xfrm>
            <a:off x="407988" y="1268414"/>
            <a:ext cx="5616575" cy="2447925"/>
          </a:xfrm>
          <a:solidFill>
            <a:schemeClr val="tx2"/>
          </a:solidFill>
        </p:spPr>
        <p:txBody>
          <a:bodyPr anchor="ctr" anchorCtr="0"/>
          <a:lstStyle>
            <a:lvl1pPr marL="0" indent="0" algn="ctr">
              <a:buNone/>
              <a:defRPr sz="1200"/>
            </a:lvl1pPr>
          </a:lstStyle>
          <a:p>
            <a:endParaRPr lang="de-DE" noProof="0" dirty="0"/>
          </a:p>
        </p:txBody>
      </p:sp>
      <p:sp>
        <p:nvSpPr>
          <p:cNvPr id="11" name="Bildplatzhalter 9"/>
          <p:cNvSpPr>
            <a:spLocks noGrp="1"/>
          </p:cNvSpPr>
          <p:nvPr>
            <p:ph type="pic" sz="quarter" idx="11"/>
          </p:nvPr>
        </p:nvSpPr>
        <p:spPr bwMode="gray">
          <a:xfrm>
            <a:off x="6167438" y="1268413"/>
            <a:ext cx="5617194" cy="2447925"/>
          </a:xfrm>
          <a:solidFill>
            <a:schemeClr val="tx2"/>
          </a:solidFill>
        </p:spPr>
        <p:txBody>
          <a:bodyPr anchor="ctr" anchorCtr="0"/>
          <a:lstStyle>
            <a:lvl1pPr marL="0" indent="0" algn="ctr">
              <a:buNone/>
              <a:defRPr sz="1200"/>
            </a:lvl1pPr>
          </a:lstStyle>
          <a:p>
            <a:endParaRPr lang="de-DE" noProof="0" dirty="0"/>
          </a:p>
        </p:txBody>
      </p:sp>
      <p:sp>
        <p:nvSpPr>
          <p:cNvPr id="12" name="Bildplatzhalter 9"/>
          <p:cNvSpPr>
            <a:spLocks noGrp="1"/>
          </p:cNvSpPr>
          <p:nvPr>
            <p:ph type="pic" sz="quarter" idx="12"/>
          </p:nvPr>
        </p:nvSpPr>
        <p:spPr bwMode="gray">
          <a:xfrm>
            <a:off x="407988" y="3860800"/>
            <a:ext cx="5616575" cy="2447925"/>
          </a:xfrm>
          <a:solidFill>
            <a:schemeClr val="tx2"/>
          </a:solidFill>
        </p:spPr>
        <p:txBody>
          <a:bodyPr anchor="ctr" anchorCtr="0"/>
          <a:lstStyle>
            <a:lvl1pPr marL="0" indent="0" algn="ctr">
              <a:buNone/>
              <a:defRPr sz="1200"/>
            </a:lvl1pPr>
          </a:lstStyle>
          <a:p>
            <a:endParaRPr lang="de-DE" noProof="0" dirty="0"/>
          </a:p>
        </p:txBody>
      </p:sp>
      <p:sp>
        <p:nvSpPr>
          <p:cNvPr id="13" name="Bildplatzhalter 9"/>
          <p:cNvSpPr>
            <a:spLocks noGrp="1"/>
          </p:cNvSpPr>
          <p:nvPr>
            <p:ph type="pic" sz="quarter" idx="13"/>
          </p:nvPr>
        </p:nvSpPr>
        <p:spPr bwMode="gray">
          <a:xfrm>
            <a:off x="6167438" y="3860799"/>
            <a:ext cx="5617194" cy="2447925"/>
          </a:xfrm>
          <a:solidFill>
            <a:schemeClr val="tx2"/>
          </a:solidFill>
        </p:spPr>
        <p:txBody>
          <a:bodyPr anchor="ctr" anchorCtr="0"/>
          <a:lstStyle>
            <a:lvl1pPr marL="0" indent="0" algn="ctr">
              <a:buNone/>
              <a:defRPr sz="1200"/>
            </a:lvl1pPr>
          </a:lstStyle>
          <a:p>
            <a:endParaRPr lang="de-DE" noProof="0" dirty="0"/>
          </a:p>
        </p:txBody>
      </p:sp>
      <p:sp>
        <p:nvSpPr>
          <p:cNvPr id="2" name="Titel 1"/>
          <p:cNvSpPr>
            <a:spLocks noGrp="1"/>
          </p:cNvSpPr>
          <p:nvPr>
            <p:ph type="title"/>
          </p:nvPr>
        </p:nvSpPr>
        <p:spPr bwMode="gray"/>
        <p:txBody>
          <a:bodyPr/>
          <a:lstStyle/>
          <a:p>
            <a:r>
              <a:rPr lang="de-DE" noProof="0" dirty="0"/>
              <a:t>Titelmasterformat durch Klicken bearbeiten</a:t>
            </a:r>
          </a:p>
        </p:txBody>
      </p:sp>
      <p:sp>
        <p:nvSpPr>
          <p:cNvPr id="6" name="Datumsplatzhalter 5">
            <a:extLst>
              <a:ext uri="{FF2B5EF4-FFF2-40B4-BE49-F238E27FC236}">
                <a16:creationId xmlns:a16="http://schemas.microsoft.com/office/drawing/2014/main" id="{832E130E-4BB7-4629-B0FB-4E45C18EDDAB}"/>
              </a:ext>
            </a:extLst>
          </p:cNvPr>
          <p:cNvSpPr>
            <a:spLocks noGrp="1"/>
          </p:cNvSpPr>
          <p:nvPr>
            <p:ph type="dt" sz="half" idx="14"/>
          </p:nvPr>
        </p:nvSpPr>
        <p:spPr/>
        <p:txBody>
          <a:bodyPr/>
          <a:lstStyle/>
          <a:p>
            <a:r>
              <a:rPr lang="en-US"/>
              <a:t>September 2025</a:t>
            </a:r>
            <a:endParaRPr lang="de-DE" dirty="0"/>
          </a:p>
        </p:txBody>
      </p:sp>
      <p:sp>
        <p:nvSpPr>
          <p:cNvPr id="7" name="Fußzeilenplatzhalter 6">
            <a:extLst>
              <a:ext uri="{FF2B5EF4-FFF2-40B4-BE49-F238E27FC236}">
                <a16:creationId xmlns:a16="http://schemas.microsoft.com/office/drawing/2014/main" id="{C9646FC4-4A90-4FAB-9798-D9671BE17B39}"/>
              </a:ext>
            </a:extLst>
          </p:cNvPr>
          <p:cNvSpPr>
            <a:spLocks noGrp="1"/>
          </p:cNvSpPr>
          <p:nvPr>
            <p:ph type="ftr" sz="quarter" idx="15"/>
          </p:nvPr>
        </p:nvSpPr>
        <p:spPr/>
        <p:txBody>
          <a:bodyPr/>
          <a:lstStyle/>
          <a:p>
            <a:r>
              <a:rPr lang="en-US"/>
              <a:t>Achieving robust textures with PTFE-free additives</a:t>
            </a:r>
            <a:endParaRPr lang="de-DE" dirty="0"/>
          </a:p>
        </p:txBody>
      </p:sp>
      <p:sp>
        <p:nvSpPr>
          <p:cNvPr id="8" name="Foliennummernplatzhalter 7">
            <a:extLst>
              <a:ext uri="{FF2B5EF4-FFF2-40B4-BE49-F238E27FC236}">
                <a16:creationId xmlns:a16="http://schemas.microsoft.com/office/drawing/2014/main" id="{69A946F5-9D98-4403-B056-C6B7DE20E4FD}"/>
              </a:ext>
            </a:extLst>
          </p:cNvPr>
          <p:cNvSpPr>
            <a:spLocks noGrp="1"/>
          </p:cNvSpPr>
          <p:nvPr>
            <p:ph type="sldNum" sz="quarter" idx="16"/>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6472473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Pics with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584490-FD90-4FFB-8AD5-1CF3CD6E26A6}"/>
              </a:ext>
            </a:extLst>
          </p:cNvPr>
          <p:cNvSpPr>
            <a:spLocks noGrp="1"/>
          </p:cNvSpPr>
          <p:nvPr>
            <p:ph type="title"/>
          </p:nvPr>
        </p:nvSpPr>
        <p:spPr/>
        <p:txBody>
          <a:bodyPr/>
          <a:lstStyle/>
          <a:p>
            <a:r>
              <a:rPr lang="de-DE"/>
              <a:t>Mastertitelformat bearbeiten</a:t>
            </a:r>
          </a:p>
        </p:txBody>
      </p:sp>
      <p:sp>
        <p:nvSpPr>
          <p:cNvPr id="6" name="Bildplatzhalter 9">
            <a:extLst>
              <a:ext uri="{FF2B5EF4-FFF2-40B4-BE49-F238E27FC236}">
                <a16:creationId xmlns:a16="http://schemas.microsoft.com/office/drawing/2014/main" id="{839FB221-DFEE-4BE5-B265-5444F6BDD490}"/>
              </a:ext>
            </a:extLst>
          </p:cNvPr>
          <p:cNvSpPr>
            <a:spLocks noGrp="1"/>
          </p:cNvSpPr>
          <p:nvPr>
            <p:ph type="pic" sz="quarter" idx="13"/>
          </p:nvPr>
        </p:nvSpPr>
        <p:spPr bwMode="gray">
          <a:xfrm>
            <a:off x="407990" y="1268414"/>
            <a:ext cx="5616574" cy="2447925"/>
          </a:xfrm>
          <a:solidFill>
            <a:schemeClr val="tx2"/>
          </a:solidFill>
        </p:spPr>
        <p:txBody>
          <a:bodyPr anchor="ctr" anchorCtr="0"/>
          <a:lstStyle>
            <a:lvl1pPr marL="0" indent="0" algn="ctr">
              <a:buNone/>
              <a:defRPr sz="1200"/>
            </a:lvl1pPr>
          </a:lstStyle>
          <a:p>
            <a:endParaRPr lang="en-GB" noProof="0" dirty="0"/>
          </a:p>
        </p:txBody>
      </p:sp>
      <p:sp>
        <p:nvSpPr>
          <p:cNvPr id="7" name="Bildplatzhalter 9">
            <a:extLst>
              <a:ext uri="{FF2B5EF4-FFF2-40B4-BE49-F238E27FC236}">
                <a16:creationId xmlns:a16="http://schemas.microsoft.com/office/drawing/2014/main" id="{1C46E8BB-AC26-4653-BA51-17D8F3D64B2E}"/>
              </a:ext>
            </a:extLst>
          </p:cNvPr>
          <p:cNvSpPr>
            <a:spLocks noGrp="1"/>
          </p:cNvSpPr>
          <p:nvPr>
            <p:ph type="pic" sz="quarter" idx="14"/>
          </p:nvPr>
        </p:nvSpPr>
        <p:spPr bwMode="gray">
          <a:xfrm>
            <a:off x="6167438" y="1268413"/>
            <a:ext cx="5617194" cy="2447925"/>
          </a:xfrm>
          <a:solidFill>
            <a:schemeClr val="tx2"/>
          </a:solidFill>
        </p:spPr>
        <p:txBody>
          <a:bodyPr anchor="ctr" anchorCtr="0"/>
          <a:lstStyle>
            <a:lvl1pPr marL="0" indent="0" algn="ctr">
              <a:buNone/>
              <a:defRPr sz="1200"/>
            </a:lvl1pPr>
          </a:lstStyle>
          <a:p>
            <a:endParaRPr lang="en-GB" noProof="0" dirty="0"/>
          </a:p>
        </p:txBody>
      </p:sp>
      <p:sp>
        <p:nvSpPr>
          <p:cNvPr id="8" name="Inhaltsplatzhalter 2">
            <a:extLst>
              <a:ext uri="{FF2B5EF4-FFF2-40B4-BE49-F238E27FC236}">
                <a16:creationId xmlns:a16="http://schemas.microsoft.com/office/drawing/2014/main" id="{60902D80-82AC-43A4-86DA-BFCBBE838F1E}"/>
              </a:ext>
            </a:extLst>
          </p:cNvPr>
          <p:cNvSpPr>
            <a:spLocks noGrp="1"/>
          </p:cNvSpPr>
          <p:nvPr>
            <p:ph idx="1"/>
          </p:nvPr>
        </p:nvSpPr>
        <p:spPr bwMode="gray">
          <a:xfrm>
            <a:off x="407988" y="3804279"/>
            <a:ext cx="5616575" cy="2504445"/>
          </a:xfrm>
        </p:spPr>
        <p:txBody>
          <a:bodyPr tIns="36000"/>
          <a:lstStyle>
            <a:lvl1pPr marL="179388" indent="-179388">
              <a:spcBef>
                <a:spcPts val="400"/>
              </a:spcBef>
              <a:tabLst>
                <a:tab pos="179388" algn="l"/>
              </a:tabLst>
              <a:defRPr sz="1400"/>
            </a:lvl1pPr>
            <a:lvl2pPr marL="358775" indent="-179388">
              <a:spcBef>
                <a:spcPts val="400"/>
              </a:spcBef>
              <a:defRPr sz="1400"/>
            </a:lvl2pPr>
            <a:lvl3pPr marL="538163" indent="-179388">
              <a:spcBef>
                <a:spcPts val="400"/>
              </a:spcBef>
              <a:defRPr sz="1400"/>
            </a:lvl3pPr>
            <a:lvl4pPr marL="717550" indent="-179388">
              <a:spcBef>
                <a:spcPts val="400"/>
              </a:spcBef>
              <a:defRPr sz="1400"/>
            </a:lvl4pPr>
            <a:lvl5pPr marL="896938" indent="-179388">
              <a:spcBef>
                <a:spcPts val="400"/>
              </a:spcBef>
              <a:defRPr sz="1400"/>
            </a:lvl5p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9" name="Inhaltsplatzhalter 2">
            <a:extLst>
              <a:ext uri="{FF2B5EF4-FFF2-40B4-BE49-F238E27FC236}">
                <a16:creationId xmlns:a16="http://schemas.microsoft.com/office/drawing/2014/main" id="{77FF63B3-90CE-4273-A230-4E5C3C20536B}"/>
              </a:ext>
            </a:extLst>
          </p:cNvPr>
          <p:cNvSpPr>
            <a:spLocks noGrp="1"/>
          </p:cNvSpPr>
          <p:nvPr>
            <p:ph idx="17"/>
          </p:nvPr>
        </p:nvSpPr>
        <p:spPr bwMode="gray">
          <a:xfrm>
            <a:off x="6170345" y="3804279"/>
            <a:ext cx="5613668" cy="2504445"/>
          </a:xfrm>
        </p:spPr>
        <p:txBody>
          <a:bodyPr tIns="36000"/>
          <a:lstStyle>
            <a:lvl1pPr marL="179388" indent="-179388">
              <a:spcBef>
                <a:spcPts val="400"/>
              </a:spcBef>
              <a:tabLst>
                <a:tab pos="179388" algn="l"/>
              </a:tabLst>
              <a:defRPr sz="1400"/>
            </a:lvl1pPr>
            <a:lvl2pPr marL="358775" indent="-179388">
              <a:spcBef>
                <a:spcPts val="400"/>
              </a:spcBef>
              <a:defRPr sz="1400"/>
            </a:lvl2pPr>
            <a:lvl3pPr marL="538163" indent="-179388">
              <a:spcBef>
                <a:spcPts val="400"/>
              </a:spcBef>
              <a:defRPr sz="1400"/>
            </a:lvl3pPr>
            <a:lvl4pPr marL="717550" indent="-179388">
              <a:spcBef>
                <a:spcPts val="400"/>
              </a:spcBef>
              <a:defRPr sz="1400"/>
            </a:lvl4pPr>
            <a:lvl5pPr marL="896938" indent="-179388">
              <a:spcBef>
                <a:spcPts val="400"/>
              </a:spcBef>
              <a:defRPr sz="1400"/>
            </a:lvl5p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11" name="Datumsplatzhalter 10">
            <a:extLst>
              <a:ext uri="{FF2B5EF4-FFF2-40B4-BE49-F238E27FC236}">
                <a16:creationId xmlns:a16="http://schemas.microsoft.com/office/drawing/2014/main" id="{2D4A3339-736E-4CE4-9865-FDD9F45C0B56}"/>
              </a:ext>
            </a:extLst>
          </p:cNvPr>
          <p:cNvSpPr>
            <a:spLocks noGrp="1"/>
          </p:cNvSpPr>
          <p:nvPr>
            <p:ph type="dt" sz="half" idx="18"/>
          </p:nvPr>
        </p:nvSpPr>
        <p:spPr/>
        <p:txBody>
          <a:bodyPr/>
          <a:lstStyle/>
          <a:p>
            <a:r>
              <a:rPr lang="en-US"/>
              <a:t>September 2025</a:t>
            </a:r>
            <a:endParaRPr lang="de-DE" dirty="0"/>
          </a:p>
        </p:txBody>
      </p:sp>
      <p:sp>
        <p:nvSpPr>
          <p:cNvPr id="12" name="Fußzeilenplatzhalter 11">
            <a:extLst>
              <a:ext uri="{FF2B5EF4-FFF2-40B4-BE49-F238E27FC236}">
                <a16:creationId xmlns:a16="http://schemas.microsoft.com/office/drawing/2014/main" id="{8F845AD0-74B9-446D-85B6-67DDA330B87B}"/>
              </a:ext>
            </a:extLst>
          </p:cNvPr>
          <p:cNvSpPr>
            <a:spLocks noGrp="1"/>
          </p:cNvSpPr>
          <p:nvPr>
            <p:ph type="ftr" sz="quarter" idx="19"/>
          </p:nvPr>
        </p:nvSpPr>
        <p:spPr/>
        <p:txBody>
          <a:bodyPr/>
          <a:lstStyle/>
          <a:p>
            <a:r>
              <a:rPr lang="en-US"/>
              <a:t>Achieving robust textures with PTFE-free additives</a:t>
            </a:r>
            <a:endParaRPr lang="de-DE" dirty="0"/>
          </a:p>
        </p:txBody>
      </p:sp>
      <p:sp>
        <p:nvSpPr>
          <p:cNvPr id="13" name="Foliennummernplatzhalter 12">
            <a:extLst>
              <a:ext uri="{FF2B5EF4-FFF2-40B4-BE49-F238E27FC236}">
                <a16:creationId xmlns:a16="http://schemas.microsoft.com/office/drawing/2014/main" id="{39294C23-E601-464A-A92F-1C23D45E4DF4}"/>
              </a:ext>
            </a:extLst>
          </p:cNvPr>
          <p:cNvSpPr>
            <a:spLocks noGrp="1"/>
          </p:cNvSpPr>
          <p:nvPr>
            <p:ph type="sldNum" sz="quarter" idx="20"/>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41114584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Pics (grey) with text">
    <p:spTree>
      <p:nvGrpSpPr>
        <p:cNvPr id="1" name=""/>
        <p:cNvGrpSpPr/>
        <p:nvPr/>
      </p:nvGrpSpPr>
      <p:grpSpPr>
        <a:xfrm>
          <a:off x="0" y="0"/>
          <a:ext cx="0" cy="0"/>
          <a:chOff x="0" y="0"/>
          <a:chExt cx="0" cy="0"/>
        </a:xfrm>
      </p:grpSpPr>
      <p:sp>
        <p:nvSpPr>
          <p:cNvPr id="17" name="Textplatzhalter 16">
            <a:extLst>
              <a:ext uri="{FF2B5EF4-FFF2-40B4-BE49-F238E27FC236}">
                <a16:creationId xmlns:a16="http://schemas.microsoft.com/office/drawing/2014/main" id="{9C53CDA1-BA59-44F8-9E76-0A1E2FF445B9}"/>
              </a:ext>
            </a:extLst>
          </p:cNvPr>
          <p:cNvSpPr>
            <a:spLocks noGrp="1"/>
          </p:cNvSpPr>
          <p:nvPr>
            <p:ph type="body" sz="quarter" idx="22" hasCustomPrompt="1"/>
          </p:nvPr>
        </p:nvSpPr>
        <p:spPr bwMode="gray">
          <a:xfrm>
            <a:off x="407990" y="1268414"/>
            <a:ext cx="11784011" cy="5040311"/>
          </a:xfrm>
          <a:custGeom>
            <a:avLst/>
            <a:gdLst>
              <a:gd name="connsiteX0" fmla="*/ 0 w 11784011"/>
              <a:gd name="connsiteY0" fmla="*/ 0 h 5040311"/>
              <a:gd name="connsiteX1" fmla="*/ 6696123 w 11784011"/>
              <a:gd name="connsiteY1" fmla="*/ 0 h 5040311"/>
              <a:gd name="connsiteX2" fmla="*/ 11376021 w 11784011"/>
              <a:gd name="connsiteY2" fmla="*/ 0 h 5040311"/>
              <a:gd name="connsiteX3" fmla="*/ 11784011 w 11784011"/>
              <a:gd name="connsiteY3" fmla="*/ 0 h 5040311"/>
              <a:gd name="connsiteX4" fmla="*/ 11784011 w 11784011"/>
              <a:gd name="connsiteY4" fmla="*/ 5040311 h 5040311"/>
              <a:gd name="connsiteX5" fmla="*/ 6696123 w 11784011"/>
              <a:gd name="connsiteY5" fmla="*/ 5040311 h 5040311"/>
              <a:gd name="connsiteX6" fmla="*/ 6696123 w 11784011"/>
              <a:gd name="connsiteY6" fmla="*/ 5040303 h 5040311"/>
              <a:gd name="connsiteX7" fmla="*/ 196621 w 11784011"/>
              <a:gd name="connsiteY7" fmla="*/ 5040303 h 5040311"/>
              <a:gd name="connsiteX8" fmla="*/ 15450 w 11784011"/>
              <a:gd name="connsiteY8" fmla="*/ 4920215 h 5040311"/>
              <a:gd name="connsiteX9" fmla="*/ 0 w 11784011"/>
              <a:gd name="connsiteY9" fmla="*/ 4843690 h 50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4011" h="5040311">
                <a:moveTo>
                  <a:pt x="0" y="0"/>
                </a:moveTo>
                <a:lnTo>
                  <a:pt x="6696123" y="0"/>
                </a:lnTo>
                <a:lnTo>
                  <a:pt x="11376021" y="0"/>
                </a:lnTo>
                <a:lnTo>
                  <a:pt x="11784011" y="0"/>
                </a:lnTo>
                <a:lnTo>
                  <a:pt x="11784011" y="5040311"/>
                </a:lnTo>
                <a:lnTo>
                  <a:pt x="6696123" y="5040311"/>
                </a:lnTo>
                <a:lnTo>
                  <a:pt x="6696123" y="5040303"/>
                </a:lnTo>
                <a:lnTo>
                  <a:pt x="196621" y="5040303"/>
                </a:lnTo>
                <a:cubicBezTo>
                  <a:pt x="115177" y="5040303"/>
                  <a:pt x="45299" y="4990786"/>
                  <a:pt x="15450" y="4920215"/>
                </a:cubicBezTo>
                <a:lnTo>
                  <a:pt x="0" y="4843690"/>
                </a:lnTo>
                <a:close/>
              </a:path>
            </a:pathLst>
          </a:custGeom>
          <a:solidFill>
            <a:srgbClr val="EBEB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72000" rIns="72000" bIns="72000">
            <a:noAutofit/>
          </a:bodyPr>
          <a:lstStyle>
            <a:lvl1pPr marL="0" indent="0">
              <a:buNone/>
              <a:defRPr sz="1000"/>
            </a:lvl1pPr>
            <a:lvl2pPr>
              <a:defRPr sz="1000"/>
            </a:lvl2pPr>
            <a:lvl3pPr>
              <a:defRPr sz="1000"/>
            </a:lvl3pPr>
            <a:lvl4pPr>
              <a:defRPr sz="1000"/>
            </a:lvl4pPr>
            <a:lvl5pPr>
              <a:defRPr sz="1000"/>
            </a:lvl5pPr>
          </a:lstStyle>
          <a:p>
            <a:pPr lvl="0"/>
            <a:r>
              <a:rPr lang="de-DE" dirty="0"/>
              <a:t> </a:t>
            </a:r>
          </a:p>
        </p:txBody>
      </p:sp>
      <p:sp>
        <p:nvSpPr>
          <p:cNvPr id="2" name="Titel 1">
            <a:extLst>
              <a:ext uri="{FF2B5EF4-FFF2-40B4-BE49-F238E27FC236}">
                <a16:creationId xmlns:a16="http://schemas.microsoft.com/office/drawing/2014/main" id="{93584490-FD90-4FFB-8AD5-1CF3CD6E26A6}"/>
              </a:ext>
            </a:extLst>
          </p:cNvPr>
          <p:cNvSpPr>
            <a:spLocks noGrp="1"/>
          </p:cNvSpPr>
          <p:nvPr>
            <p:ph type="title"/>
          </p:nvPr>
        </p:nvSpPr>
        <p:spPr/>
        <p:txBody>
          <a:bodyPr/>
          <a:lstStyle/>
          <a:p>
            <a:r>
              <a:rPr lang="de-DE"/>
              <a:t>Mastertitelformat bearbeiten</a:t>
            </a:r>
          </a:p>
        </p:txBody>
      </p:sp>
      <p:sp>
        <p:nvSpPr>
          <p:cNvPr id="11" name="Bildplatzhalter 9">
            <a:extLst>
              <a:ext uri="{FF2B5EF4-FFF2-40B4-BE49-F238E27FC236}">
                <a16:creationId xmlns:a16="http://schemas.microsoft.com/office/drawing/2014/main" id="{2B782BF2-E417-489A-B99C-04C92EA28140}"/>
              </a:ext>
            </a:extLst>
          </p:cNvPr>
          <p:cNvSpPr>
            <a:spLocks noGrp="1"/>
          </p:cNvSpPr>
          <p:nvPr>
            <p:ph type="pic" sz="quarter" idx="13"/>
          </p:nvPr>
        </p:nvSpPr>
        <p:spPr bwMode="gray">
          <a:xfrm>
            <a:off x="767574" y="1628775"/>
            <a:ext cx="5256000" cy="2087564"/>
          </a:xfrm>
          <a:solidFill>
            <a:schemeClr val="tx2"/>
          </a:solidFill>
        </p:spPr>
        <p:txBody>
          <a:bodyPr anchor="ctr" anchorCtr="0"/>
          <a:lstStyle>
            <a:lvl1pPr marL="0" indent="0" algn="ctr">
              <a:buNone/>
              <a:defRPr sz="1200"/>
            </a:lvl1pPr>
          </a:lstStyle>
          <a:p>
            <a:endParaRPr lang="en-GB" noProof="0" dirty="0"/>
          </a:p>
        </p:txBody>
      </p:sp>
      <p:sp>
        <p:nvSpPr>
          <p:cNvPr id="12" name="Bildplatzhalter 9">
            <a:extLst>
              <a:ext uri="{FF2B5EF4-FFF2-40B4-BE49-F238E27FC236}">
                <a16:creationId xmlns:a16="http://schemas.microsoft.com/office/drawing/2014/main" id="{FC87CD54-A350-4613-8C99-801EE8AA465E}"/>
              </a:ext>
            </a:extLst>
          </p:cNvPr>
          <p:cNvSpPr>
            <a:spLocks noGrp="1"/>
          </p:cNvSpPr>
          <p:nvPr>
            <p:ph type="pic" sz="quarter" idx="14"/>
          </p:nvPr>
        </p:nvSpPr>
        <p:spPr bwMode="gray">
          <a:xfrm>
            <a:off x="6169564" y="1628774"/>
            <a:ext cx="5256000" cy="2087564"/>
          </a:xfrm>
          <a:solidFill>
            <a:schemeClr val="tx2"/>
          </a:solidFill>
        </p:spPr>
        <p:txBody>
          <a:bodyPr anchor="ctr" anchorCtr="0"/>
          <a:lstStyle>
            <a:lvl1pPr marL="0" indent="0" algn="ctr">
              <a:buNone/>
              <a:defRPr sz="1200"/>
            </a:lvl1pPr>
          </a:lstStyle>
          <a:p>
            <a:endParaRPr lang="en-GB" noProof="0" dirty="0"/>
          </a:p>
        </p:txBody>
      </p:sp>
      <p:sp>
        <p:nvSpPr>
          <p:cNvPr id="13" name="Inhaltsplatzhalter 2">
            <a:extLst>
              <a:ext uri="{FF2B5EF4-FFF2-40B4-BE49-F238E27FC236}">
                <a16:creationId xmlns:a16="http://schemas.microsoft.com/office/drawing/2014/main" id="{668AC5ED-7C8B-4016-BF2E-C026F4E783B0}"/>
              </a:ext>
            </a:extLst>
          </p:cNvPr>
          <p:cNvSpPr>
            <a:spLocks noGrp="1"/>
          </p:cNvSpPr>
          <p:nvPr>
            <p:ph idx="1"/>
          </p:nvPr>
        </p:nvSpPr>
        <p:spPr bwMode="gray">
          <a:xfrm>
            <a:off x="767992" y="3804279"/>
            <a:ext cx="5256000" cy="2217109"/>
          </a:xfrm>
        </p:spPr>
        <p:txBody>
          <a:bodyPr tIns="36000"/>
          <a:lstStyle>
            <a:lvl1pPr marL="179388" indent="-179388">
              <a:spcBef>
                <a:spcPts val="400"/>
              </a:spcBef>
              <a:tabLst>
                <a:tab pos="179388" algn="l"/>
              </a:tabLst>
              <a:defRPr sz="1400"/>
            </a:lvl1pPr>
            <a:lvl2pPr marL="358775" indent="-179388">
              <a:spcBef>
                <a:spcPts val="400"/>
              </a:spcBef>
              <a:defRPr sz="1400"/>
            </a:lvl2pPr>
            <a:lvl3pPr marL="538163" indent="-179388">
              <a:spcBef>
                <a:spcPts val="400"/>
              </a:spcBef>
              <a:defRPr sz="1400"/>
            </a:lvl3pPr>
            <a:lvl4pPr marL="717550" indent="-179388">
              <a:spcBef>
                <a:spcPts val="400"/>
              </a:spcBef>
              <a:defRPr sz="1400"/>
            </a:lvl4pPr>
            <a:lvl5pPr marL="896938" indent="-179388">
              <a:spcBef>
                <a:spcPts val="400"/>
              </a:spcBef>
              <a:defRPr sz="1400"/>
            </a:lvl5p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14" name="Inhaltsplatzhalter 2">
            <a:extLst>
              <a:ext uri="{FF2B5EF4-FFF2-40B4-BE49-F238E27FC236}">
                <a16:creationId xmlns:a16="http://schemas.microsoft.com/office/drawing/2014/main" id="{598B859C-C097-4F11-94E5-C2E209146116}"/>
              </a:ext>
            </a:extLst>
          </p:cNvPr>
          <p:cNvSpPr>
            <a:spLocks noGrp="1"/>
          </p:cNvSpPr>
          <p:nvPr>
            <p:ph idx="17"/>
          </p:nvPr>
        </p:nvSpPr>
        <p:spPr bwMode="gray">
          <a:xfrm>
            <a:off x="6167438" y="3804279"/>
            <a:ext cx="5256000" cy="2217109"/>
          </a:xfrm>
        </p:spPr>
        <p:txBody>
          <a:bodyPr tIns="36000"/>
          <a:lstStyle>
            <a:lvl1pPr marL="179388" indent="-179388">
              <a:spcBef>
                <a:spcPts val="400"/>
              </a:spcBef>
              <a:tabLst>
                <a:tab pos="179388" algn="l"/>
              </a:tabLst>
              <a:defRPr sz="1400"/>
            </a:lvl1pPr>
            <a:lvl2pPr marL="358775" indent="-179388">
              <a:spcBef>
                <a:spcPts val="400"/>
              </a:spcBef>
              <a:defRPr sz="1400"/>
            </a:lvl2pPr>
            <a:lvl3pPr marL="538163" indent="-179388">
              <a:spcBef>
                <a:spcPts val="400"/>
              </a:spcBef>
              <a:defRPr sz="1400"/>
            </a:lvl3pPr>
            <a:lvl4pPr marL="717550" indent="-179388">
              <a:spcBef>
                <a:spcPts val="400"/>
              </a:spcBef>
              <a:defRPr sz="1400"/>
            </a:lvl4pPr>
            <a:lvl5pPr marL="896938" indent="-179388">
              <a:spcBef>
                <a:spcPts val="400"/>
              </a:spcBef>
              <a:defRPr sz="1400"/>
            </a:lvl5p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6" name="Datumsplatzhalter 5">
            <a:extLst>
              <a:ext uri="{FF2B5EF4-FFF2-40B4-BE49-F238E27FC236}">
                <a16:creationId xmlns:a16="http://schemas.microsoft.com/office/drawing/2014/main" id="{94521926-BAC7-4BBB-98CD-F60783FA5527}"/>
              </a:ext>
            </a:extLst>
          </p:cNvPr>
          <p:cNvSpPr>
            <a:spLocks noGrp="1"/>
          </p:cNvSpPr>
          <p:nvPr>
            <p:ph type="dt" sz="half" idx="18"/>
          </p:nvPr>
        </p:nvSpPr>
        <p:spPr/>
        <p:txBody>
          <a:bodyPr/>
          <a:lstStyle/>
          <a:p>
            <a:r>
              <a:rPr lang="en-US"/>
              <a:t>September 2025</a:t>
            </a:r>
            <a:endParaRPr lang="de-DE" dirty="0"/>
          </a:p>
        </p:txBody>
      </p:sp>
      <p:sp>
        <p:nvSpPr>
          <p:cNvPr id="7" name="Fußzeilenplatzhalter 6">
            <a:extLst>
              <a:ext uri="{FF2B5EF4-FFF2-40B4-BE49-F238E27FC236}">
                <a16:creationId xmlns:a16="http://schemas.microsoft.com/office/drawing/2014/main" id="{F2931EEB-4D8F-48CD-B472-E17860B29C3F}"/>
              </a:ext>
            </a:extLst>
          </p:cNvPr>
          <p:cNvSpPr>
            <a:spLocks noGrp="1"/>
          </p:cNvSpPr>
          <p:nvPr>
            <p:ph type="ftr" sz="quarter" idx="19"/>
          </p:nvPr>
        </p:nvSpPr>
        <p:spPr/>
        <p:txBody>
          <a:bodyPr/>
          <a:lstStyle/>
          <a:p>
            <a:r>
              <a:rPr lang="en-US"/>
              <a:t>Achieving robust textures with PTFE-free additives</a:t>
            </a:r>
            <a:endParaRPr lang="de-DE" dirty="0"/>
          </a:p>
        </p:txBody>
      </p:sp>
      <p:sp>
        <p:nvSpPr>
          <p:cNvPr id="8" name="Foliennummernplatzhalter 7">
            <a:extLst>
              <a:ext uri="{FF2B5EF4-FFF2-40B4-BE49-F238E27FC236}">
                <a16:creationId xmlns:a16="http://schemas.microsoft.com/office/drawing/2014/main" id="{53245421-890F-41B9-84BF-BCF58820D0A9}"/>
              </a:ext>
            </a:extLst>
          </p:cNvPr>
          <p:cNvSpPr>
            <a:spLocks noGrp="1"/>
          </p:cNvSpPr>
          <p:nvPr>
            <p:ph type="sldNum" sz="quarter" idx="20"/>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3490276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7" name="Eine Ecke des Rechtecks abrunden 6"/>
          <p:cNvSpPr/>
          <p:nvPr userDrawn="1"/>
        </p:nvSpPr>
        <p:spPr bwMode="gray">
          <a:xfrm rot="10800000">
            <a:off x="407368" y="476246"/>
            <a:ext cx="11786748" cy="2952752"/>
          </a:xfrm>
          <a:custGeom>
            <a:avLst/>
            <a:gdLst/>
            <a:ahLst/>
            <a:cxnLst/>
            <a:rect l="l" t="t" r="r" b="b"/>
            <a:pathLst>
              <a:path w="11762116" h="2952752">
                <a:moveTo>
                  <a:pt x="11762116" y="2952752"/>
                </a:moveTo>
                <a:lnTo>
                  <a:pt x="3048530" y="2952752"/>
                </a:lnTo>
                <a:lnTo>
                  <a:pt x="3048530" y="2952749"/>
                </a:lnTo>
                <a:lnTo>
                  <a:pt x="0" y="2952749"/>
                </a:lnTo>
                <a:lnTo>
                  <a:pt x="0" y="0"/>
                </a:lnTo>
                <a:lnTo>
                  <a:pt x="11413326" y="0"/>
                </a:lnTo>
                <a:lnTo>
                  <a:pt x="11413356" y="3"/>
                </a:lnTo>
                <a:lnTo>
                  <a:pt x="11546477" y="3"/>
                </a:lnTo>
                <a:cubicBezTo>
                  <a:pt x="11665571" y="3"/>
                  <a:pt x="11762116" y="96548"/>
                  <a:pt x="11762116" y="215642"/>
                </a:cubicBezTo>
                <a:close/>
              </a:path>
            </a:pathLst>
          </a:custGeom>
          <a:solidFill>
            <a:schemeClr val="accent1"/>
          </a:solidFill>
          <a:ln w="635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noProof="0" dirty="0">
              <a:ln>
                <a:noFill/>
              </a:ln>
              <a:solidFill>
                <a:schemeClr val="tx1"/>
              </a:solidFill>
              <a:effectLst/>
              <a:latin typeface="Arial" charset="0"/>
            </a:endParaRPr>
          </a:p>
        </p:txBody>
      </p:sp>
      <p:sp>
        <p:nvSpPr>
          <p:cNvPr id="4" name="Textplatzhalter 3"/>
          <p:cNvSpPr>
            <a:spLocks noGrp="1"/>
          </p:cNvSpPr>
          <p:nvPr>
            <p:ph type="body" sz="quarter" idx="10"/>
          </p:nvPr>
        </p:nvSpPr>
        <p:spPr bwMode="gray">
          <a:xfrm>
            <a:off x="407368" y="908050"/>
            <a:ext cx="7127431" cy="2089150"/>
          </a:xfrm>
          <a:prstGeom prst="round1Rect">
            <a:avLst>
              <a:gd name="adj" fmla="val 8916"/>
            </a:avLst>
          </a:prstGeom>
          <a:solidFill>
            <a:schemeClr val="bg1"/>
          </a:solidFill>
        </p:spPr>
        <p:txBody>
          <a:bodyPr lIns="1314000" tIns="288000"/>
          <a:lstStyle>
            <a:lvl1pPr marL="0" indent="0">
              <a:spcBef>
                <a:spcPts val="0"/>
              </a:spcBef>
              <a:spcAft>
                <a:spcPts val="1800"/>
              </a:spcAft>
              <a:buNone/>
              <a:defRPr sz="3800" b="0">
                <a:solidFill>
                  <a:schemeClr val="accent2"/>
                </a:solidFill>
              </a:defRPr>
            </a:lvl1pPr>
            <a:lvl2pPr marL="1588" indent="0">
              <a:spcBef>
                <a:spcPts val="0"/>
              </a:spcBef>
              <a:buNone/>
              <a:defRPr sz="1200" b="1">
                <a:solidFill>
                  <a:schemeClr val="accent1"/>
                </a:solidFill>
              </a:defRPr>
            </a:lvl2pPr>
            <a:lvl3pPr marL="0" indent="0">
              <a:spcBef>
                <a:spcPts val="0"/>
              </a:spcBef>
              <a:buNone/>
              <a:tabLst/>
              <a:defRPr sz="1200" b="0">
                <a:solidFill>
                  <a:schemeClr val="accent1"/>
                </a:solidFill>
              </a:defRPr>
            </a:lvl3pPr>
          </a:lstStyle>
          <a:p>
            <a:pPr lvl="0"/>
            <a:r>
              <a:rPr lang="de-DE" noProof="0" dirty="0"/>
              <a:t>Textmasterformat bearbeiten</a:t>
            </a:r>
          </a:p>
          <a:p>
            <a:pPr lvl="1"/>
            <a:r>
              <a:rPr lang="de-DE" noProof="0" dirty="0"/>
              <a:t>Zweite Ebene</a:t>
            </a:r>
          </a:p>
          <a:p>
            <a:pPr lvl="2"/>
            <a:r>
              <a:rPr lang="de-DE" noProof="0" dirty="0"/>
              <a:t>Dritte Ebene</a:t>
            </a:r>
          </a:p>
        </p:txBody>
      </p:sp>
      <p:sp>
        <p:nvSpPr>
          <p:cNvPr id="13326" name="Rectangle 14"/>
          <p:cNvSpPr>
            <a:spLocks noChangeArrowheads="1"/>
          </p:cNvSpPr>
          <p:nvPr userDrawn="1"/>
        </p:nvSpPr>
        <p:spPr bwMode="gray">
          <a:xfrm>
            <a:off x="0" y="908050"/>
            <a:ext cx="407368" cy="20891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64310" tIns="32155" rIns="64310" bIns="32155" anchor="ctr"/>
          <a:lstStyle/>
          <a:p>
            <a:pPr defTabSz="642938" eaLnBrk="0" hangingPunct="0"/>
            <a:endParaRPr lang="de-DE" sz="500" noProof="0" dirty="0">
              <a:solidFill>
                <a:srgbClr val="00A5E9"/>
              </a:solidFill>
              <a:ea typeface="ヒラギノ角ゴ Pro W3" charset="-128"/>
            </a:endParaRPr>
          </a:p>
        </p:txBody>
      </p:sp>
      <p:pic>
        <p:nvPicPr>
          <p:cNvPr id="9" name="Grafik 8">
            <a:extLst>
              <a:ext uri="{FF2B5EF4-FFF2-40B4-BE49-F238E27FC236}">
                <a16:creationId xmlns:a16="http://schemas.microsoft.com/office/drawing/2014/main" id="{4AC5ADF6-4BA2-4402-9C1B-096AE4D42A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494" y="6232350"/>
            <a:ext cx="991557" cy="266400"/>
          </a:xfrm>
          <a:prstGeom prst="rect">
            <a:avLst/>
          </a:prstGeom>
        </p:spPr>
      </p:pic>
      <p:pic>
        <p:nvPicPr>
          <p:cNvPr id="10" name="Grafik 9">
            <a:extLst>
              <a:ext uri="{FF2B5EF4-FFF2-40B4-BE49-F238E27FC236}">
                <a16:creationId xmlns:a16="http://schemas.microsoft.com/office/drawing/2014/main" id="{014DDBD7-01EB-4F8A-813A-FDF4C748D4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368" y="6353530"/>
            <a:ext cx="1620000" cy="130701"/>
          </a:xfrm>
          <a:prstGeom prst="rect">
            <a:avLst/>
          </a:prstGeom>
        </p:spPr>
      </p:pic>
    </p:spTree>
    <p:extLst>
      <p:ext uri="{BB962C8B-B14F-4D97-AF65-F5344CB8AC3E}">
        <p14:creationId xmlns:p14="http://schemas.microsoft.com/office/powerpoint/2010/main" val="25456446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otebook">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8AAB1ECF-3920-4C10-BF54-F0DD2128845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2266" y="52244"/>
            <a:ext cx="10395460" cy="6416246"/>
          </a:xfrm>
          <a:prstGeom prst="rect">
            <a:avLst/>
          </a:prstGeom>
        </p:spPr>
      </p:pic>
      <p:sp>
        <p:nvSpPr>
          <p:cNvPr id="8" name="Datumsplatzhalter 7">
            <a:extLst>
              <a:ext uri="{FF2B5EF4-FFF2-40B4-BE49-F238E27FC236}">
                <a16:creationId xmlns:a16="http://schemas.microsoft.com/office/drawing/2014/main" id="{B36CEEA1-CCCD-473A-A87C-8F06C3742ECF}"/>
              </a:ext>
            </a:extLst>
          </p:cNvPr>
          <p:cNvSpPr>
            <a:spLocks noGrp="1"/>
          </p:cNvSpPr>
          <p:nvPr>
            <p:ph type="dt" sz="half" idx="10"/>
          </p:nvPr>
        </p:nvSpPr>
        <p:spPr/>
        <p:txBody>
          <a:bodyPr/>
          <a:lstStyle/>
          <a:p>
            <a:r>
              <a:rPr lang="en-US"/>
              <a:t>September 2025</a:t>
            </a:r>
            <a:endParaRPr lang="de-DE" dirty="0"/>
          </a:p>
        </p:txBody>
      </p:sp>
      <p:sp>
        <p:nvSpPr>
          <p:cNvPr id="9" name="Fußzeilenplatzhalter 8">
            <a:extLst>
              <a:ext uri="{FF2B5EF4-FFF2-40B4-BE49-F238E27FC236}">
                <a16:creationId xmlns:a16="http://schemas.microsoft.com/office/drawing/2014/main" id="{B9103B97-2232-4EE3-89B7-C13EFED42FF2}"/>
              </a:ext>
            </a:extLst>
          </p:cNvPr>
          <p:cNvSpPr>
            <a:spLocks noGrp="1"/>
          </p:cNvSpPr>
          <p:nvPr>
            <p:ph type="ftr" sz="quarter" idx="11"/>
          </p:nvPr>
        </p:nvSpPr>
        <p:spPr/>
        <p:txBody>
          <a:bodyPr/>
          <a:lstStyle/>
          <a:p>
            <a:r>
              <a:rPr lang="en-US"/>
              <a:t>Achieving robust textures with PTFE-free additives</a:t>
            </a:r>
            <a:endParaRPr lang="de-DE" dirty="0"/>
          </a:p>
        </p:txBody>
      </p:sp>
      <p:sp>
        <p:nvSpPr>
          <p:cNvPr id="10" name="Foliennummernplatzhalter 9">
            <a:extLst>
              <a:ext uri="{FF2B5EF4-FFF2-40B4-BE49-F238E27FC236}">
                <a16:creationId xmlns:a16="http://schemas.microsoft.com/office/drawing/2014/main" id="{9BE62567-F106-4118-972F-5A90B9E3A6B8}"/>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5" name="Bildplatzhalter 9">
            <a:extLst>
              <a:ext uri="{FF2B5EF4-FFF2-40B4-BE49-F238E27FC236}">
                <a16:creationId xmlns:a16="http://schemas.microsoft.com/office/drawing/2014/main" id="{3B7D66EC-23CE-49DB-9CC7-D06F6774AD5C}"/>
              </a:ext>
            </a:extLst>
          </p:cNvPr>
          <p:cNvSpPr>
            <a:spLocks noGrp="1"/>
          </p:cNvSpPr>
          <p:nvPr>
            <p:ph type="pic" sz="quarter" idx="13"/>
          </p:nvPr>
        </p:nvSpPr>
        <p:spPr bwMode="gray">
          <a:xfrm>
            <a:off x="2118360" y="701040"/>
            <a:ext cx="7901940" cy="5097779"/>
          </a:xfrm>
          <a:solidFill>
            <a:schemeClr val="tx2"/>
          </a:solidFill>
        </p:spPr>
        <p:txBody>
          <a:bodyPr anchor="ctr" anchorCtr="0"/>
          <a:lstStyle>
            <a:lvl1pPr marL="0" indent="0" algn="ctr">
              <a:buNone/>
              <a:defRPr sz="1200"/>
            </a:lvl1pPr>
          </a:lstStyle>
          <a:p>
            <a:endParaRPr lang="de-DE" noProof="0" dirty="0"/>
          </a:p>
        </p:txBody>
      </p:sp>
    </p:spTree>
    <p:extLst>
      <p:ext uri="{BB962C8B-B14F-4D97-AF65-F5344CB8AC3E}">
        <p14:creationId xmlns:p14="http://schemas.microsoft.com/office/powerpoint/2010/main" val="32218168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otebook (with Headline)">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E2665E7A-4E5A-4A75-8355-717EA55976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31503" y="976290"/>
            <a:ext cx="8856000" cy="5466066"/>
          </a:xfrm>
          <a:prstGeom prst="rect">
            <a:avLst/>
          </a:prstGeom>
        </p:spPr>
      </p:pic>
      <p:sp>
        <p:nvSpPr>
          <p:cNvPr id="8" name="Datumsplatzhalter 7">
            <a:extLst>
              <a:ext uri="{FF2B5EF4-FFF2-40B4-BE49-F238E27FC236}">
                <a16:creationId xmlns:a16="http://schemas.microsoft.com/office/drawing/2014/main" id="{B36CEEA1-CCCD-473A-A87C-8F06C3742ECF}"/>
              </a:ext>
            </a:extLst>
          </p:cNvPr>
          <p:cNvSpPr>
            <a:spLocks noGrp="1"/>
          </p:cNvSpPr>
          <p:nvPr>
            <p:ph type="dt" sz="half" idx="10"/>
          </p:nvPr>
        </p:nvSpPr>
        <p:spPr/>
        <p:txBody>
          <a:bodyPr/>
          <a:lstStyle/>
          <a:p>
            <a:r>
              <a:rPr lang="en-US"/>
              <a:t>September 2025</a:t>
            </a:r>
            <a:endParaRPr lang="de-DE" dirty="0"/>
          </a:p>
        </p:txBody>
      </p:sp>
      <p:sp>
        <p:nvSpPr>
          <p:cNvPr id="9" name="Fußzeilenplatzhalter 8">
            <a:extLst>
              <a:ext uri="{FF2B5EF4-FFF2-40B4-BE49-F238E27FC236}">
                <a16:creationId xmlns:a16="http://schemas.microsoft.com/office/drawing/2014/main" id="{B9103B97-2232-4EE3-89B7-C13EFED42FF2}"/>
              </a:ext>
            </a:extLst>
          </p:cNvPr>
          <p:cNvSpPr>
            <a:spLocks noGrp="1"/>
          </p:cNvSpPr>
          <p:nvPr>
            <p:ph type="ftr" sz="quarter" idx="11"/>
          </p:nvPr>
        </p:nvSpPr>
        <p:spPr/>
        <p:txBody>
          <a:bodyPr/>
          <a:lstStyle/>
          <a:p>
            <a:r>
              <a:rPr lang="en-US"/>
              <a:t>Achieving robust textures with PTFE-free additives</a:t>
            </a:r>
            <a:endParaRPr lang="de-DE" dirty="0"/>
          </a:p>
        </p:txBody>
      </p:sp>
      <p:sp>
        <p:nvSpPr>
          <p:cNvPr id="10" name="Foliennummernplatzhalter 9">
            <a:extLst>
              <a:ext uri="{FF2B5EF4-FFF2-40B4-BE49-F238E27FC236}">
                <a16:creationId xmlns:a16="http://schemas.microsoft.com/office/drawing/2014/main" id="{9BE62567-F106-4118-972F-5A90B9E3A6B8}"/>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
        <p:nvSpPr>
          <p:cNvPr id="2" name="Titel 1">
            <a:extLst>
              <a:ext uri="{FF2B5EF4-FFF2-40B4-BE49-F238E27FC236}">
                <a16:creationId xmlns:a16="http://schemas.microsoft.com/office/drawing/2014/main" id="{DF57FFF9-7F2F-4BF7-AF01-4416406EC174}"/>
              </a:ext>
            </a:extLst>
          </p:cNvPr>
          <p:cNvSpPr>
            <a:spLocks noGrp="1"/>
          </p:cNvSpPr>
          <p:nvPr>
            <p:ph type="title"/>
          </p:nvPr>
        </p:nvSpPr>
        <p:spPr/>
        <p:txBody>
          <a:bodyPr/>
          <a:lstStyle/>
          <a:p>
            <a:r>
              <a:rPr lang="de-DE" dirty="0"/>
              <a:t>Mastertitelformat bearbeiten</a:t>
            </a:r>
          </a:p>
        </p:txBody>
      </p:sp>
      <p:sp>
        <p:nvSpPr>
          <p:cNvPr id="5" name="Bildplatzhalter 9">
            <a:extLst>
              <a:ext uri="{FF2B5EF4-FFF2-40B4-BE49-F238E27FC236}">
                <a16:creationId xmlns:a16="http://schemas.microsoft.com/office/drawing/2014/main" id="{3B7D66EC-23CE-49DB-9CC7-D06F6774AD5C}"/>
              </a:ext>
            </a:extLst>
          </p:cNvPr>
          <p:cNvSpPr>
            <a:spLocks noGrp="1"/>
          </p:cNvSpPr>
          <p:nvPr>
            <p:ph type="pic" sz="quarter" idx="13"/>
          </p:nvPr>
        </p:nvSpPr>
        <p:spPr bwMode="gray">
          <a:xfrm>
            <a:off x="2705100" y="1524001"/>
            <a:ext cx="6720840" cy="4343400"/>
          </a:xfrm>
          <a:solidFill>
            <a:schemeClr val="tx2"/>
          </a:solidFill>
        </p:spPr>
        <p:txBody>
          <a:bodyPr anchor="ctr" anchorCtr="0"/>
          <a:lstStyle>
            <a:lvl1pPr marL="0" indent="0" algn="ctr">
              <a:buNone/>
              <a:defRPr sz="1200"/>
            </a:lvl1pPr>
          </a:lstStyle>
          <a:p>
            <a:endParaRPr lang="de-DE" noProof="0" dirty="0"/>
          </a:p>
        </p:txBody>
      </p:sp>
    </p:spTree>
    <p:extLst>
      <p:ext uri="{BB962C8B-B14F-4D97-AF65-F5344CB8AC3E}">
        <p14:creationId xmlns:p14="http://schemas.microsoft.com/office/powerpoint/2010/main" val="12385615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r>
              <a:rPr lang="en-US"/>
              <a:t>September 2025</a:t>
            </a:r>
          </a:p>
        </p:txBody>
      </p:sp>
      <p:sp>
        <p:nvSpPr>
          <p:cNvPr id="5" name="Footer Placeholder 4"/>
          <p:cNvSpPr>
            <a:spLocks noGrp="1"/>
          </p:cNvSpPr>
          <p:nvPr>
            <p:ph type="ftr" sz="quarter" idx="11"/>
          </p:nvPr>
        </p:nvSpPr>
        <p:spPr/>
        <p:txBody>
          <a:bodyPr/>
          <a:lstStyle/>
          <a:p>
            <a:r>
              <a:rPr lang="en-US"/>
              <a:t>Achieving robust textures with PTFE-free additives</a:t>
            </a:r>
          </a:p>
        </p:txBody>
      </p:sp>
      <p:sp>
        <p:nvSpPr>
          <p:cNvPr id="6" name="Slide Number Placeholder 5"/>
          <p:cNvSpPr>
            <a:spLocks noGrp="1"/>
          </p:cNvSpPr>
          <p:nvPr>
            <p:ph type="sldNum" sz="quarter" idx="12"/>
          </p:nvPr>
        </p:nvSpPr>
        <p:spPr/>
        <p:txBody>
          <a:bodyPr/>
          <a:lstStyle/>
          <a:p>
            <a:fld id="{9E318634-1EB8-4F84-A485-657AA22920AB}" type="slidenum">
              <a:rPr lang="en-US" smtClean="0"/>
              <a:t>‹#›</a:t>
            </a:fld>
            <a:endParaRPr lang="en-US"/>
          </a:p>
        </p:txBody>
      </p:sp>
    </p:spTree>
    <p:extLst>
      <p:ext uri="{BB962C8B-B14F-4D97-AF65-F5344CB8AC3E}">
        <p14:creationId xmlns:p14="http://schemas.microsoft.com/office/powerpoint/2010/main" val="36348386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ext (18pt, light blu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BF06D-A142-B53A-43D7-B1E6AEF7918A}"/>
              </a:ext>
            </a:extLst>
          </p:cNvPr>
          <p:cNvGraphicFramePr>
            <a:graphicFrameLocks noChangeAspect="1"/>
          </p:cNvGraphicFramePr>
          <p:nvPr>
            <p:custDataLst>
              <p:tags r:id="rId1"/>
            </p:custDataLst>
            <p:extLst>
              <p:ext uri="{D42A27DB-BD31-4B8C-83A1-F6EECF244321}">
                <p14:modId xmlns:p14="http://schemas.microsoft.com/office/powerpoint/2010/main" val="330902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think-cell data - do not delete" hidden="1">
                        <a:extLst>
                          <a:ext uri="{FF2B5EF4-FFF2-40B4-BE49-F238E27FC236}">
                            <a16:creationId xmlns:a16="http://schemas.microsoft.com/office/drawing/2014/main" id="{EA6BF06D-A142-B53A-43D7-B1E6AEF791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reihandform: Form 3">
            <a:extLst>
              <a:ext uri="{FF2B5EF4-FFF2-40B4-BE49-F238E27FC236}">
                <a16:creationId xmlns:a16="http://schemas.microsoft.com/office/drawing/2014/main" id="{64F3A126-92B5-3420-1225-76B9D69CA6DD}"/>
              </a:ext>
            </a:extLst>
          </p:cNvPr>
          <p:cNvSpPr/>
          <p:nvPr/>
        </p:nvSpPr>
        <p:spPr bwMode="auto">
          <a:xfrm>
            <a:off x="0" y="0"/>
            <a:ext cx="10312937" cy="6858000"/>
          </a:xfrm>
          <a:custGeom>
            <a:avLst/>
            <a:gdLst>
              <a:gd name="connsiteX0" fmla="*/ 9917219 w 10312937"/>
              <a:gd name="connsiteY0" fmla="*/ 0 h 6858000"/>
              <a:gd name="connsiteX1" fmla="*/ 9998156 w 10312937"/>
              <a:gd name="connsiteY1" fmla="*/ 165444 h 6858000"/>
              <a:gd name="connsiteX2" fmla="*/ 10208585 w 10312937"/>
              <a:gd name="connsiteY2" fmla="*/ 832915 h 6858000"/>
              <a:gd name="connsiteX3" fmla="*/ 10187455 w 10312937"/>
              <a:gd name="connsiteY3" fmla="*/ 3164702 h 6858000"/>
              <a:gd name="connsiteX4" fmla="*/ 9012252 w 10312937"/>
              <a:gd name="connsiteY4" fmla="*/ 6433905 h 6858000"/>
              <a:gd name="connsiteX5" fmla="*/ 8767185 w 10312937"/>
              <a:gd name="connsiteY5" fmla="*/ 6850113 h 6858000"/>
              <a:gd name="connsiteX6" fmla="*/ 8762137 w 10312937"/>
              <a:gd name="connsiteY6" fmla="*/ 6857999 h 6858000"/>
              <a:gd name="connsiteX7" fmla="*/ 0 w 10312937"/>
              <a:gd name="connsiteY7" fmla="*/ 6858000 h 6858000"/>
              <a:gd name="connsiteX8" fmla="*/ 0 w 103129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12937" h="6858000">
                <a:moveTo>
                  <a:pt x="9917219" y="0"/>
                </a:moveTo>
                <a:lnTo>
                  <a:pt x="9998156" y="165444"/>
                </a:lnTo>
                <a:cubicBezTo>
                  <a:pt x="10088345" y="369416"/>
                  <a:pt x="10159406" y="593299"/>
                  <a:pt x="10208585" y="832915"/>
                </a:cubicBezTo>
                <a:cubicBezTo>
                  <a:pt x="10339732" y="1471891"/>
                  <a:pt x="10362752" y="2194714"/>
                  <a:pt x="10187455" y="3164702"/>
                </a:cubicBezTo>
                <a:cubicBezTo>
                  <a:pt x="10012159" y="4134690"/>
                  <a:pt x="9654462" y="5294532"/>
                  <a:pt x="9012252" y="6433905"/>
                </a:cubicBezTo>
                <a:cubicBezTo>
                  <a:pt x="8931975" y="6576326"/>
                  <a:pt x="8850088" y="6715213"/>
                  <a:pt x="8767185" y="6850113"/>
                </a:cubicBezTo>
                <a:lnTo>
                  <a:pt x="8762137" y="6857999"/>
                </a:lnTo>
                <a:lnTo>
                  <a:pt x="0" y="6858000"/>
                </a:lnTo>
                <a:lnTo>
                  <a:pt x="0" y="0"/>
                </a:lnTo>
                <a:close/>
              </a:path>
            </a:pathLst>
          </a:custGeom>
          <a:solidFill>
            <a:srgbClr val="CCEDFB"/>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rtl="0"/>
            <a:endParaRPr lang="en-US" dirty="0">
              <a:solidFill>
                <a:schemeClr val="lt1"/>
              </a:solidFill>
              <a:latin typeface="+mn-lt"/>
            </a:endParaRPr>
          </a:p>
        </p:txBody>
      </p:sp>
      <p:sp>
        <p:nvSpPr>
          <p:cNvPr id="5" name="Freihandform: Form 4">
            <a:extLst>
              <a:ext uri="{FF2B5EF4-FFF2-40B4-BE49-F238E27FC236}">
                <a16:creationId xmlns:a16="http://schemas.microsoft.com/office/drawing/2014/main" id="{D939575C-A23C-61C0-31BA-5DB86B552770}"/>
              </a:ext>
            </a:extLst>
          </p:cNvPr>
          <p:cNvSpPr>
            <a:spLocks noChangeAspect="1"/>
          </p:cNvSpPr>
          <p:nvPr/>
        </p:nvSpPr>
        <p:spPr>
          <a:xfrm rot="13106022">
            <a:off x="8166836" y="313381"/>
            <a:ext cx="3249139" cy="6428754"/>
          </a:xfrm>
          <a:custGeom>
            <a:avLst/>
            <a:gdLst>
              <a:gd name="connsiteX0" fmla="*/ 5002445 w 5002445"/>
              <a:gd name="connsiteY0" fmla="*/ 5372063 h 6763397"/>
              <a:gd name="connsiteX1" fmla="*/ 3249139 w 5002445"/>
              <a:gd name="connsiteY1" fmla="*/ 6763397 h 6763397"/>
              <a:gd name="connsiteX2" fmla="*/ 3211242 w 5002445"/>
              <a:gd name="connsiteY2" fmla="*/ 6754119 h 6763397"/>
              <a:gd name="connsiteX3" fmla="*/ 2751334 w 5002445"/>
              <a:gd name="connsiteY3" fmla="*/ 6613380 h 6763397"/>
              <a:gd name="connsiteX4" fmla="*/ 766573 w 5002445"/>
              <a:gd name="connsiteY4" fmla="*/ 5287092 h 6763397"/>
              <a:gd name="connsiteX5" fmla="*/ 1116 w 5002445"/>
              <a:gd name="connsiteY5" fmla="*/ 2577788 h 6763397"/>
              <a:gd name="connsiteX6" fmla="*/ 264361 w 5002445"/>
              <a:gd name="connsiteY6" fmla="*/ 561585 h 6763397"/>
              <a:gd name="connsiteX7" fmla="*/ 317749 w 5002445"/>
              <a:gd name="connsiteY7" fmla="*/ 334643 h 6763397"/>
              <a:gd name="connsiteX8" fmla="*/ 739454 w 5002445"/>
              <a:gd name="connsiteY8" fmla="*/ 0 h 6763397"/>
              <a:gd name="connsiteX0" fmla="*/ 5002445 w 5093885"/>
              <a:gd name="connsiteY0" fmla="*/ 5372063 h 6763397"/>
              <a:gd name="connsiteX1" fmla="*/ 3249139 w 5093885"/>
              <a:gd name="connsiteY1" fmla="*/ 6763397 h 6763397"/>
              <a:gd name="connsiteX2" fmla="*/ 3211242 w 5093885"/>
              <a:gd name="connsiteY2" fmla="*/ 6754119 h 6763397"/>
              <a:gd name="connsiteX3" fmla="*/ 2751334 w 5093885"/>
              <a:gd name="connsiteY3" fmla="*/ 6613380 h 6763397"/>
              <a:gd name="connsiteX4" fmla="*/ 766573 w 5093885"/>
              <a:gd name="connsiteY4" fmla="*/ 5287092 h 6763397"/>
              <a:gd name="connsiteX5" fmla="*/ 1116 w 5093885"/>
              <a:gd name="connsiteY5" fmla="*/ 2577788 h 6763397"/>
              <a:gd name="connsiteX6" fmla="*/ 264361 w 5093885"/>
              <a:gd name="connsiteY6" fmla="*/ 561585 h 6763397"/>
              <a:gd name="connsiteX7" fmla="*/ 317749 w 5093885"/>
              <a:gd name="connsiteY7" fmla="*/ 334643 h 6763397"/>
              <a:gd name="connsiteX8" fmla="*/ 739454 w 5093885"/>
              <a:gd name="connsiteY8" fmla="*/ 0 h 6763397"/>
              <a:gd name="connsiteX9" fmla="*/ 5093885 w 5093885"/>
              <a:gd name="connsiteY9" fmla="*/ 5463503 h 6763397"/>
              <a:gd name="connsiteX0" fmla="*/ 5002445 w 5002445"/>
              <a:gd name="connsiteY0" fmla="*/ 5372063 h 6763397"/>
              <a:gd name="connsiteX1" fmla="*/ 3249139 w 5002445"/>
              <a:gd name="connsiteY1" fmla="*/ 6763397 h 6763397"/>
              <a:gd name="connsiteX2" fmla="*/ 3211242 w 5002445"/>
              <a:gd name="connsiteY2" fmla="*/ 6754119 h 6763397"/>
              <a:gd name="connsiteX3" fmla="*/ 2751334 w 5002445"/>
              <a:gd name="connsiteY3" fmla="*/ 6613380 h 6763397"/>
              <a:gd name="connsiteX4" fmla="*/ 766573 w 5002445"/>
              <a:gd name="connsiteY4" fmla="*/ 5287092 h 6763397"/>
              <a:gd name="connsiteX5" fmla="*/ 1116 w 5002445"/>
              <a:gd name="connsiteY5" fmla="*/ 2577788 h 6763397"/>
              <a:gd name="connsiteX6" fmla="*/ 264361 w 5002445"/>
              <a:gd name="connsiteY6" fmla="*/ 561585 h 6763397"/>
              <a:gd name="connsiteX7" fmla="*/ 317749 w 5002445"/>
              <a:gd name="connsiteY7" fmla="*/ 334643 h 6763397"/>
              <a:gd name="connsiteX8" fmla="*/ 739454 w 5002445"/>
              <a:gd name="connsiteY8" fmla="*/ 0 h 6763397"/>
              <a:gd name="connsiteX0" fmla="*/ 3249139 w 3249139"/>
              <a:gd name="connsiteY0" fmla="*/ 6763397 h 6763397"/>
              <a:gd name="connsiteX1" fmla="*/ 3211242 w 3249139"/>
              <a:gd name="connsiteY1" fmla="*/ 6754119 h 6763397"/>
              <a:gd name="connsiteX2" fmla="*/ 2751334 w 3249139"/>
              <a:gd name="connsiteY2" fmla="*/ 6613380 h 6763397"/>
              <a:gd name="connsiteX3" fmla="*/ 766573 w 3249139"/>
              <a:gd name="connsiteY3" fmla="*/ 5287092 h 6763397"/>
              <a:gd name="connsiteX4" fmla="*/ 1116 w 3249139"/>
              <a:gd name="connsiteY4" fmla="*/ 2577788 h 6763397"/>
              <a:gd name="connsiteX5" fmla="*/ 264361 w 3249139"/>
              <a:gd name="connsiteY5" fmla="*/ 561585 h 6763397"/>
              <a:gd name="connsiteX6" fmla="*/ 317749 w 3249139"/>
              <a:gd name="connsiteY6" fmla="*/ 334643 h 6763397"/>
              <a:gd name="connsiteX7" fmla="*/ 739454 w 3249139"/>
              <a:gd name="connsiteY7" fmla="*/ 0 h 6763397"/>
              <a:gd name="connsiteX0" fmla="*/ 3249139 w 3249139"/>
              <a:gd name="connsiteY0" fmla="*/ 6428754 h 6428754"/>
              <a:gd name="connsiteX1" fmla="*/ 3211242 w 3249139"/>
              <a:gd name="connsiteY1" fmla="*/ 6419476 h 6428754"/>
              <a:gd name="connsiteX2" fmla="*/ 2751334 w 3249139"/>
              <a:gd name="connsiteY2" fmla="*/ 6278737 h 6428754"/>
              <a:gd name="connsiteX3" fmla="*/ 766573 w 3249139"/>
              <a:gd name="connsiteY3" fmla="*/ 4952449 h 6428754"/>
              <a:gd name="connsiteX4" fmla="*/ 1116 w 3249139"/>
              <a:gd name="connsiteY4" fmla="*/ 2243145 h 6428754"/>
              <a:gd name="connsiteX5" fmla="*/ 264361 w 3249139"/>
              <a:gd name="connsiteY5" fmla="*/ 226942 h 6428754"/>
              <a:gd name="connsiteX6" fmla="*/ 317749 w 3249139"/>
              <a:gd name="connsiteY6" fmla="*/ 0 h 642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9139" h="6428754">
                <a:moveTo>
                  <a:pt x="3249139" y="6428754"/>
                </a:moveTo>
                <a:lnTo>
                  <a:pt x="3211242" y="6419476"/>
                </a:lnTo>
                <a:cubicBezTo>
                  <a:pt x="3040693" y="6375327"/>
                  <a:pt x="2886551" y="6328062"/>
                  <a:pt x="2751334" y="6278737"/>
                </a:cubicBezTo>
                <a:cubicBezTo>
                  <a:pt x="2030179" y="6015670"/>
                  <a:pt x="1250044" y="5566480"/>
                  <a:pt x="766573" y="4952449"/>
                </a:cubicBezTo>
                <a:cubicBezTo>
                  <a:pt x="283103" y="4338418"/>
                  <a:pt x="-20847" y="3380348"/>
                  <a:pt x="1116" y="2243145"/>
                </a:cubicBezTo>
                <a:cubicBezTo>
                  <a:pt x="12097" y="1674544"/>
                  <a:pt x="107334" y="957535"/>
                  <a:pt x="264361" y="226942"/>
                </a:cubicBezTo>
                <a:lnTo>
                  <a:pt x="317749" y="0"/>
                </a:ln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dirty="0"/>
          </a:p>
        </p:txBody>
      </p:sp>
      <p:sp>
        <p:nvSpPr>
          <p:cNvPr id="6" name="Freihandform: Form 5">
            <a:extLst>
              <a:ext uri="{FF2B5EF4-FFF2-40B4-BE49-F238E27FC236}">
                <a16:creationId xmlns:a16="http://schemas.microsoft.com/office/drawing/2014/main" id="{7AFB0EB5-D1F2-0469-D424-54A03AC24079}"/>
              </a:ext>
            </a:extLst>
          </p:cNvPr>
          <p:cNvSpPr>
            <a:spLocks noChangeAspect="1"/>
          </p:cNvSpPr>
          <p:nvPr/>
        </p:nvSpPr>
        <p:spPr>
          <a:xfrm rot="17207410">
            <a:off x="6748135" y="2725191"/>
            <a:ext cx="6752009" cy="1425589"/>
          </a:xfrm>
          <a:custGeom>
            <a:avLst/>
            <a:gdLst>
              <a:gd name="connsiteX0" fmla="*/ 6565637 w 7187062"/>
              <a:gd name="connsiteY0" fmla="*/ 0 h 3485125"/>
              <a:gd name="connsiteX1" fmla="*/ 7187062 w 7187062"/>
              <a:gd name="connsiteY1" fmla="*/ 2059536 h 3485125"/>
              <a:gd name="connsiteX2" fmla="*/ 7184213 w 7187062"/>
              <a:gd name="connsiteY2" fmla="*/ 2061489 h 3485125"/>
              <a:gd name="connsiteX3" fmla="*/ 5630930 w 7187062"/>
              <a:gd name="connsiteY3" fmla="*/ 2808636 h 3485125"/>
              <a:gd name="connsiteX4" fmla="*/ 1885690 w 7187062"/>
              <a:gd name="connsiteY4" fmla="*/ 3484378 h 3485125"/>
              <a:gd name="connsiteX5" fmla="*/ 600668 w 7187062"/>
              <a:gd name="connsiteY5" fmla="*/ 3438254 h 3485125"/>
              <a:gd name="connsiteX6" fmla="*/ 435053 w 7187062"/>
              <a:gd name="connsiteY6" fmla="*/ 3422914 h 3485125"/>
              <a:gd name="connsiteX7" fmla="*/ 0 w 7187062"/>
              <a:gd name="connsiteY7" fmla="*/ 1981053 h 3485125"/>
              <a:gd name="connsiteX0" fmla="*/ 6565637 w 7187062"/>
              <a:gd name="connsiteY0" fmla="*/ 0 h 3485125"/>
              <a:gd name="connsiteX1" fmla="*/ 7187062 w 7187062"/>
              <a:gd name="connsiteY1" fmla="*/ 2059536 h 3485125"/>
              <a:gd name="connsiteX2" fmla="*/ 7184213 w 7187062"/>
              <a:gd name="connsiteY2" fmla="*/ 2061489 h 3485125"/>
              <a:gd name="connsiteX3" fmla="*/ 5630930 w 7187062"/>
              <a:gd name="connsiteY3" fmla="*/ 2808636 h 3485125"/>
              <a:gd name="connsiteX4" fmla="*/ 1885690 w 7187062"/>
              <a:gd name="connsiteY4" fmla="*/ 3484378 h 3485125"/>
              <a:gd name="connsiteX5" fmla="*/ 600668 w 7187062"/>
              <a:gd name="connsiteY5" fmla="*/ 3438254 h 3485125"/>
              <a:gd name="connsiteX6" fmla="*/ 435053 w 7187062"/>
              <a:gd name="connsiteY6" fmla="*/ 3422914 h 3485125"/>
              <a:gd name="connsiteX7" fmla="*/ 0 w 7187062"/>
              <a:gd name="connsiteY7" fmla="*/ 1981053 h 3485125"/>
              <a:gd name="connsiteX8" fmla="*/ 6657077 w 7187062"/>
              <a:gd name="connsiteY8" fmla="*/ 91440 h 3485125"/>
              <a:gd name="connsiteX0" fmla="*/ 6565637 w 7187062"/>
              <a:gd name="connsiteY0" fmla="*/ 0 h 3485125"/>
              <a:gd name="connsiteX1" fmla="*/ 7187062 w 7187062"/>
              <a:gd name="connsiteY1" fmla="*/ 2059536 h 3485125"/>
              <a:gd name="connsiteX2" fmla="*/ 7184213 w 7187062"/>
              <a:gd name="connsiteY2" fmla="*/ 2061489 h 3485125"/>
              <a:gd name="connsiteX3" fmla="*/ 5630930 w 7187062"/>
              <a:gd name="connsiteY3" fmla="*/ 2808636 h 3485125"/>
              <a:gd name="connsiteX4" fmla="*/ 1885690 w 7187062"/>
              <a:gd name="connsiteY4" fmla="*/ 3484378 h 3485125"/>
              <a:gd name="connsiteX5" fmla="*/ 600668 w 7187062"/>
              <a:gd name="connsiteY5" fmla="*/ 3438254 h 3485125"/>
              <a:gd name="connsiteX6" fmla="*/ 435053 w 7187062"/>
              <a:gd name="connsiteY6" fmla="*/ 3422914 h 3485125"/>
              <a:gd name="connsiteX7" fmla="*/ 0 w 7187062"/>
              <a:gd name="connsiteY7" fmla="*/ 1981053 h 3485125"/>
              <a:gd name="connsiteX0" fmla="*/ 7187062 w 7187062"/>
              <a:gd name="connsiteY0" fmla="*/ 78483 h 1504072"/>
              <a:gd name="connsiteX1" fmla="*/ 7184213 w 7187062"/>
              <a:gd name="connsiteY1" fmla="*/ 80436 h 1504072"/>
              <a:gd name="connsiteX2" fmla="*/ 5630930 w 7187062"/>
              <a:gd name="connsiteY2" fmla="*/ 827583 h 1504072"/>
              <a:gd name="connsiteX3" fmla="*/ 1885690 w 7187062"/>
              <a:gd name="connsiteY3" fmla="*/ 1503325 h 1504072"/>
              <a:gd name="connsiteX4" fmla="*/ 600668 w 7187062"/>
              <a:gd name="connsiteY4" fmla="*/ 1457201 h 1504072"/>
              <a:gd name="connsiteX5" fmla="*/ 435053 w 7187062"/>
              <a:gd name="connsiteY5" fmla="*/ 1441861 h 1504072"/>
              <a:gd name="connsiteX6" fmla="*/ 0 w 7187062"/>
              <a:gd name="connsiteY6" fmla="*/ 0 h 1504072"/>
              <a:gd name="connsiteX0" fmla="*/ 6752009 w 6752009"/>
              <a:gd name="connsiteY0" fmla="*/ 0 h 1425589"/>
              <a:gd name="connsiteX1" fmla="*/ 6749160 w 6752009"/>
              <a:gd name="connsiteY1" fmla="*/ 1953 h 1425589"/>
              <a:gd name="connsiteX2" fmla="*/ 5195877 w 6752009"/>
              <a:gd name="connsiteY2" fmla="*/ 749100 h 1425589"/>
              <a:gd name="connsiteX3" fmla="*/ 1450637 w 6752009"/>
              <a:gd name="connsiteY3" fmla="*/ 1424842 h 1425589"/>
              <a:gd name="connsiteX4" fmla="*/ 165615 w 6752009"/>
              <a:gd name="connsiteY4" fmla="*/ 1378718 h 1425589"/>
              <a:gd name="connsiteX5" fmla="*/ 0 w 6752009"/>
              <a:gd name="connsiteY5" fmla="*/ 1363378 h 142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2009" h="1425589">
                <a:moveTo>
                  <a:pt x="6752009" y="0"/>
                </a:moveTo>
                <a:lnTo>
                  <a:pt x="6749160" y="1953"/>
                </a:lnTo>
                <a:cubicBezTo>
                  <a:pt x="6332169" y="272246"/>
                  <a:pt x="5831038" y="520979"/>
                  <a:pt x="5195877" y="749100"/>
                </a:cubicBezTo>
                <a:cubicBezTo>
                  <a:pt x="4179620" y="1114095"/>
                  <a:pt x="2883339" y="1410034"/>
                  <a:pt x="1450637" y="1424842"/>
                </a:cubicBezTo>
                <a:cubicBezTo>
                  <a:pt x="1002918" y="1429469"/>
                  <a:pt x="570644" y="1412442"/>
                  <a:pt x="165615" y="1378718"/>
                </a:cubicBezTo>
                <a:lnTo>
                  <a:pt x="0" y="1363378"/>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dirty="0"/>
          </a:p>
        </p:txBody>
      </p:sp>
      <p:sp>
        <p:nvSpPr>
          <p:cNvPr id="2" name="Titel 1"/>
          <p:cNvSpPr>
            <a:spLocks noGrp="1"/>
          </p:cNvSpPr>
          <p:nvPr>
            <p:ph type="title" hasCustomPrompt="1"/>
          </p:nvPr>
        </p:nvSpPr>
        <p:spPr bwMode="gray">
          <a:xfrm>
            <a:off x="407987" y="188913"/>
            <a:ext cx="9180000" cy="1008062"/>
          </a:xfrm>
        </p:spPr>
        <p:txBody>
          <a:bodyPr vert="horz"/>
          <a:lstStyle>
            <a:lvl1pPr rtl="0">
              <a:defRPr>
                <a:solidFill>
                  <a:schemeClr val="accent2"/>
                </a:solidFill>
              </a:defRPr>
            </a:lvl1pPr>
          </a:lstStyle>
          <a:p>
            <a:r>
              <a:rPr lang="en-US" dirty="0"/>
              <a:t>Edit master title format</a:t>
            </a:r>
            <a:endParaRPr lang="en-US" noProof="0" dirty="0"/>
          </a:p>
        </p:txBody>
      </p:sp>
      <p:sp>
        <p:nvSpPr>
          <p:cNvPr id="12" name="Inhaltsplatzhalter 11">
            <a:extLst>
              <a:ext uri="{FF2B5EF4-FFF2-40B4-BE49-F238E27FC236}">
                <a16:creationId xmlns:a16="http://schemas.microsoft.com/office/drawing/2014/main" id="{ED288AC6-1AF5-40E1-A42F-9119B6A188B5}"/>
              </a:ext>
            </a:extLst>
          </p:cNvPr>
          <p:cNvSpPr>
            <a:spLocks noGrp="1"/>
          </p:cNvSpPr>
          <p:nvPr>
            <p:ph idx="1" hasCustomPrompt="1"/>
          </p:nvPr>
        </p:nvSpPr>
        <p:spPr bwMode="gray">
          <a:xfrm>
            <a:off x="407987" y="1201738"/>
            <a:ext cx="9180000" cy="5101199"/>
          </a:xfrm>
          <a:prstGeom prst="rect">
            <a:avLst/>
          </a:prstGeom>
          <a:noFill/>
        </p:spPr>
        <p:txBody>
          <a:bodyPr wrap="square" lIns="0" tIns="36000" rIns="0" bIns="0">
            <a:noAutofit/>
          </a:bodyPr>
          <a:lstStyle>
            <a:lvl1pPr rtl="0">
              <a:buClr>
                <a:schemeClr val="accent2"/>
              </a:buClr>
              <a:defRPr sz="1800">
                <a:solidFill>
                  <a:schemeClr val="tx1"/>
                </a:solidFill>
              </a:defRPr>
            </a:lvl1pPr>
            <a:lvl2pPr marL="180000" indent="-180000" rtl="0">
              <a:buClr>
                <a:schemeClr val="accent2"/>
              </a:buClr>
              <a:defRPr sz="1800">
                <a:solidFill>
                  <a:schemeClr val="tx1"/>
                </a:solidFill>
              </a:defRPr>
            </a:lvl2pPr>
            <a:lvl3pPr marL="360000" indent="-180000" rtl="0">
              <a:buClr>
                <a:schemeClr val="accent2"/>
              </a:buClr>
              <a:defRPr sz="1800">
                <a:solidFill>
                  <a:schemeClr val="tx1"/>
                </a:solidFill>
              </a:defRPr>
            </a:lvl3pPr>
            <a:lvl4pPr marL="540000" indent="-180000" rtl="0">
              <a:buClr>
                <a:schemeClr val="accent2"/>
              </a:buClr>
              <a:defRPr sz="1800">
                <a:solidFill>
                  <a:schemeClr val="tx1"/>
                </a:solidFill>
              </a:defRPr>
            </a:lvl4pPr>
            <a:lvl5pPr marL="720000" indent="-180000" rtl="0">
              <a:buClr>
                <a:schemeClr val="accent2"/>
              </a:buClr>
              <a:defRPr sz="1800">
                <a:solidFill>
                  <a:schemeClr val="tx1"/>
                </a:solidFill>
              </a:defRPr>
            </a:lvl5pPr>
            <a:lvl6pPr marL="900000" indent="-180000">
              <a:buClr>
                <a:schemeClr val="bg1"/>
              </a:buClr>
              <a:defRPr sz="1800">
                <a:solidFill>
                  <a:schemeClr val="bg1"/>
                </a:solidFill>
              </a:defRPr>
            </a:lvl6pPr>
            <a:lvl7pPr marL="900000" indent="-180000">
              <a:buClr>
                <a:schemeClr val="bg1"/>
              </a:buClr>
              <a:defRPr sz="1800">
                <a:solidFill>
                  <a:schemeClr val="bg1"/>
                </a:solidFill>
              </a:defRPr>
            </a:lvl7pPr>
            <a:lvl8pPr marL="900000" indent="-180000">
              <a:buClr>
                <a:schemeClr val="bg1"/>
              </a:buClr>
              <a:defRPr sz="1800">
                <a:solidFill>
                  <a:schemeClr val="bg1"/>
                </a:solidFill>
              </a:defRPr>
            </a:lvl8pPr>
            <a:lvl9pPr marL="900000" indent="-180000">
              <a:buClr>
                <a:schemeClr val="bg1"/>
              </a:buClr>
              <a:defRPr sz="1800">
                <a:solidFill>
                  <a:schemeClr val="bg1"/>
                </a:solidFill>
              </a:defRPr>
            </a:lvl9pPr>
          </a:lstStyle>
          <a:p>
            <a:pPr lvl="0"/>
            <a:r>
              <a:rPr lang="en-US" dirty="0"/>
              <a:t>Edit master text format</a:t>
            </a:r>
          </a:p>
          <a:p>
            <a:pPr lvl="1"/>
            <a:r>
              <a:rPr lang="en-US" dirty="0"/>
              <a:t>Second line</a:t>
            </a:r>
          </a:p>
          <a:p>
            <a:pPr lvl="2"/>
            <a:r>
              <a:rPr lang="en-US" dirty="0"/>
              <a:t>Third line</a:t>
            </a:r>
          </a:p>
          <a:p>
            <a:pPr lvl="3"/>
            <a:r>
              <a:rPr lang="en-US" dirty="0"/>
              <a:t>Fourth line</a:t>
            </a:r>
          </a:p>
          <a:p>
            <a:pPr lvl="4"/>
            <a:r>
              <a:rPr lang="en-US" dirty="0"/>
              <a:t>Fifth line</a:t>
            </a:r>
          </a:p>
        </p:txBody>
      </p:sp>
      <p:sp>
        <p:nvSpPr>
          <p:cNvPr id="15" name="Datumsplatzhalter 14">
            <a:extLst>
              <a:ext uri="{FF2B5EF4-FFF2-40B4-BE49-F238E27FC236}">
                <a16:creationId xmlns:a16="http://schemas.microsoft.com/office/drawing/2014/main" id="{5E365F38-5E47-ECF7-372C-C5DA20E25B35}"/>
              </a:ext>
            </a:extLst>
          </p:cNvPr>
          <p:cNvSpPr>
            <a:spLocks noGrp="1"/>
          </p:cNvSpPr>
          <p:nvPr>
            <p:ph type="dt" sz="half" idx="10"/>
          </p:nvPr>
        </p:nvSpPr>
        <p:spPr/>
        <p:txBody>
          <a:bodyPr/>
          <a:lstStyle/>
          <a:p>
            <a:r>
              <a:rPr lang="en-US"/>
              <a:t>September 2025</a:t>
            </a:r>
            <a:endParaRPr lang="en-US" dirty="0"/>
          </a:p>
        </p:txBody>
      </p:sp>
      <p:sp>
        <p:nvSpPr>
          <p:cNvPr id="16" name="Fußzeilenplatzhalter 15">
            <a:extLst>
              <a:ext uri="{FF2B5EF4-FFF2-40B4-BE49-F238E27FC236}">
                <a16:creationId xmlns:a16="http://schemas.microsoft.com/office/drawing/2014/main" id="{FEA41F1B-E0C3-5F5A-1CD2-4461C597AFC9}"/>
              </a:ext>
            </a:extLst>
          </p:cNvPr>
          <p:cNvSpPr>
            <a:spLocks noGrp="1"/>
          </p:cNvSpPr>
          <p:nvPr>
            <p:ph type="ftr" sz="quarter" idx="11"/>
          </p:nvPr>
        </p:nvSpPr>
        <p:spPr/>
        <p:txBody>
          <a:bodyPr/>
          <a:lstStyle/>
          <a:p>
            <a:r>
              <a:rPr lang="en-US"/>
              <a:t>Achieving robust textures with PTFE-free additives</a:t>
            </a:r>
            <a:endParaRPr lang="en-US" dirty="0"/>
          </a:p>
        </p:txBody>
      </p:sp>
      <p:sp>
        <p:nvSpPr>
          <p:cNvPr id="17" name="Foliennummernplatzhalter 16">
            <a:extLst>
              <a:ext uri="{FF2B5EF4-FFF2-40B4-BE49-F238E27FC236}">
                <a16:creationId xmlns:a16="http://schemas.microsoft.com/office/drawing/2014/main" id="{A33046C2-8C32-7D72-F52A-470826C95C91}"/>
              </a:ext>
            </a:extLst>
          </p:cNvPr>
          <p:cNvSpPr>
            <a:spLocks noGrp="1"/>
          </p:cNvSpPr>
          <p:nvPr>
            <p:ph type="sldNum" sz="quarter" idx="12"/>
          </p:nvPr>
        </p:nvSpPr>
        <p:spPr/>
        <p:txBody>
          <a:bodyPr/>
          <a:lstStyle/>
          <a:p>
            <a:r>
              <a:rPr lang="en-US" dirty="0"/>
              <a:t>Page </a:t>
            </a:r>
            <a:fld id="{F833201C-4142-4F26-B8B7-249C87787C9A}" type="slidenum">
              <a:rPr lang="en-US" smtClean="0"/>
              <a:pPr/>
              <a:t>‹#›</a:t>
            </a:fld>
            <a:endParaRPr lang="en-US" dirty="0"/>
          </a:p>
        </p:txBody>
      </p:sp>
    </p:spTree>
    <p:extLst>
      <p:ext uri="{BB962C8B-B14F-4D97-AF65-F5344CB8AC3E}">
        <p14:creationId xmlns:p14="http://schemas.microsoft.com/office/powerpoint/2010/main" val="30750326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Picture (18 pt, with Headlin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01F3A0-D5CA-E586-A768-C763A2366F88}"/>
              </a:ext>
            </a:extLst>
          </p:cNvPr>
          <p:cNvGraphicFramePr>
            <a:graphicFrameLocks noChangeAspect="1"/>
          </p:cNvGraphicFramePr>
          <p:nvPr userDrawn="1">
            <p:custDataLst>
              <p:tags r:id="rId1"/>
            </p:custDataLst>
            <p:extLst>
              <p:ext uri="{D42A27DB-BD31-4B8C-83A1-F6EECF244321}">
                <p14:modId xmlns:p14="http://schemas.microsoft.com/office/powerpoint/2010/main" val="961925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5" name="think-cell data - do not delete" hidden="1">
                        <a:extLst>
                          <a:ext uri="{FF2B5EF4-FFF2-40B4-BE49-F238E27FC236}">
                            <a16:creationId xmlns:a16="http://schemas.microsoft.com/office/drawing/2014/main" id="{3D01F3A0-D5CA-E586-A768-C763A2366F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Freihandform: Form 29">
            <a:extLst>
              <a:ext uri="{FF2B5EF4-FFF2-40B4-BE49-F238E27FC236}">
                <a16:creationId xmlns:a16="http://schemas.microsoft.com/office/drawing/2014/main" id="{6AFB5A5C-47BE-7DC8-EF17-D963258926C7}"/>
              </a:ext>
            </a:extLst>
          </p:cNvPr>
          <p:cNvSpPr/>
          <p:nvPr userDrawn="1"/>
        </p:nvSpPr>
        <p:spPr bwMode="auto">
          <a:xfrm>
            <a:off x="4731930" y="-1"/>
            <a:ext cx="6926920" cy="6049622"/>
          </a:xfrm>
          <a:custGeom>
            <a:avLst/>
            <a:gdLst>
              <a:gd name="connsiteX0" fmla="*/ 851489 w 6926920"/>
              <a:gd name="connsiteY0" fmla="*/ 0 h 6049622"/>
              <a:gd name="connsiteX1" fmla="*/ 4860324 w 6926920"/>
              <a:gd name="connsiteY1" fmla="*/ 0 h 6049622"/>
              <a:gd name="connsiteX2" fmla="*/ 4996049 w 6926920"/>
              <a:gd name="connsiteY2" fmla="*/ 108325 h 6049622"/>
              <a:gd name="connsiteX3" fmla="*/ 5698648 w 6926920"/>
              <a:gd name="connsiteY3" fmla="*/ 786071 h 6049622"/>
              <a:gd name="connsiteX4" fmla="*/ 6609266 w 6926920"/>
              <a:gd name="connsiteY4" fmla="*/ 2102902 h 6049622"/>
              <a:gd name="connsiteX5" fmla="*/ 6925911 w 6926920"/>
              <a:gd name="connsiteY5" fmla="*/ 3235092 h 6049622"/>
              <a:gd name="connsiteX6" fmla="*/ 6616169 w 6926920"/>
              <a:gd name="connsiteY6" fmla="*/ 4160122 h 6049622"/>
              <a:gd name="connsiteX7" fmla="*/ 5635862 w 6926920"/>
              <a:gd name="connsiteY7" fmla="*/ 5064429 h 6049622"/>
              <a:gd name="connsiteX8" fmla="*/ 3812855 w 6926920"/>
              <a:gd name="connsiteY8" fmla="*/ 5854731 h 6049622"/>
              <a:gd name="connsiteX9" fmla="*/ 2011211 w 6926920"/>
              <a:gd name="connsiteY9" fmla="*/ 6031828 h 6049622"/>
              <a:gd name="connsiteX10" fmla="*/ 830213 w 6926920"/>
              <a:gd name="connsiteY10" fmla="*/ 5589273 h 6049622"/>
              <a:gd name="connsiteX11" fmla="*/ 109391 w 6926920"/>
              <a:gd name="connsiteY11" fmla="*/ 4288148 h 6049622"/>
              <a:gd name="connsiteX12" fmla="*/ 74201 w 6926920"/>
              <a:gd name="connsiteY12" fmla="*/ 2063814 h 6049622"/>
              <a:gd name="connsiteX13" fmla="*/ 800226 w 6926920"/>
              <a:gd name="connsiteY13" fmla="*/ 69238 h 6049622"/>
              <a:gd name="connsiteX0" fmla="*/ 4860324 w 6926920"/>
              <a:gd name="connsiteY0" fmla="*/ 0 h 6049622"/>
              <a:gd name="connsiteX1" fmla="*/ 4996049 w 6926920"/>
              <a:gd name="connsiteY1" fmla="*/ 108325 h 6049622"/>
              <a:gd name="connsiteX2" fmla="*/ 5698648 w 6926920"/>
              <a:gd name="connsiteY2" fmla="*/ 786071 h 6049622"/>
              <a:gd name="connsiteX3" fmla="*/ 6609266 w 6926920"/>
              <a:gd name="connsiteY3" fmla="*/ 2102902 h 6049622"/>
              <a:gd name="connsiteX4" fmla="*/ 6925911 w 6926920"/>
              <a:gd name="connsiteY4" fmla="*/ 3235092 h 6049622"/>
              <a:gd name="connsiteX5" fmla="*/ 6616169 w 6926920"/>
              <a:gd name="connsiteY5" fmla="*/ 4160122 h 6049622"/>
              <a:gd name="connsiteX6" fmla="*/ 5635862 w 6926920"/>
              <a:gd name="connsiteY6" fmla="*/ 5064429 h 6049622"/>
              <a:gd name="connsiteX7" fmla="*/ 3812855 w 6926920"/>
              <a:gd name="connsiteY7" fmla="*/ 5854731 h 6049622"/>
              <a:gd name="connsiteX8" fmla="*/ 2011211 w 6926920"/>
              <a:gd name="connsiteY8" fmla="*/ 6031828 h 6049622"/>
              <a:gd name="connsiteX9" fmla="*/ 830213 w 6926920"/>
              <a:gd name="connsiteY9" fmla="*/ 5589273 h 6049622"/>
              <a:gd name="connsiteX10" fmla="*/ 109391 w 6926920"/>
              <a:gd name="connsiteY10" fmla="*/ 4288148 h 6049622"/>
              <a:gd name="connsiteX11" fmla="*/ 74201 w 6926920"/>
              <a:gd name="connsiteY11" fmla="*/ 2063814 h 6049622"/>
              <a:gd name="connsiteX12" fmla="*/ 800226 w 6926920"/>
              <a:gd name="connsiteY12" fmla="*/ 69238 h 6049622"/>
              <a:gd name="connsiteX13" fmla="*/ 851489 w 6926920"/>
              <a:gd name="connsiteY13" fmla="*/ 0 h 6049622"/>
              <a:gd name="connsiteX14" fmla="*/ 4951764 w 6926920"/>
              <a:gd name="connsiteY14" fmla="*/ 91440 h 6049622"/>
              <a:gd name="connsiteX0" fmla="*/ 4860324 w 6926920"/>
              <a:gd name="connsiteY0" fmla="*/ 0 h 6049622"/>
              <a:gd name="connsiteX1" fmla="*/ 4996049 w 6926920"/>
              <a:gd name="connsiteY1" fmla="*/ 108325 h 6049622"/>
              <a:gd name="connsiteX2" fmla="*/ 5698648 w 6926920"/>
              <a:gd name="connsiteY2" fmla="*/ 786071 h 6049622"/>
              <a:gd name="connsiteX3" fmla="*/ 6609266 w 6926920"/>
              <a:gd name="connsiteY3" fmla="*/ 2102902 h 6049622"/>
              <a:gd name="connsiteX4" fmla="*/ 6925911 w 6926920"/>
              <a:gd name="connsiteY4" fmla="*/ 3235092 h 6049622"/>
              <a:gd name="connsiteX5" fmla="*/ 6616169 w 6926920"/>
              <a:gd name="connsiteY5" fmla="*/ 4160122 h 6049622"/>
              <a:gd name="connsiteX6" fmla="*/ 5635862 w 6926920"/>
              <a:gd name="connsiteY6" fmla="*/ 5064429 h 6049622"/>
              <a:gd name="connsiteX7" fmla="*/ 3812855 w 6926920"/>
              <a:gd name="connsiteY7" fmla="*/ 5854731 h 6049622"/>
              <a:gd name="connsiteX8" fmla="*/ 2011211 w 6926920"/>
              <a:gd name="connsiteY8" fmla="*/ 6031828 h 6049622"/>
              <a:gd name="connsiteX9" fmla="*/ 830213 w 6926920"/>
              <a:gd name="connsiteY9" fmla="*/ 5589273 h 6049622"/>
              <a:gd name="connsiteX10" fmla="*/ 109391 w 6926920"/>
              <a:gd name="connsiteY10" fmla="*/ 4288148 h 6049622"/>
              <a:gd name="connsiteX11" fmla="*/ 74201 w 6926920"/>
              <a:gd name="connsiteY11" fmla="*/ 2063814 h 6049622"/>
              <a:gd name="connsiteX12" fmla="*/ 800226 w 6926920"/>
              <a:gd name="connsiteY12" fmla="*/ 69238 h 6049622"/>
              <a:gd name="connsiteX13" fmla="*/ 851489 w 6926920"/>
              <a:gd name="connsiteY13" fmla="*/ 0 h 604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26920" h="6049622">
                <a:moveTo>
                  <a:pt x="4860324" y="0"/>
                </a:moveTo>
                <a:lnTo>
                  <a:pt x="4996049" y="108325"/>
                </a:lnTo>
                <a:cubicBezTo>
                  <a:pt x="5233690" y="302334"/>
                  <a:pt x="5479965" y="527088"/>
                  <a:pt x="5698648" y="786071"/>
                </a:cubicBezTo>
                <a:cubicBezTo>
                  <a:pt x="6189994" y="1362557"/>
                  <a:pt x="6404721" y="1694733"/>
                  <a:pt x="6609266" y="2102902"/>
                </a:cubicBezTo>
                <a:cubicBezTo>
                  <a:pt x="6813810" y="2511073"/>
                  <a:pt x="6913206" y="2940892"/>
                  <a:pt x="6925911" y="3235092"/>
                </a:cubicBezTo>
                <a:cubicBezTo>
                  <a:pt x="6938614" y="3529293"/>
                  <a:pt x="6831178" y="3855234"/>
                  <a:pt x="6616169" y="4160122"/>
                </a:cubicBezTo>
                <a:cubicBezTo>
                  <a:pt x="6401160" y="4465013"/>
                  <a:pt x="6108858" y="4757661"/>
                  <a:pt x="5635862" y="5064429"/>
                </a:cubicBezTo>
                <a:cubicBezTo>
                  <a:pt x="5162866" y="5371195"/>
                  <a:pt x="4539301" y="5676271"/>
                  <a:pt x="3812855" y="5854731"/>
                </a:cubicBezTo>
                <a:cubicBezTo>
                  <a:pt x="3086408" y="6033190"/>
                  <a:pt x="2413901" y="6080070"/>
                  <a:pt x="2011211" y="6031828"/>
                </a:cubicBezTo>
                <a:cubicBezTo>
                  <a:pt x="1608520" y="5983586"/>
                  <a:pt x="1153022" y="5846732"/>
                  <a:pt x="830213" y="5589273"/>
                </a:cubicBezTo>
                <a:cubicBezTo>
                  <a:pt x="507402" y="5331815"/>
                  <a:pt x="235392" y="4875725"/>
                  <a:pt x="109391" y="4288148"/>
                </a:cubicBezTo>
                <a:cubicBezTo>
                  <a:pt x="-16612" y="3700571"/>
                  <a:pt x="-40937" y="2766966"/>
                  <a:pt x="74201" y="2063814"/>
                </a:cubicBezTo>
                <a:cubicBezTo>
                  <a:pt x="189340" y="1360663"/>
                  <a:pt x="464124" y="565081"/>
                  <a:pt x="800226" y="69238"/>
                </a:cubicBezTo>
                <a:lnTo>
                  <a:pt x="851489"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endParaRPr lang="en-US">
              <a:solidFill>
                <a:schemeClr val="lt1"/>
              </a:solidFill>
              <a:latin typeface="+mn-lt"/>
            </a:endParaRPr>
          </a:p>
        </p:txBody>
      </p:sp>
      <p:sp>
        <p:nvSpPr>
          <p:cNvPr id="2" name="Titel 1"/>
          <p:cNvSpPr>
            <a:spLocks noGrp="1"/>
          </p:cNvSpPr>
          <p:nvPr>
            <p:ph type="title" hasCustomPrompt="1"/>
          </p:nvPr>
        </p:nvSpPr>
        <p:spPr bwMode="gray">
          <a:xfrm>
            <a:off x="407987" y="188913"/>
            <a:ext cx="3780000" cy="1008062"/>
          </a:xfrm>
        </p:spPr>
        <p:txBody>
          <a:bodyPr vert="horz"/>
          <a:lstStyle>
            <a:lvl1pPr rtl="0">
              <a:defRPr/>
            </a:lvl1pPr>
          </a:lstStyle>
          <a:p>
            <a:r>
              <a:rPr lang="en-US"/>
              <a:t>Edit master title format</a:t>
            </a:r>
            <a:endParaRPr lang="en-US" noProof="0"/>
          </a:p>
        </p:txBody>
      </p:sp>
      <p:sp>
        <p:nvSpPr>
          <p:cNvPr id="15" name="Textplatzhalter 14">
            <a:extLst>
              <a:ext uri="{FF2B5EF4-FFF2-40B4-BE49-F238E27FC236}">
                <a16:creationId xmlns:a16="http://schemas.microsoft.com/office/drawing/2014/main" id="{20BD67AB-7379-7C58-24DF-3C5FCE993646}"/>
              </a:ext>
            </a:extLst>
          </p:cNvPr>
          <p:cNvSpPr>
            <a:spLocks noGrp="1"/>
          </p:cNvSpPr>
          <p:nvPr>
            <p:ph type="body" sz="quarter" idx="17" hasCustomPrompt="1"/>
          </p:nvPr>
        </p:nvSpPr>
        <p:spPr>
          <a:xfrm>
            <a:off x="407987" y="1201738"/>
            <a:ext cx="3780000" cy="5101199"/>
          </a:xfrm>
        </p:spPr>
        <p:txBody>
          <a:bodyPr tIns="36000"/>
          <a:lstStyle>
            <a:lvl1pPr>
              <a:defRPr sz="1800"/>
            </a:lvl1pPr>
            <a:lvl2pPr marL="180000" indent="-180000">
              <a:defRPr sz="1800"/>
            </a:lvl2pPr>
            <a:lvl3pPr marL="360000" indent="-180000">
              <a:defRPr sz="1800"/>
            </a:lvl3pPr>
            <a:lvl4pPr marL="540000" indent="-180000">
              <a:defRPr sz="1800"/>
            </a:lvl4pPr>
            <a:lvl5pPr marL="720000" indent="-180000">
              <a:defRPr sz="1800"/>
            </a:lvl5pPr>
          </a:lstStyle>
          <a:p>
            <a:pPr lvl="0"/>
            <a:r>
              <a:rPr lang="en-US"/>
              <a:t>Edit master text format</a:t>
            </a:r>
          </a:p>
          <a:p>
            <a:pPr lvl="1"/>
            <a:r>
              <a:rPr lang="en-US"/>
              <a:t>Second line</a:t>
            </a:r>
          </a:p>
          <a:p>
            <a:pPr lvl="2"/>
            <a:r>
              <a:rPr lang="en-US"/>
              <a:t>Third line</a:t>
            </a:r>
          </a:p>
          <a:p>
            <a:pPr lvl="3"/>
            <a:r>
              <a:rPr lang="en-US"/>
              <a:t>Fourth line</a:t>
            </a:r>
          </a:p>
          <a:p>
            <a:pPr lvl="4"/>
            <a:r>
              <a:rPr lang="en-US"/>
              <a:t>Fifth line</a:t>
            </a:r>
          </a:p>
        </p:txBody>
      </p:sp>
      <p:sp>
        <p:nvSpPr>
          <p:cNvPr id="25" name="Freihandform: Form 24">
            <a:extLst>
              <a:ext uri="{FF2B5EF4-FFF2-40B4-BE49-F238E27FC236}">
                <a16:creationId xmlns:a16="http://schemas.microsoft.com/office/drawing/2014/main" id="{E3C9B2D9-2863-15D9-7DED-20F6427304C7}"/>
              </a:ext>
            </a:extLst>
          </p:cNvPr>
          <p:cNvSpPr/>
          <p:nvPr userDrawn="1"/>
        </p:nvSpPr>
        <p:spPr bwMode="auto">
          <a:xfrm>
            <a:off x="7044724" y="1"/>
            <a:ext cx="4739288" cy="4331673"/>
          </a:xfrm>
          <a:custGeom>
            <a:avLst/>
            <a:gdLst>
              <a:gd name="connsiteX0" fmla="*/ 1040855 w 4739288"/>
              <a:gd name="connsiteY0" fmla="*/ 0 h 4331673"/>
              <a:gd name="connsiteX1" fmla="*/ 3698433 w 4739288"/>
              <a:gd name="connsiteY1" fmla="*/ 0 h 4331673"/>
              <a:gd name="connsiteX2" fmla="*/ 3876958 w 4739288"/>
              <a:gd name="connsiteY2" fmla="*/ 133498 h 4331673"/>
              <a:gd name="connsiteX3" fmla="*/ 4739288 w 4739288"/>
              <a:gd name="connsiteY3" fmla="*/ 1962030 h 4331673"/>
              <a:gd name="connsiteX4" fmla="*/ 2369644 w 4739288"/>
              <a:gd name="connsiteY4" fmla="*/ 4331673 h 4331673"/>
              <a:gd name="connsiteX5" fmla="*/ 0 w 4739288"/>
              <a:gd name="connsiteY5" fmla="*/ 1962030 h 4331673"/>
              <a:gd name="connsiteX6" fmla="*/ 862331 w 4739288"/>
              <a:gd name="connsiteY6" fmla="*/ 133498 h 4331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9288" h="4331673">
                <a:moveTo>
                  <a:pt x="1040855" y="0"/>
                </a:moveTo>
                <a:lnTo>
                  <a:pt x="3698433" y="0"/>
                </a:lnTo>
                <a:lnTo>
                  <a:pt x="3876958" y="133498"/>
                </a:lnTo>
                <a:cubicBezTo>
                  <a:pt x="4403604" y="568126"/>
                  <a:pt x="4739288" y="1225876"/>
                  <a:pt x="4739288" y="1962030"/>
                </a:cubicBezTo>
                <a:cubicBezTo>
                  <a:pt x="4739288" y="3270748"/>
                  <a:pt x="3678362" y="4331673"/>
                  <a:pt x="2369644" y="4331673"/>
                </a:cubicBezTo>
                <a:cubicBezTo>
                  <a:pt x="1060926" y="4331673"/>
                  <a:pt x="0" y="3270748"/>
                  <a:pt x="0" y="1962030"/>
                </a:cubicBezTo>
                <a:cubicBezTo>
                  <a:pt x="0" y="1225876"/>
                  <a:pt x="335684" y="568126"/>
                  <a:pt x="862331" y="133498"/>
                </a:cubicBezTo>
                <a:close/>
              </a:path>
            </a:pathLst>
          </a:custGeom>
          <a:solidFill>
            <a:schemeClr val="accent2"/>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charset="0"/>
            </a:endParaRPr>
          </a:p>
        </p:txBody>
      </p:sp>
      <p:sp>
        <p:nvSpPr>
          <p:cNvPr id="31" name="Freihandform: Form 30">
            <a:extLst>
              <a:ext uri="{FF2B5EF4-FFF2-40B4-BE49-F238E27FC236}">
                <a16:creationId xmlns:a16="http://schemas.microsoft.com/office/drawing/2014/main" id="{55F22DF7-329D-8E9D-BE86-418EFA615039}"/>
              </a:ext>
            </a:extLst>
          </p:cNvPr>
          <p:cNvSpPr/>
          <p:nvPr userDrawn="1"/>
        </p:nvSpPr>
        <p:spPr bwMode="auto">
          <a:xfrm>
            <a:off x="4439290" y="0"/>
            <a:ext cx="6987975" cy="6033688"/>
          </a:xfrm>
          <a:custGeom>
            <a:avLst/>
            <a:gdLst>
              <a:gd name="connsiteX0" fmla="*/ 6456435 w 6987975"/>
              <a:gd name="connsiteY0" fmla="*/ 0 h 6033688"/>
              <a:gd name="connsiteX1" fmla="*/ 6467074 w 6987975"/>
              <a:gd name="connsiteY1" fmla="*/ 17173 h 6033688"/>
              <a:gd name="connsiteX2" fmla="*/ 6871417 w 6987975"/>
              <a:gd name="connsiteY2" fmla="*/ 1141424 h 6033688"/>
              <a:gd name="connsiteX3" fmla="*/ 6933619 w 6987975"/>
              <a:gd name="connsiteY3" fmla="*/ 3127391 h 6033688"/>
              <a:gd name="connsiteX4" fmla="*/ 6433728 w 6987975"/>
              <a:gd name="connsiteY4" fmla="*/ 4867332 h 6033688"/>
              <a:gd name="connsiteX5" fmla="*/ 5586787 w 6987975"/>
              <a:gd name="connsiteY5" fmla="*/ 5801838 h 6033688"/>
              <a:gd name="connsiteX6" fmla="*/ 4111534 w 6987975"/>
              <a:gd name="connsiteY6" fmla="*/ 5991944 h 6033688"/>
              <a:gd name="connsiteX7" fmla="*/ 2031046 w 6987975"/>
              <a:gd name="connsiteY7" fmla="*/ 5204249 h 6033688"/>
              <a:gd name="connsiteX8" fmla="*/ 444874 w 6987975"/>
              <a:gd name="connsiteY8" fmla="*/ 3793751 h 6033688"/>
              <a:gd name="connsiteX9" fmla="*/ 9530 w 6987975"/>
              <a:gd name="connsiteY9" fmla="*/ 2232527 h 6033688"/>
              <a:gd name="connsiteX10" fmla="*/ 746139 w 6987975"/>
              <a:gd name="connsiteY10" fmla="*/ 856062 h 6033688"/>
              <a:gd name="connsiteX11" fmla="*/ 1582881 w 6987975"/>
              <a:gd name="connsiteY11" fmla="*/ 172994 h 6033688"/>
              <a:gd name="connsiteX12" fmla="*/ 1723073 w 6987975"/>
              <a:gd name="connsiteY12" fmla="*/ 86718 h 6033688"/>
              <a:gd name="connsiteX13" fmla="*/ 1868312 w 6987975"/>
              <a:gd name="connsiteY13" fmla="*/ 1 h 6033688"/>
              <a:gd name="connsiteX0" fmla="*/ 6456435 w 6987975"/>
              <a:gd name="connsiteY0" fmla="*/ 0 h 6033688"/>
              <a:gd name="connsiteX1" fmla="*/ 6467074 w 6987975"/>
              <a:gd name="connsiteY1" fmla="*/ 17173 h 6033688"/>
              <a:gd name="connsiteX2" fmla="*/ 6871417 w 6987975"/>
              <a:gd name="connsiteY2" fmla="*/ 1141424 h 6033688"/>
              <a:gd name="connsiteX3" fmla="*/ 6933619 w 6987975"/>
              <a:gd name="connsiteY3" fmla="*/ 3127391 h 6033688"/>
              <a:gd name="connsiteX4" fmla="*/ 6433728 w 6987975"/>
              <a:gd name="connsiteY4" fmla="*/ 4867332 h 6033688"/>
              <a:gd name="connsiteX5" fmla="*/ 5586787 w 6987975"/>
              <a:gd name="connsiteY5" fmla="*/ 5801838 h 6033688"/>
              <a:gd name="connsiteX6" fmla="*/ 4111534 w 6987975"/>
              <a:gd name="connsiteY6" fmla="*/ 5991944 h 6033688"/>
              <a:gd name="connsiteX7" fmla="*/ 2031046 w 6987975"/>
              <a:gd name="connsiteY7" fmla="*/ 5204249 h 6033688"/>
              <a:gd name="connsiteX8" fmla="*/ 444874 w 6987975"/>
              <a:gd name="connsiteY8" fmla="*/ 3793751 h 6033688"/>
              <a:gd name="connsiteX9" fmla="*/ 9530 w 6987975"/>
              <a:gd name="connsiteY9" fmla="*/ 2232527 h 6033688"/>
              <a:gd name="connsiteX10" fmla="*/ 746139 w 6987975"/>
              <a:gd name="connsiteY10" fmla="*/ 856062 h 6033688"/>
              <a:gd name="connsiteX11" fmla="*/ 1582881 w 6987975"/>
              <a:gd name="connsiteY11" fmla="*/ 172994 h 6033688"/>
              <a:gd name="connsiteX12" fmla="*/ 1723073 w 6987975"/>
              <a:gd name="connsiteY12" fmla="*/ 86718 h 6033688"/>
              <a:gd name="connsiteX13" fmla="*/ 1868312 w 6987975"/>
              <a:gd name="connsiteY13" fmla="*/ 1 h 6033688"/>
              <a:gd name="connsiteX14" fmla="*/ 6547875 w 6987975"/>
              <a:gd name="connsiteY14" fmla="*/ 91440 h 6033688"/>
              <a:gd name="connsiteX0" fmla="*/ 6456435 w 6987975"/>
              <a:gd name="connsiteY0" fmla="*/ 0 h 6033688"/>
              <a:gd name="connsiteX1" fmla="*/ 6467074 w 6987975"/>
              <a:gd name="connsiteY1" fmla="*/ 17173 h 6033688"/>
              <a:gd name="connsiteX2" fmla="*/ 6871417 w 6987975"/>
              <a:gd name="connsiteY2" fmla="*/ 1141424 h 6033688"/>
              <a:gd name="connsiteX3" fmla="*/ 6933619 w 6987975"/>
              <a:gd name="connsiteY3" fmla="*/ 3127391 h 6033688"/>
              <a:gd name="connsiteX4" fmla="*/ 6433728 w 6987975"/>
              <a:gd name="connsiteY4" fmla="*/ 4867332 h 6033688"/>
              <a:gd name="connsiteX5" fmla="*/ 5586787 w 6987975"/>
              <a:gd name="connsiteY5" fmla="*/ 5801838 h 6033688"/>
              <a:gd name="connsiteX6" fmla="*/ 4111534 w 6987975"/>
              <a:gd name="connsiteY6" fmla="*/ 5991944 h 6033688"/>
              <a:gd name="connsiteX7" fmla="*/ 2031046 w 6987975"/>
              <a:gd name="connsiteY7" fmla="*/ 5204249 h 6033688"/>
              <a:gd name="connsiteX8" fmla="*/ 444874 w 6987975"/>
              <a:gd name="connsiteY8" fmla="*/ 3793751 h 6033688"/>
              <a:gd name="connsiteX9" fmla="*/ 9530 w 6987975"/>
              <a:gd name="connsiteY9" fmla="*/ 2232527 h 6033688"/>
              <a:gd name="connsiteX10" fmla="*/ 746139 w 6987975"/>
              <a:gd name="connsiteY10" fmla="*/ 856062 h 6033688"/>
              <a:gd name="connsiteX11" fmla="*/ 1582881 w 6987975"/>
              <a:gd name="connsiteY11" fmla="*/ 172994 h 6033688"/>
              <a:gd name="connsiteX12" fmla="*/ 1723073 w 6987975"/>
              <a:gd name="connsiteY12" fmla="*/ 86718 h 6033688"/>
              <a:gd name="connsiteX13" fmla="*/ 1868312 w 6987975"/>
              <a:gd name="connsiteY13" fmla="*/ 1 h 603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87975" h="6033688">
                <a:moveTo>
                  <a:pt x="6456435" y="0"/>
                </a:moveTo>
                <a:lnTo>
                  <a:pt x="6467074" y="17173"/>
                </a:lnTo>
                <a:cubicBezTo>
                  <a:pt x="6636743" y="306613"/>
                  <a:pt x="6774569" y="657731"/>
                  <a:pt x="6871417" y="1141424"/>
                </a:cubicBezTo>
                <a:cubicBezTo>
                  <a:pt x="6982100" y="1694217"/>
                  <a:pt x="7035677" y="2386341"/>
                  <a:pt x="6933619" y="3127391"/>
                </a:cubicBezTo>
                <a:cubicBezTo>
                  <a:pt x="6831561" y="3868442"/>
                  <a:pt x="6627094" y="4510826"/>
                  <a:pt x="6433728" y="4867332"/>
                </a:cubicBezTo>
                <a:cubicBezTo>
                  <a:pt x="6240363" y="5223838"/>
                  <a:pt x="5945156" y="5596746"/>
                  <a:pt x="5586787" y="5801838"/>
                </a:cubicBezTo>
                <a:cubicBezTo>
                  <a:pt x="5228418" y="6006931"/>
                  <a:pt x="4704158" y="6091542"/>
                  <a:pt x="4111534" y="5991944"/>
                </a:cubicBezTo>
                <a:cubicBezTo>
                  <a:pt x="3518910" y="5892346"/>
                  <a:pt x="2642156" y="5570615"/>
                  <a:pt x="2031046" y="5204249"/>
                </a:cubicBezTo>
                <a:cubicBezTo>
                  <a:pt x="1419935" y="4837884"/>
                  <a:pt x="781794" y="4289039"/>
                  <a:pt x="444874" y="3793751"/>
                </a:cubicBezTo>
                <a:cubicBezTo>
                  <a:pt x="107955" y="3298464"/>
                  <a:pt x="-40681" y="2722141"/>
                  <a:pt x="9530" y="2232527"/>
                </a:cubicBezTo>
                <a:cubicBezTo>
                  <a:pt x="59740" y="1742912"/>
                  <a:pt x="406465" y="1187834"/>
                  <a:pt x="746139" y="856062"/>
                </a:cubicBezTo>
                <a:cubicBezTo>
                  <a:pt x="1085813" y="524290"/>
                  <a:pt x="1220927" y="398158"/>
                  <a:pt x="1582881" y="172994"/>
                </a:cubicBezTo>
                <a:lnTo>
                  <a:pt x="1723073" y="86718"/>
                </a:lnTo>
                <a:lnTo>
                  <a:pt x="1868312" y="1"/>
                </a:ln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endParaRPr lang="en-US">
              <a:solidFill>
                <a:schemeClr val="lt1"/>
              </a:solidFill>
              <a:latin typeface="+mn-lt"/>
            </a:endParaRPr>
          </a:p>
        </p:txBody>
      </p:sp>
      <p:sp>
        <p:nvSpPr>
          <p:cNvPr id="21" name="Bildplatzhalter 20">
            <a:extLst>
              <a:ext uri="{FF2B5EF4-FFF2-40B4-BE49-F238E27FC236}">
                <a16:creationId xmlns:a16="http://schemas.microsoft.com/office/drawing/2014/main" id="{04DFA8A8-F2AB-9E56-3205-66985BF5AC52}"/>
              </a:ext>
            </a:extLst>
          </p:cNvPr>
          <p:cNvSpPr>
            <a:spLocks noGrp="1"/>
          </p:cNvSpPr>
          <p:nvPr>
            <p:ph type="pic" sz="quarter" idx="13" hasCustomPrompt="1"/>
          </p:nvPr>
        </p:nvSpPr>
        <p:spPr bwMode="gray">
          <a:xfrm>
            <a:off x="4648263" y="0"/>
            <a:ext cx="6380005" cy="5630318"/>
          </a:xfrm>
          <a:custGeom>
            <a:avLst/>
            <a:gdLst>
              <a:gd name="connsiteX0" fmla="*/ 1315320 w 6380005"/>
              <a:gd name="connsiteY0" fmla="*/ 0 h 5630318"/>
              <a:gd name="connsiteX1" fmla="*/ 4639253 w 6380005"/>
              <a:gd name="connsiteY1" fmla="*/ 0 h 5630318"/>
              <a:gd name="connsiteX2" fmla="*/ 4716630 w 6380005"/>
              <a:gd name="connsiteY2" fmla="*/ 71940 h 5630318"/>
              <a:gd name="connsiteX3" fmla="*/ 4969604 w 6380005"/>
              <a:gd name="connsiteY3" fmla="*/ 346226 h 5630318"/>
              <a:gd name="connsiteX4" fmla="*/ 5759915 w 6380005"/>
              <a:gd name="connsiteY4" fmla="*/ 1474340 h 5630318"/>
              <a:gd name="connsiteX5" fmla="*/ 6300270 w 6380005"/>
              <a:gd name="connsiteY5" fmla="*/ 2849284 h 5630318"/>
              <a:gd name="connsiteX6" fmla="*/ 6345983 w 6380005"/>
              <a:gd name="connsiteY6" fmla="*/ 3933116 h 5630318"/>
              <a:gd name="connsiteX7" fmla="*/ 5872684 w 6380005"/>
              <a:gd name="connsiteY7" fmla="*/ 4698774 h 5630318"/>
              <a:gd name="connsiteX8" fmla="*/ 4801376 w 6380005"/>
              <a:gd name="connsiteY8" fmla="*/ 5304417 h 5630318"/>
              <a:gd name="connsiteX9" fmla="*/ 2997095 w 6380005"/>
              <a:gd name="connsiteY9" fmla="*/ 5629958 h 5630318"/>
              <a:gd name="connsiteX10" fmla="*/ 1341306 w 6380005"/>
              <a:gd name="connsiteY10" fmla="*/ 5409151 h 5630318"/>
              <a:gd name="connsiteX11" fmla="*/ 373714 w 6380005"/>
              <a:gd name="connsiteY11" fmla="*/ 4762571 h 5630318"/>
              <a:gd name="connsiteX12" fmla="*/ 544 w 6380005"/>
              <a:gd name="connsiteY12" fmla="*/ 3441756 h 5630318"/>
              <a:gd name="connsiteX13" fmla="*/ 437959 w 6380005"/>
              <a:gd name="connsiteY13" fmla="*/ 1436182 h 5630318"/>
              <a:gd name="connsiteX14" fmla="*/ 1225794 w 6380005"/>
              <a:gd name="connsiteY14" fmla="*/ 103104 h 563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0005" h="5630318">
                <a:moveTo>
                  <a:pt x="1315320" y="0"/>
                </a:moveTo>
                <a:lnTo>
                  <a:pt x="4639253" y="0"/>
                </a:lnTo>
                <a:lnTo>
                  <a:pt x="4716630" y="71940"/>
                </a:lnTo>
                <a:cubicBezTo>
                  <a:pt x="4795755" y="148531"/>
                  <a:pt x="4874166" y="233763"/>
                  <a:pt x="4969604" y="346226"/>
                </a:cubicBezTo>
                <a:cubicBezTo>
                  <a:pt x="5224108" y="646128"/>
                  <a:pt x="5532977" y="1028323"/>
                  <a:pt x="5759915" y="1474340"/>
                </a:cubicBezTo>
                <a:cubicBezTo>
                  <a:pt x="6079742" y="2095812"/>
                  <a:pt x="6202592" y="2439488"/>
                  <a:pt x="6300270" y="2849284"/>
                </a:cubicBezTo>
                <a:cubicBezTo>
                  <a:pt x="6397948" y="3259080"/>
                  <a:pt x="6396605" y="3666152"/>
                  <a:pt x="6345983" y="3933116"/>
                </a:cubicBezTo>
                <a:cubicBezTo>
                  <a:pt x="6295360" y="4200081"/>
                  <a:pt x="6130119" y="4470224"/>
                  <a:pt x="5872684" y="4698774"/>
                </a:cubicBezTo>
                <a:cubicBezTo>
                  <a:pt x="5615249" y="4927324"/>
                  <a:pt x="5290961" y="5128580"/>
                  <a:pt x="4801376" y="5304417"/>
                </a:cubicBezTo>
                <a:cubicBezTo>
                  <a:pt x="4311791" y="5480255"/>
                  <a:pt x="3687304" y="5622824"/>
                  <a:pt x="2997095" y="5629958"/>
                </a:cubicBezTo>
                <a:cubicBezTo>
                  <a:pt x="2306886" y="5637092"/>
                  <a:pt x="1692877" y="5537399"/>
                  <a:pt x="1341306" y="5409151"/>
                </a:cubicBezTo>
                <a:cubicBezTo>
                  <a:pt x="989735" y="5280903"/>
                  <a:pt x="609411" y="5061918"/>
                  <a:pt x="373714" y="4762571"/>
                </a:cubicBezTo>
                <a:cubicBezTo>
                  <a:pt x="138016" y="4463225"/>
                  <a:pt x="-10163" y="3996155"/>
                  <a:pt x="544" y="3441756"/>
                </a:cubicBezTo>
                <a:cubicBezTo>
                  <a:pt x="11252" y="2887357"/>
                  <a:pt x="186260" y="2043556"/>
                  <a:pt x="437959" y="1436182"/>
                </a:cubicBezTo>
                <a:cubicBezTo>
                  <a:pt x="630666" y="971161"/>
                  <a:pt x="918862" y="477201"/>
                  <a:pt x="1225794" y="103104"/>
                </a:cubicBezTo>
                <a:close/>
              </a:path>
            </a:pathLst>
          </a:custGeom>
          <a:solidFill>
            <a:schemeClr val="accent1"/>
          </a:solidFill>
          <a:ln>
            <a:noFill/>
          </a:ln>
          <a:effectLst/>
        </p:spPr>
        <p:txBody>
          <a:bodyPr wrap="square" anchor="ctr" anchorCtr="0">
            <a:noAutofit/>
          </a:bodyPr>
          <a:lstStyle>
            <a:lvl1pPr marL="0" indent="0" algn="ctr">
              <a:buNone/>
              <a:defRPr sz="1200">
                <a:solidFill>
                  <a:schemeClr val="bg1"/>
                </a:solidFill>
              </a:defRPr>
            </a:lvl1pPr>
          </a:lstStyle>
          <a:p>
            <a:r>
              <a:rPr lang="en-US" noProof="0"/>
              <a:t>Add image by clicking on icon</a:t>
            </a:r>
          </a:p>
        </p:txBody>
      </p:sp>
      <p:sp>
        <p:nvSpPr>
          <p:cNvPr id="3" name="Datumsplatzhalter 2">
            <a:extLst>
              <a:ext uri="{FF2B5EF4-FFF2-40B4-BE49-F238E27FC236}">
                <a16:creationId xmlns:a16="http://schemas.microsoft.com/office/drawing/2014/main" id="{F61F12B5-6CFA-12F8-C877-03135065F9A7}"/>
              </a:ext>
            </a:extLst>
          </p:cNvPr>
          <p:cNvSpPr>
            <a:spLocks noGrp="1"/>
          </p:cNvSpPr>
          <p:nvPr>
            <p:ph type="dt" sz="half" idx="18"/>
          </p:nvPr>
        </p:nvSpPr>
        <p:spPr/>
        <p:txBody>
          <a:bodyPr/>
          <a:lstStyle/>
          <a:p>
            <a:r>
              <a:rPr lang="en-US"/>
              <a:t>September 2025</a:t>
            </a:r>
          </a:p>
        </p:txBody>
      </p:sp>
      <p:sp>
        <p:nvSpPr>
          <p:cNvPr id="4" name="Fußzeilenplatzhalter 3">
            <a:extLst>
              <a:ext uri="{FF2B5EF4-FFF2-40B4-BE49-F238E27FC236}">
                <a16:creationId xmlns:a16="http://schemas.microsoft.com/office/drawing/2014/main" id="{C0059A62-9392-72E5-D4D1-6531D20772F7}"/>
              </a:ext>
            </a:extLst>
          </p:cNvPr>
          <p:cNvSpPr>
            <a:spLocks noGrp="1"/>
          </p:cNvSpPr>
          <p:nvPr>
            <p:ph type="ftr" sz="quarter" idx="19"/>
          </p:nvPr>
        </p:nvSpPr>
        <p:spPr/>
        <p:txBody>
          <a:bodyPr/>
          <a:lstStyle/>
          <a:p>
            <a:r>
              <a:rPr lang="en-US"/>
              <a:t>Achieving robust textures with PTFE-free additives</a:t>
            </a:r>
          </a:p>
        </p:txBody>
      </p:sp>
      <p:sp>
        <p:nvSpPr>
          <p:cNvPr id="7" name="Foliennummernplatzhalter 6">
            <a:extLst>
              <a:ext uri="{FF2B5EF4-FFF2-40B4-BE49-F238E27FC236}">
                <a16:creationId xmlns:a16="http://schemas.microsoft.com/office/drawing/2014/main" id="{16CD0C5D-FE14-5164-86E5-EB2749B62D53}"/>
              </a:ext>
            </a:extLst>
          </p:cNvPr>
          <p:cNvSpPr>
            <a:spLocks noGrp="1"/>
          </p:cNvSpPr>
          <p:nvPr>
            <p:ph type="sldNum" sz="quarter" idx="20"/>
          </p:nvPr>
        </p:nvSpPr>
        <p:spPr/>
        <p:txBody>
          <a:bodyPr/>
          <a:lstStyle/>
          <a:p>
            <a:r>
              <a:rPr lang="en-US"/>
              <a:t>Page </a:t>
            </a:r>
            <a:fld id="{F833201C-4142-4F26-B8B7-249C87787C9A}" type="slidenum">
              <a:rPr lang="en-US" smtClean="0"/>
              <a:pPr/>
              <a:t>‹#›</a:t>
            </a:fld>
            <a:endParaRPr lang="en-US"/>
          </a:p>
        </p:txBody>
      </p:sp>
    </p:spTree>
    <p:extLst>
      <p:ext uri="{BB962C8B-B14F-4D97-AF65-F5344CB8AC3E}">
        <p14:creationId xmlns:p14="http://schemas.microsoft.com/office/powerpoint/2010/main" val="29045311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Picture (18p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BF06D-A142-B53A-43D7-B1E6AEF7918A}"/>
              </a:ext>
            </a:extLst>
          </p:cNvPr>
          <p:cNvGraphicFramePr>
            <a:graphicFrameLocks noChangeAspect="1"/>
          </p:cNvGraphicFramePr>
          <p:nvPr userDrawn="1">
            <p:custDataLst>
              <p:tags r:id="rId1"/>
            </p:custDataLst>
            <p:extLst>
              <p:ext uri="{D42A27DB-BD31-4B8C-83A1-F6EECF244321}">
                <p14:modId xmlns:p14="http://schemas.microsoft.com/office/powerpoint/2010/main" val="1126627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think-cell data - do not delete" hidden="1">
                        <a:extLst>
                          <a:ext uri="{FF2B5EF4-FFF2-40B4-BE49-F238E27FC236}">
                            <a16:creationId xmlns:a16="http://schemas.microsoft.com/office/drawing/2014/main" id="{EA6BF06D-A142-B53A-43D7-B1E6AEF791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a:xfrm>
            <a:off x="6167437" y="188913"/>
            <a:ext cx="5616575" cy="1008062"/>
          </a:xfrm>
        </p:spPr>
        <p:txBody>
          <a:bodyPr vert="horz"/>
          <a:lstStyle>
            <a:lvl1pPr rtl="0">
              <a:defRPr>
                <a:solidFill>
                  <a:schemeClr val="accent2"/>
                </a:solidFill>
              </a:defRPr>
            </a:lvl1pPr>
          </a:lstStyle>
          <a:p>
            <a:r>
              <a:rPr lang="en-US"/>
              <a:t>Edit master title format</a:t>
            </a:r>
            <a:endParaRPr lang="en-US" noProof="0"/>
          </a:p>
        </p:txBody>
      </p:sp>
      <p:sp>
        <p:nvSpPr>
          <p:cNvPr id="12" name="Inhaltsplatzhalter 11">
            <a:extLst>
              <a:ext uri="{FF2B5EF4-FFF2-40B4-BE49-F238E27FC236}">
                <a16:creationId xmlns:a16="http://schemas.microsoft.com/office/drawing/2014/main" id="{ED288AC6-1AF5-40E1-A42F-9119B6A188B5}"/>
              </a:ext>
            </a:extLst>
          </p:cNvPr>
          <p:cNvSpPr>
            <a:spLocks noGrp="1"/>
          </p:cNvSpPr>
          <p:nvPr>
            <p:ph idx="1" hasCustomPrompt="1"/>
          </p:nvPr>
        </p:nvSpPr>
        <p:spPr bwMode="gray">
          <a:xfrm>
            <a:off x="6167437" y="1201738"/>
            <a:ext cx="5614326" cy="5105353"/>
          </a:xfrm>
          <a:prstGeom prst="rect">
            <a:avLst/>
          </a:prstGeom>
          <a:noFill/>
        </p:spPr>
        <p:txBody>
          <a:bodyPr wrap="square" lIns="0" tIns="36000" rIns="0" bIns="0">
            <a:noAutofit/>
          </a:bodyPr>
          <a:lstStyle>
            <a:lvl1pPr rtl="0">
              <a:buClr>
                <a:schemeClr val="accent2"/>
              </a:buClr>
              <a:defRPr sz="1800">
                <a:solidFill>
                  <a:schemeClr val="tx1"/>
                </a:solidFill>
              </a:defRPr>
            </a:lvl1pPr>
            <a:lvl2pPr marL="180000" indent="-180000" rtl="0">
              <a:buClr>
                <a:schemeClr val="accent2"/>
              </a:buClr>
              <a:defRPr sz="1800">
                <a:solidFill>
                  <a:schemeClr val="tx1"/>
                </a:solidFill>
              </a:defRPr>
            </a:lvl2pPr>
            <a:lvl3pPr marL="360000" indent="-180000" rtl="0">
              <a:buClr>
                <a:schemeClr val="accent2"/>
              </a:buClr>
              <a:defRPr sz="1800">
                <a:solidFill>
                  <a:schemeClr val="tx1"/>
                </a:solidFill>
              </a:defRPr>
            </a:lvl3pPr>
            <a:lvl4pPr marL="540000" indent="-180000" rtl="0">
              <a:buClr>
                <a:schemeClr val="accent2"/>
              </a:buClr>
              <a:defRPr sz="1800">
                <a:solidFill>
                  <a:schemeClr val="tx1"/>
                </a:solidFill>
              </a:defRPr>
            </a:lvl4pPr>
            <a:lvl5pPr marL="720000" indent="-180000" rtl="0">
              <a:buClr>
                <a:schemeClr val="accent2"/>
              </a:buClr>
              <a:defRPr sz="1800">
                <a:solidFill>
                  <a:schemeClr val="tx1"/>
                </a:solidFill>
              </a:defRPr>
            </a:lvl5pPr>
            <a:lvl6pPr marL="900000" indent="-180000">
              <a:buClr>
                <a:schemeClr val="bg1"/>
              </a:buClr>
              <a:defRPr sz="1800">
                <a:solidFill>
                  <a:schemeClr val="bg1"/>
                </a:solidFill>
              </a:defRPr>
            </a:lvl6pPr>
            <a:lvl7pPr marL="900000" indent="-180000">
              <a:buClr>
                <a:schemeClr val="bg1"/>
              </a:buClr>
              <a:defRPr sz="1800">
                <a:solidFill>
                  <a:schemeClr val="bg1"/>
                </a:solidFill>
              </a:defRPr>
            </a:lvl7pPr>
            <a:lvl8pPr marL="900000" indent="-180000">
              <a:buClr>
                <a:schemeClr val="bg1"/>
              </a:buClr>
              <a:defRPr sz="1800">
                <a:solidFill>
                  <a:schemeClr val="bg1"/>
                </a:solidFill>
              </a:defRPr>
            </a:lvl8pPr>
            <a:lvl9pPr marL="900000" indent="-180000">
              <a:buClr>
                <a:schemeClr val="bg1"/>
              </a:buClr>
              <a:defRPr sz="1800">
                <a:solidFill>
                  <a:schemeClr val="bg1"/>
                </a:solidFill>
              </a:defRPr>
            </a:lvl9pPr>
          </a:lstStyle>
          <a:p>
            <a:pPr lvl="0"/>
            <a:r>
              <a:rPr lang="en-US"/>
              <a:t>Edit master text format</a:t>
            </a:r>
          </a:p>
          <a:p>
            <a:pPr lvl="1"/>
            <a:r>
              <a:rPr lang="en-US"/>
              <a:t>Second line</a:t>
            </a:r>
          </a:p>
          <a:p>
            <a:pPr lvl="2"/>
            <a:r>
              <a:rPr lang="en-US"/>
              <a:t>Third line</a:t>
            </a:r>
          </a:p>
          <a:p>
            <a:pPr lvl="3"/>
            <a:r>
              <a:rPr lang="en-US"/>
              <a:t>Fourth line</a:t>
            </a:r>
          </a:p>
          <a:p>
            <a:pPr lvl="4"/>
            <a:r>
              <a:rPr lang="en-US"/>
              <a:t>Fifth line</a:t>
            </a:r>
          </a:p>
        </p:txBody>
      </p:sp>
      <p:sp>
        <p:nvSpPr>
          <p:cNvPr id="21" name="Freihandform: Form 20">
            <a:extLst>
              <a:ext uri="{FF2B5EF4-FFF2-40B4-BE49-F238E27FC236}">
                <a16:creationId xmlns:a16="http://schemas.microsoft.com/office/drawing/2014/main" id="{B7DD4AFA-4874-B73E-5168-89855972AE93}"/>
              </a:ext>
            </a:extLst>
          </p:cNvPr>
          <p:cNvSpPr>
            <a:spLocks noChangeAspect="1"/>
          </p:cNvSpPr>
          <p:nvPr userDrawn="1"/>
        </p:nvSpPr>
        <p:spPr>
          <a:xfrm rot="13106022">
            <a:off x="1345760" y="1284722"/>
            <a:ext cx="5634662" cy="4306562"/>
          </a:xfrm>
          <a:custGeom>
            <a:avLst/>
            <a:gdLst>
              <a:gd name="connsiteX0" fmla="*/ 7015964 w 7015964"/>
              <a:gd name="connsiteY0" fmla="*/ 5386141 h 6482271"/>
              <a:gd name="connsiteX1" fmla="*/ 5634662 w 7015964"/>
              <a:gd name="connsiteY1" fmla="*/ 6482271 h 6482271"/>
              <a:gd name="connsiteX2" fmla="*/ 5624121 w 7015964"/>
              <a:gd name="connsiteY2" fmla="*/ 6482180 h 6482271"/>
              <a:gd name="connsiteX3" fmla="*/ 2750553 w 7015964"/>
              <a:gd name="connsiteY3" fmla="*/ 6033724 h 6482271"/>
              <a:gd name="connsiteX4" fmla="*/ 765793 w 7015964"/>
              <a:gd name="connsiteY4" fmla="*/ 4707436 h 6482271"/>
              <a:gd name="connsiteX5" fmla="*/ 0 w 7015964"/>
              <a:gd name="connsiteY5" fmla="*/ 2209218 h 6482271"/>
              <a:gd name="connsiteX6" fmla="*/ 53 w 7015964"/>
              <a:gd name="connsiteY6" fmla="*/ 2175709 h 6482271"/>
              <a:gd name="connsiteX7" fmla="*/ 2741800 w 7015964"/>
              <a:gd name="connsiteY7" fmla="*/ 0 h 6482271"/>
              <a:gd name="connsiteX0" fmla="*/ 7015964 w 7107404"/>
              <a:gd name="connsiteY0" fmla="*/ 5386141 h 6482271"/>
              <a:gd name="connsiteX1" fmla="*/ 5634662 w 7107404"/>
              <a:gd name="connsiteY1" fmla="*/ 6482271 h 6482271"/>
              <a:gd name="connsiteX2" fmla="*/ 5624121 w 7107404"/>
              <a:gd name="connsiteY2" fmla="*/ 6482180 h 6482271"/>
              <a:gd name="connsiteX3" fmla="*/ 2750553 w 7107404"/>
              <a:gd name="connsiteY3" fmla="*/ 6033724 h 6482271"/>
              <a:gd name="connsiteX4" fmla="*/ 765793 w 7107404"/>
              <a:gd name="connsiteY4" fmla="*/ 4707436 h 6482271"/>
              <a:gd name="connsiteX5" fmla="*/ 0 w 7107404"/>
              <a:gd name="connsiteY5" fmla="*/ 2209218 h 6482271"/>
              <a:gd name="connsiteX6" fmla="*/ 53 w 7107404"/>
              <a:gd name="connsiteY6" fmla="*/ 2175709 h 6482271"/>
              <a:gd name="connsiteX7" fmla="*/ 2741800 w 7107404"/>
              <a:gd name="connsiteY7" fmla="*/ 0 h 6482271"/>
              <a:gd name="connsiteX8" fmla="*/ 7107404 w 7107404"/>
              <a:gd name="connsiteY8" fmla="*/ 5477581 h 6482271"/>
              <a:gd name="connsiteX0" fmla="*/ 7015964 w 7015964"/>
              <a:gd name="connsiteY0" fmla="*/ 5386141 h 6482271"/>
              <a:gd name="connsiteX1" fmla="*/ 5634662 w 7015964"/>
              <a:gd name="connsiteY1" fmla="*/ 6482271 h 6482271"/>
              <a:gd name="connsiteX2" fmla="*/ 5624121 w 7015964"/>
              <a:gd name="connsiteY2" fmla="*/ 6482180 h 6482271"/>
              <a:gd name="connsiteX3" fmla="*/ 2750553 w 7015964"/>
              <a:gd name="connsiteY3" fmla="*/ 6033724 h 6482271"/>
              <a:gd name="connsiteX4" fmla="*/ 765793 w 7015964"/>
              <a:gd name="connsiteY4" fmla="*/ 4707436 h 6482271"/>
              <a:gd name="connsiteX5" fmla="*/ 0 w 7015964"/>
              <a:gd name="connsiteY5" fmla="*/ 2209218 h 6482271"/>
              <a:gd name="connsiteX6" fmla="*/ 53 w 7015964"/>
              <a:gd name="connsiteY6" fmla="*/ 2175709 h 6482271"/>
              <a:gd name="connsiteX7" fmla="*/ 2741800 w 7015964"/>
              <a:gd name="connsiteY7" fmla="*/ 0 h 6482271"/>
              <a:gd name="connsiteX0" fmla="*/ 5634662 w 5634662"/>
              <a:gd name="connsiteY0" fmla="*/ 6482271 h 6482271"/>
              <a:gd name="connsiteX1" fmla="*/ 5624121 w 5634662"/>
              <a:gd name="connsiteY1" fmla="*/ 6482180 h 6482271"/>
              <a:gd name="connsiteX2" fmla="*/ 2750553 w 5634662"/>
              <a:gd name="connsiteY2" fmla="*/ 6033724 h 6482271"/>
              <a:gd name="connsiteX3" fmla="*/ 765793 w 5634662"/>
              <a:gd name="connsiteY3" fmla="*/ 4707436 h 6482271"/>
              <a:gd name="connsiteX4" fmla="*/ 0 w 5634662"/>
              <a:gd name="connsiteY4" fmla="*/ 2209218 h 6482271"/>
              <a:gd name="connsiteX5" fmla="*/ 53 w 5634662"/>
              <a:gd name="connsiteY5" fmla="*/ 2175709 h 6482271"/>
              <a:gd name="connsiteX6" fmla="*/ 2741800 w 5634662"/>
              <a:gd name="connsiteY6" fmla="*/ 0 h 6482271"/>
              <a:gd name="connsiteX0" fmla="*/ 5634662 w 5634662"/>
              <a:gd name="connsiteY0" fmla="*/ 4306562 h 4306562"/>
              <a:gd name="connsiteX1" fmla="*/ 5624121 w 5634662"/>
              <a:gd name="connsiteY1" fmla="*/ 4306471 h 4306562"/>
              <a:gd name="connsiteX2" fmla="*/ 2750553 w 5634662"/>
              <a:gd name="connsiteY2" fmla="*/ 3858015 h 4306562"/>
              <a:gd name="connsiteX3" fmla="*/ 765793 w 5634662"/>
              <a:gd name="connsiteY3" fmla="*/ 2531727 h 4306562"/>
              <a:gd name="connsiteX4" fmla="*/ 0 w 5634662"/>
              <a:gd name="connsiteY4" fmla="*/ 33509 h 4306562"/>
              <a:gd name="connsiteX5" fmla="*/ 53 w 5634662"/>
              <a:gd name="connsiteY5" fmla="*/ 0 h 430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4662" h="4306562">
                <a:moveTo>
                  <a:pt x="5634662" y="4306562"/>
                </a:moveTo>
                <a:lnTo>
                  <a:pt x="5624121" y="4306471"/>
                </a:lnTo>
                <a:cubicBezTo>
                  <a:pt x="4424727" y="4273537"/>
                  <a:pt x="3381564" y="4088199"/>
                  <a:pt x="2750553" y="3858015"/>
                </a:cubicBezTo>
                <a:cubicBezTo>
                  <a:pt x="2029398" y="3594948"/>
                  <a:pt x="1249263" y="3145758"/>
                  <a:pt x="765793" y="2531727"/>
                </a:cubicBezTo>
                <a:cubicBezTo>
                  <a:pt x="312539" y="1956073"/>
                  <a:pt x="17066" y="1078041"/>
                  <a:pt x="0" y="33509"/>
                </a:cubicBezTo>
                <a:cubicBezTo>
                  <a:pt x="18" y="22339"/>
                  <a:pt x="35" y="11170"/>
                  <a:pt x="53" y="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ihandform: Form 19">
            <a:extLst>
              <a:ext uri="{FF2B5EF4-FFF2-40B4-BE49-F238E27FC236}">
                <a16:creationId xmlns:a16="http://schemas.microsoft.com/office/drawing/2014/main" id="{C6213569-E63B-4D38-39FD-9863864D7A04}"/>
              </a:ext>
            </a:extLst>
          </p:cNvPr>
          <p:cNvSpPr>
            <a:spLocks noChangeAspect="1"/>
          </p:cNvSpPr>
          <p:nvPr userDrawn="1"/>
        </p:nvSpPr>
        <p:spPr>
          <a:xfrm rot="17207410">
            <a:off x="1949300" y="2586774"/>
            <a:ext cx="6673844" cy="1709648"/>
          </a:xfrm>
          <a:custGeom>
            <a:avLst/>
            <a:gdLst>
              <a:gd name="connsiteX0" fmla="*/ 6582843 w 7738331"/>
              <a:gd name="connsiteY0" fmla="*/ 0 h 5539932"/>
              <a:gd name="connsiteX1" fmla="*/ 7738331 w 7738331"/>
              <a:gd name="connsiteY1" fmla="*/ 3829537 h 5539932"/>
              <a:gd name="connsiteX2" fmla="*/ 7578521 w 7738331"/>
              <a:gd name="connsiteY2" fmla="*/ 3951525 h 5539932"/>
              <a:gd name="connsiteX3" fmla="*/ 5784742 w 7738331"/>
              <a:gd name="connsiteY3" fmla="*/ 4863443 h 5539932"/>
              <a:gd name="connsiteX4" fmla="*/ 2039502 w 7738331"/>
              <a:gd name="connsiteY4" fmla="*/ 5539185 h 5539932"/>
              <a:gd name="connsiteX5" fmla="*/ 1510408 w 7738331"/>
              <a:gd name="connsiteY5" fmla="*/ 5534661 h 5539932"/>
              <a:gd name="connsiteX6" fmla="*/ 1064487 w 7738331"/>
              <a:gd name="connsiteY6" fmla="*/ 5514183 h 5539932"/>
              <a:gd name="connsiteX7" fmla="*/ 0 w 7738331"/>
              <a:gd name="connsiteY7" fmla="*/ 1986244 h 5539932"/>
              <a:gd name="connsiteX0" fmla="*/ 0 w 7738331"/>
              <a:gd name="connsiteY0" fmla="*/ 1986244 h 5539185"/>
              <a:gd name="connsiteX1" fmla="*/ 6582843 w 7738331"/>
              <a:gd name="connsiteY1" fmla="*/ 0 h 5539185"/>
              <a:gd name="connsiteX2" fmla="*/ 7738331 w 7738331"/>
              <a:gd name="connsiteY2" fmla="*/ 3829537 h 5539185"/>
              <a:gd name="connsiteX3" fmla="*/ 7578521 w 7738331"/>
              <a:gd name="connsiteY3" fmla="*/ 3951525 h 5539185"/>
              <a:gd name="connsiteX4" fmla="*/ 5784742 w 7738331"/>
              <a:gd name="connsiteY4" fmla="*/ 4863443 h 5539185"/>
              <a:gd name="connsiteX5" fmla="*/ 2039502 w 7738331"/>
              <a:gd name="connsiteY5" fmla="*/ 5539185 h 5539185"/>
              <a:gd name="connsiteX6" fmla="*/ 1510408 w 7738331"/>
              <a:gd name="connsiteY6" fmla="*/ 5534661 h 5539185"/>
              <a:gd name="connsiteX7" fmla="*/ 1064487 w 7738331"/>
              <a:gd name="connsiteY7" fmla="*/ 5514183 h 5539185"/>
              <a:gd name="connsiteX8" fmla="*/ 91440 w 7738331"/>
              <a:gd name="connsiteY8" fmla="*/ 2077684 h 5539185"/>
              <a:gd name="connsiteX0" fmla="*/ 0 w 7738331"/>
              <a:gd name="connsiteY0" fmla="*/ 1986244 h 5539185"/>
              <a:gd name="connsiteX1" fmla="*/ 6582843 w 7738331"/>
              <a:gd name="connsiteY1" fmla="*/ 0 h 5539185"/>
              <a:gd name="connsiteX2" fmla="*/ 7738331 w 7738331"/>
              <a:gd name="connsiteY2" fmla="*/ 3829537 h 5539185"/>
              <a:gd name="connsiteX3" fmla="*/ 7578521 w 7738331"/>
              <a:gd name="connsiteY3" fmla="*/ 3951525 h 5539185"/>
              <a:gd name="connsiteX4" fmla="*/ 5784742 w 7738331"/>
              <a:gd name="connsiteY4" fmla="*/ 4863443 h 5539185"/>
              <a:gd name="connsiteX5" fmla="*/ 2039502 w 7738331"/>
              <a:gd name="connsiteY5" fmla="*/ 5539185 h 5539185"/>
              <a:gd name="connsiteX6" fmla="*/ 1510408 w 7738331"/>
              <a:gd name="connsiteY6" fmla="*/ 5534661 h 5539185"/>
              <a:gd name="connsiteX7" fmla="*/ 1064487 w 7738331"/>
              <a:gd name="connsiteY7" fmla="*/ 5514183 h 5539185"/>
              <a:gd name="connsiteX0" fmla="*/ 5518356 w 6673844"/>
              <a:gd name="connsiteY0" fmla="*/ 0 h 5539185"/>
              <a:gd name="connsiteX1" fmla="*/ 6673844 w 6673844"/>
              <a:gd name="connsiteY1" fmla="*/ 3829537 h 5539185"/>
              <a:gd name="connsiteX2" fmla="*/ 6514034 w 6673844"/>
              <a:gd name="connsiteY2" fmla="*/ 3951525 h 5539185"/>
              <a:gd name="connsiteX3" fmla="*/ 4720255 w 6673844"/>
              <a:gd name="connsiteY3" fmla="*/ 4863443 h 5539185"/>
              <a:gd name="connsiteX4" fmla="*/ 975015 w 6673844"/>
              <a:gd name="connsiteY4" fmla="*/ 5539185 h 5539185"/>
              <a:gd name="connsiteX5" fmla="*/ 445921 w 6673844"/>
              <a:gd name="connsiteY5" fmla="*/ 5534661 h 5539185"/>
              <a:gd name="connsiteX6" fmla="*/ 0 w 6673844"/>
              <a:gd name="connsiteY6" fmla="*/ 5514183 h 5539185"/>
              <a:gd name="connsiteX0" fmla="*/ 6673844 w 6673844"/>
              <a:gd name="connsiteY0" fmla="*/ 0 h 1709648"/>
              <a:gd name="connsiteX1" fmla="*/ 6514034 w 6673844"/>
              <a:gd name="connsiteY1" fmla="*/ 121988 h 1709648"/>
              <a:gd name="connsiteX2" fmla="*/ 4720255 w 6673844"/>
              <a:gd name="connsiteY2" fmla="*/ 1033906 h 1709648"/>
              <a:gd name="connsiteX3" fmla="*/ 975015 w 6673844"/>
              <a:gd name="connsiteY3" fmla="*/ 1709648 h 1709648"/>
              <a:gd name="connsiteX4" fmla="*/ 445921 w 6673844"/>
              <a:gd name="connsiteY4" fmla="*/ 1705124 h 1709648"/>
              <a:gd name="connsiteX5" fmla="*/ 0 w 6673844"/>
              <a:gd name="connsiteY5" fmla="*/ 1684646 h 170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73844" h="1709648">
                <a:moveTo>
                  <a:pt x="6673844" y="0"/>
                </a:moveTo>
                <a:lnTo>
                  <a:pt x="6514034" y="121988"/>
                </a:lnTo>
                <a:cubicBezTo>
                  <a:pt x="6051638" y="456734"/>
                  <a:pt x="5482448" y="760160"/>
                  <a:pt x="4720255" y="1033906"/>
                </a:cubicBezTo>
                <a:cubicBezTo>
                  <a:pt x="3703998" y="1398901"/>
                  <a:pt x="2407717" y="1694840"/>
                  <a:pt x="975015" y="1709648"/>
                </a:cubicBezTo>
                <a:lnTo>
                  <a:pt x="445921" y="1705124"/>
                </a:lnTo>
                <a:lnTo>
                  <a:pt x="0" y="168464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Bildplatzhalter 16">
            <a:extLst>
              <a:ext uri="{FF2B5EF4-FFF2-40B4-BE49-F238E27FC236}">
                <a16:creationId xmlns:a16="http://schemas.microsoft.com/office/drawing/2014/main" id="{51F13D22-7C0E-5C68-022B-1DE8D06329FC}"/>
              </a:ext>
            </a:extLst>
          </p:cNvPr>
          <p:cNvSpPr>
            <a:spLocks noGrp="1"/>
          </p:cNvSpPr>
          <p:nvPr>
            <p:ph type="pic" sz="quarter" idx="13" hasCustomPrompt="1"/>
          </p:nvPr>
        </p:nvSpPr>
        <p:spPr bwMode="gray">
          <a:xfrm>
            <a:off x="0" y="0"/>
            <a:ext cx="5663952" cy="6858000"/>
          </a:xfrm>
          <a:custGeom>
            <a:avLst/>
            <a:gdLst>
              <a:gd name="connsiteX0" fmla="*/ 0 w 5663952"/>
              <a:gd name="connsiteY0" fmla="*/ 0 h 6858000"/>
              <a:gd name="connsiteX1" fmla="*/ 5268234 w 5663952"/>
              <a:gd name="connsiteY1" fmla="*/ 0 h 6858000"/>
              <a:gd name="connsiteX2" fmla="*/ 5349170 w 5663952"/>
              <a:gd name="connsiteY2" fmla="*/ 165444 h 6858000"/>
              <a:gd name="connsiteX3" fmla="*/ 5559600 w 5663952"/>
              <a:gd name="connsiteY3" fmla="*/ 832916 h 6858000"/>
              <a:gd name="connsiteX4" fmla="*/ 5538469 w 5663952"/>
              <a:gd name="connsiteY4" fmla="*/ 3164703 h 6858000"/>
              <a:gd name="connsiteX5" fmla="*/ 4363266 w 5663952"/>
              <a:gd name="connsiteY5" fmla="*/ 6433906 h 6858000"/>
              <a:gd name="connsiteX6" fmla="*/ 4118200 w 5663952"/>
              <a:gd name="connsiteY6" fmla="*/ 6850113 h 6858000"/>
              <a:gd name="connsiteX7" fmla="*/ 4113151 w 5663952"/>
              <a:gd name="connsiteY7" fmla="*/ 6858000 h 6858000"/>
              <a:gd name="connsiteX8" fmla="*/ 0 w 566395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3952" h="6858000">
                <a:moveTo>
                  <a:pt x="0" y="0"/>
                </a:moveTo>
                <a:lnTo>
                  <a:pt x="5268234" y="0"/>
                </a:lnTo>
                <a:lnTo>
                  <a:pt x="5349170" y="165444"/>
                </a:lnTo>
                <a:cubicBezTo>
                  <a:pt x="5439359" y="369416"/>
                  <a:pt x="5510420" y="593299"/>
                  <a:pt x="5559600" y="832916"/>
                </a:cubicBezTo>
                <a:cubicBezTo>
                  <a:pt x="5690746" y="1471892"/>
                  <a:pt x="5713767" y="2194715"/>
                  <a:pt x="5538469" y="3164703"/>
                </a:cubicBezTo>
                <a:cubicBezTo>
                  <a:pt x="5363173" y="4134690"/>
                  <a:pt x="5005476" y="5294532"/>
                  <a:pt x="4363266" y="6433906"/>
                </a:cubicBezTo>
                <a:cubicBezTo>
                  <a:pt x="4282990" y="6576327"/>
                  <a:pt x="4201103" y="6715214"/>
                  <a:pt x="4118200" y="6850113"/>
                </a:cubicBezTo>
                <a:lnTo>
                  <a:pt x="4113151" y="6858000"/>
                </a:lnTo>
                <a:lnTo>
                  <a:pt x="0" y="6858000"/>
                </a:lnTo>
                <a:close/>
              </a:path>
            </a:pathLst>
          </a:custGeom>
          <a:solidFill>
            <a:schemeClr val="tx2"/>
          </a:solidFill>
          <a:ln>
            <a:noFill/>
          </a:ln>
          <a:effectLst/>
        </p:spPr>
        <p:txBody>
          <a:bodyPr wrap="square" anchor="ctr">
            <a:noAutofit/>
          </a:bodyPr>
          <a:lstStyle>
            <a:lvl1pPr algn="ctr">
              <a:defRPr sz="1200"/>
            </a:lvl1pPr>
          </a:lstStyle>
          <a:p>
            <a:r>
              <a:rPr lang="en-US"/>
              <a:t>Add image by clicking on icon</a:t>
            </a:r>
          </a:p>
        </p:txBody>
      </p:sp>
      <p:sp>
        <p:nvSpPr>
          <p:cNvPr id="22" name="Datumsplatzhalter 21">
            <a:extLst>
              <a:ext uri="{FF2B5EF4-FFF2-40B4-BE49-F238E27FC236}">
                <a16:creationId xmlns:a16="http://schemas.microsoft.com/office/drawing/2014/main" id="{EF82EC8A-7457-23AD-24BD-5BDB12A7C130}"/>
              </a:ext>
            </a:extLst>
          </p:cNvPr>
          <p:cNvSpPr>
            <a:spLocks noGrp="1"/>
          </p:cNvSpPr>
          <p:nvPr>
            <p:ph type="dt" sz="half" idx="14"/>
          </p:nvPr>
        </p:nvSpPr>
        <p:spPr/>
        <p:txBody>
          <a:bodyPr/>
          <a:lstStyle/>
          <a:p>
            <a:r>
              <a:rPr lang="en-US"/>
              <a:t>September 2025</a:t>
            </a:r>
          </a:p>
        </p:txBody>
      </p:sp>
      <p:sp>
        <p:nvSpPr>
          <p:cNvPr id="23" name="Fußzeilenplatzhalter 22">
            <a:extLst>
              <a:ext uri="{FF2B5EF4-FFF2-40B4-BE49-F238E27FC236}">
                <a16:creationId xmlns:a16="http://schemas.microsoft.com/office/drawing/2014/main" id="{0CDD9752-1128-8A92-1B2D-E6329CB8D07D}"/>
              </a:ext>
            </a:extLst>
          </p:cNvPr>
          <p:cNvSpPr>
            <a:spLocks noGrp="1"/>
          </p:cNvSpPr>
          <p:nvPr>
            <p:ph type="ftr" sz="quarter" idx="15"/>
          </p:nvPr>
        </p:nvSpPr>
        <p:spPr/>
        <p:txBody>
          <a:bodyPr/>
          <a:lstStyle/>
          <a:p>
            <a:r>
              <a:rPr lang="en-US"/>
              <a:t>Achieving robust textures with PTFE-free additives</a:t>
            </a:r>
          </a:p>
        </p:txBody>
      </p:sp>
      <p:sp>
        <p:nvSpPr>
          <p:cNvPr id="24" name="Foliennummernplatzhalter 23">
            <a:extLst>
              <a:ext uri="{FF2B5EF4-FFF2-40B4-BE49-F238E27FC236}">
                <a16:creationId xmlns:a16="http://schemas.microsoft.com/office/drawing/2014/main" id="{290A4507-0024-6747-7C39-8CB0E8411EEB}"/>
              </a:ext>
            </a:extLst>
          </p:cNvPr>
          <p:cNvSpPr>
            <a:spLocks noGrp="1"/>
          </p:cNvSpPr>
          <p:nvPr>
            <p:ph type="sldNum" sz="quarter" idx="16"/>
          </p:nvPr>
        </p:nvSpPr>
        <p:spPr/>
        <p:txBody>
          <a:bodyPr/>
          <a:lstStyle/>
          <a:p>
            <a:r>
              <a:rPr lang="en-US"/>
              <a:t>Page </a:t>
            </a:r>
            <a:fld id="{F833201C-4142-4F26-B8B7-249C87787C9A}" type="slidenum">
              <a:rPr lang="en-US" smtClean="0"/>
              <a:pPr/>
              <a:t>‹#›</a:t>
            </a:fld>
            <a:endParaRPr lang="en-US"/>
          </a:p>
        </p:txBody>
      </p:sp>
    </p:spTree>
    <p:extLst>
      <p:ext uri="{BB962C8B-B14F-4D97-AF65-F5344CB8AC3E}">
        <p14:creationId xmlns:p14="http://schemas.microsoft.com/office/powerpoint/2010/main" val="5573702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Contact (2 people)">
    <p:spTree>
      <p:nvGrpSpPr>
        <p:cNvPr id="1" name=""/>
        <p:cNvGrpSpPr/>
        <p:nvPr/>
      </p:nvGrpSpPr>
      <p:grpSpPr>
        <a:xfrm>
          <a:off x="0" y="0"/>
          <a:ext cx="0" cy="0"/>
          <a:chOff x="0" y="0"/>
          <a:chExt cx="0" cy="0"/>
        </a:xfrm>
      </p:grpSpPr>
      <p:sp>
        <p:nvSpPr>
          <p:cNvPr id="3" name="Freihandform: Form 16">
            <a:extLst>
              <a:ext uri="{FF2B5EF4-FFF2-40B4-BE49-F238E27FC236}">
                <a16:creationId xmlns:a16="http://schemas.microsoft.com/office/drawing/2014/main" id="{B4BBD59B-0C82-5588-463F-DD723AA3B2EE}"/>
              </a:ext>
            </a:extLst>
          </p:cNvPr>
          <p:cNvSpPr/>
          <p:nvPr userDrawn="1"/>
        </p:nvSpPr>
        <p:spPr bwMode="auto">
          <a:xfrm>
            <a:off x="1415480" y="0"/>
            <a:ext cx="10776520" cy="6858000"/>
          </a:xfrm>
          <a:custGeom>
            <a:avLst/>
            <a:gdLst>
              <a:gd name="connsiteX0" fmla="*/ 773955 w 10776520"/>
              <a:gd name="connsiteY0" fmla="*/ 0 h 6858000"/>
              <a:gd name="connsiteX1" fmla="*/ 10776520 w 10776520"/>
              <a:gd name="connsiteY1" fmla="*/ 0 h 6858000"/>
              <a:gd name="connsiteX2" fmla="*/ 10776520 w 10776520"/>
              <a:gd name="connsiteY2" fmla="*/ 6858000 h 6858000"/>
              <a:gd name="connsiteX3" fmla="*/ 1943153 w 10776520"/>
              <a:gd name="connsiteY3" fmla="*/ 6858000 h 6858000"/>
              <a:gd name="connsiteX4" fmla="*/ 1933497 w 10776520"/>
              <a:gd name="connsiteY4" fmla="*/ 6846459 h 6858000"/>
              <a:gd name="connsiteX5" fmla="*/ 1786123 w 10776520"/>
              <a:gd name="connsiteY5" fmla="*/ 6660128 h 6858000"/>
              <a:gd name="connsiteX6" fmla="*/ 113473 w 10776520"/>
              <a:gd name="connsiteY6" fmla="*/ 3347223 h 6858000"/>
              <a:gd name="connsiteX7" fmla="*/ 408965 w 10776520"/>
              <a:gd name="connsiteY7" fmla="*/ 528850 h 6858000"/>
              <a:gd name="connsiteX8" fmla="*/ 682700 w 10776520"/>
              <a:gd name="connsiteY8" fmla="*/ 109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6520" h="6858000">
                <a:moveTo>
                  <a:pt x="773955" y="0"/>
                </a:moveTo>
                <a:lnTo>
                  <a:pt x="10776520" y="0"/>
                </a:lnTo>
                <a:lnTo>
                  <a:pt x="10776520" y="6858000"/>
                </a:lnTo>
                <a:lnTo>
                  <a:pt x="1943153" y="6858000"/>
                </a:lnTo>
                <a:lnTo>
                  <a:pt x="1933497" y="6846459"/>
                </a:lnTo>
                <a:cubicBezTo>
                  <a:pt x="1882700" y="6784070"/>
                  <a:pt x="1833512" y="6721907"/>
                  <a:pt x="1786123" y="6660128"/>
                </a:cubicBezTo>
                <a:cubicBezTo>
                  <a:pt x="1027900" y="5671660"/>
                  <a:pt x="343000" y="4369104"/>
                  <a:pt x="113473" y="3347223"/>
                </a:cubicBezTo>
                <a:cubicBezTo>
                  <a:pt x="-116052" y="2325343"/>
                  <a:pt x="12655" y="1292705"/>
                  <a:pt x="408965" y="528850"/>
                </a:cubicBezTo>
                <a:cubicBezTo>
                  <a:pt x="483273" y="385627"/>
                  <a:pt x="576011" y="245361"/>
                  <a:pt x="682700" y="109862"/>
                </a:cubicBezTo>
                <a:close/>
              </a:path>
            </a:pathLst>
          </a:custGeom>
          <a:solidFill>
            <a:srgbClr val="CCEDFB"/>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p:txBody>
      </p:sp>
      <p:sp>
        <p:nvSpPr>
          <p:cNvPr id="4" name="Freihandform: Form 18">
            <a:extLst>
              <a:ext uri="{FF2B5EF4-FFF2-40B4-BE49-F238E27FC236}">
                <a16:creationId xmlns:a16="http://schemas.microsoft.com/office/drawing/2014/main" id="{5501C8B9-5F29-0355-5DFB-8F8F223D2C9C}"/>
              </a:ext>
            </a:extLst>
          </p:cNvPr>
          <p:cNvSpPr>
            <a:spLocks noChangeAspect="1"/>
          </p:cNvSpPr>
          <p:nvPr userDrawn="1"/>
        </p:nvSpPr>
        <p:spPr>
          <a:xfrm rot="13106022">
            <a:off x="16578" y="894566"/>
            <a:ext cx="4690011" cy="5053200"/>
          </a:xfrm>
          <a:custGeom>
            <a:avLst/>
            <a:gdLst>
              <a:gd name="connsiteX0" fmla="*/ 11872558 w 11872558"/>
              <a:gd name="connsiteY0" fmla="*/ 5045928 h 11317166"/>
              <a:gd name="connsiteX1" fmla="*/ 3969777 w 11872558"/>
              <a:gd name="connsiteY1" fmla="*/ 11317166 h 11317166"/>
              <a:gd name="connsiteX2" fmla="*/ 0 w 11872558"/>
              <a:gd name="connsiteY2" fmla="*/ 6314601 h 11317166"/>
              <a:gd name="connsiteX3" fmla="*/ 112788 w 11872558"/>
              <a:gd name="connsiteY3" fmla="*/ 5835154 h 11317166"/>
              <a:gd name="connsiteX4" fmla="*/ 188307 w 11872558"/>
              <a:gd name="connsiteY4" fmla="*/ 5562992 h 11317166"/>
              <a:gd name="connsiteX5" fmla="*/ 7198583 w 11872558"/>
              <a:gd name="connsiteY5" fmla="*/ 0 h 11317166"/>
              <a:gd name="connsiteX6" fmla="*/ 7452936 w 11872558"/>
              <a:gd name="connsiteY6" fmla="*/ 107571 h 11317166"/>
              <a:gd name="connsiteX7" fmla="*/ 8402082 w 11872558"/>
              <a:gd name="connsiteY7" fmla="*/ 673089 h 11317166"/>
              <a:gd name="connsiteX8" fmla="*/ 9913250 w 11872558"/>
              <a:gd name="connsiteY8" fmla="*/ 2050080 h 11317166"/>
              <a:gd name="connsiteX9" fmla="*/ 11534364 w 11872558"/>
              <a:gd name="connsiteY9" fmla="*/ 4364107 h 11317166"/>
              <a:gd name="connsiteX10" fmla="*/ 11863095 w 11872558"/>
              <a:gd name="connsiteY10" fmla="*/ 5025726 h 11317166"/>
              <a:gd name="connsiteX0" fmla="*/ 11698816 w 11863138"/>
              <a:gd name="connsiteY0" fmla="*/ 5848529 h 11317166"/>
              <a:gd name="connsiteX1" fmla="*/ 3969777 w 11863138"/>
              <a:gd name="connsiteY1" fmla="*/ 11317166 h 11317166"/>
              <a:gd name="connsiteX2" fmla="*/ 0 w 11863138"/>
              <a:gd name="connsiteY2" fmla="*/ 6314601 h 11317166"/>
              <a:gd name="connsiteX3" fmla="*/ 112788 w 11863138"/>
              <a:gd name="connsiteY3" fmla="*/ 5835154 h 11317166"/>
              <a:gd name="connsiteX4" fmla="*/ 188307 w 11863138"/>
              <a:gd name="connsiteY4" fmla="*/ 5562992 h 11317166"/>
              <a:gd name="connsiteX5" fmla="*/ 7198583 w 11863138"/>
              <a:gd name="connsiteY5" fmla="*/ 0 h 11317166"/>
              <a:gd name="connsiteX6" fmla="*/ 7452936 w 11863138"/>
              <a:gd name="connsiteY6" fmla="*/ 107571 h 11317166"/>
              <a:gd name="connsiteX7" fmla="*/ 8402082 w 11863138"/>
              <a:gd name="connsiteY7" fmla="*/ 673089 h 11317166"/>
              <a:gd name="connsiteX8" fmla="*/ 9913250 w 11863138"/>
              <a:gd name="connsiteY8" fmla="*/ 2050080 h 11317166"/>
              <a:gd name="connsiteX9" fmla="*/ 11534364 w 11863138"/>
              <a:gd name="connsiteY9" fmla="*/ 4364107 h 11317166"/>
              <a:gd name="connsiteX10" fmla="*/ 11863095 w 11863138"/>
              <a:gd name="connsiteY10" fmla="*/ 5025726 h 11317166"/>
              <a:gd name="connsiteX11" fmla="*/ 11698816 w 11863138"/>
              <a:gd name="connsiteY11" fmla="*/ 5848529 h 11317166"/>
              <a:gd name="connsiteX0" fmla="*/ 11698816 w 11863138"/>
              <a:gd name="connsiteY0" fmla="*/ 5848529 h 11317166"/>
              <a:gd name="connsiteX1" fmla="*/ 3969777 w 11863138"/>
              <a:gd name="connsiteY1" fmla="*/ 11317166 h 11317166"/>
              <a:gd name="connsiteX2" fmla="*/ 0 w 11863138"/>
              <a:gd name="connsiteY2" fmla="*/ 6314601 h 11317166"/>
              <a:gd name="connsiteX3" fmla="*/ 112788 w 11863138"/>
              <a:gd name="connsiteY3" fmla="*/ 5835154 h 11317166"/>
              <a:gd name="connsiteX4" fmla="*/ 188307 w 11863138"/>
              <a:gd name="connsiteY4" fmla="*/ 5562992 h 11317166"/>
              <a:gd name="connsiteX5" fmla="*/ 7198583 w 11863138"/>
              <a:gd name="connsiteY5" fmla="*/ 0 h 11317166"/>
              <a:gd name="connsiteX6" fmla="*/ 7452936 w 11863138"/>
              <a:gd name="connsiteY6" fmla="*/ 107571 h 11317166"/>
              <a:gd name="connsiteX7" fmla="*/ 8402082 w 11863138"/>
              <a:gd name="connsiteY7" fmla="*/ 673089 h 11317166"/>
              <a:gd name="connsiteX8" fmla="*/ 9913250 w 11863138"/>
              <a:gd name="connsiteY8" fmla="*/ 2050080 h 11317166"/>
              <a:gd name="connsiteX9" fmla="*/ 11534364 w 11863138"/>
              <a:gd name="connsiteY9" fmla="*/ 4364107 h 11317166"/>
              <a:gd name="connsiteX10" fmla="*/ 11863095 w 11863138"/>
              <a:gd name="connsiteY10" fmla="*/ 5025726 h 11317166"/>
              <a:gd name="connsiteX11" fmla="*/ 11790256 w 11863138"/>
              <a:gd name="connsiteY11" fmla="*/ 5939969 h 11317166"/>
              <a:gd name="connsiteX0" fmla="*/ 11698816 w 11863095"/>
              <a:gd name="connsiteY0" fmla="*/ 5848529 h 11317166"/>
              <a:gd name="connsiteX1" fmla="*/ 3969777 w 11863095"/>
              <a:gd name="connsiteY1" fmla="*/ 11317166 h 11317166"/>
              <a:gd name="connsiteX2" fmla="*/ 0 w 11863095"/>
              <a:gd name="connsiteY2" fmla="*/ 6314601 h 11317166"/>
              <a:gd name="connsiteX3" fmla="*/ 112788 w 11863095"/>
              <a:gd name="connsiteY3" fmla="*/ 5835154 h 11317166"/>
              <a:gd name="connsiteX4" fmla="*/ 188307 w 11863095"/>
              <a:gd name="connsiteY4" fmla="*/ 5562992 h 11317166"/>
              <a:gd name="connsiteX5" fmla="*/ 7198583 w 11863095"/>
              <a:gd name="connsiteY5" fmla="*/ 0 h 11317166"/>
              <a:gd name="connsiteX6" fmla="*/ 7452936 w 11863095"/>
              <a:gd name="connsiteY6" fmla="*/ 107571 h 11317166"/>
              <a:gd name="connsiteX7" fmla="*/ 8402082 w 11863095"/>
              <a:gd name="connsiteY7" fmla="*/ 673089 h 11317166"/>
              <a:gd name="connsiteX8" fmla="*/ 9913250 w 11863095"/>
              <a:gd name="connsiteY8" fmla="*/ 2050080 h 11317166"/>
              <a:gd name="connsiteX9" fmla="*/ 11534364 w 11863095"/>
              <a:gd name="connsiteY9" fmla="*/ 4364107 h 11317166"/>
              <a:gd name="connsiteX10" fmla="*/ 11863095 w 11863095"/>
              <a:gd name="connsiteY10" fmla="*/ 5025726 h 11317166"/>
              <a:gd name="connsiteX0" fmla="*/ 3969777 w 11863095"/>
              <a:gd name="connsiteY0" fmla="*/ 11317166 h 11317166"/>
              <a:gd name="connsiteX1" fmla="*/ 0 w 11863095"/>
              <a:gd name="connsiteY1" fmla="*/ 6314601 h 11317166"/>
              <a:gd name="connsiteX2" fmla="*/ 112788 w 11863095"/>
              <a:gd name="connsiteY2" fmla="*/ 5835154 h 11317166"/>
              <a:gd name="connsiteX3" fmla="*/ 188307 w 11863095"/>
              <a:gd name="connsiteY3" fmla="*/ 5562992 h 11317166"/>
              <a:gd name="connsiteX4" fmla="*/ 7198583 w 11863095"/>
              <a:gd name="connsiteY4" fmla="*/ 0 h 11317166"/>
              <a:gd name="connsiteX5" fmla="*/ 7452936 w 11863095"/>
              <a:gd name="connsiteY5" fmla="*/ 107571 h 11317166"/>
              <a:gd name="connsiteX6" fmla="*/ 8402082 w 11863095"/>
              <a:gd name="connsiteY6" fmla="*/ 673089 h 11317166"/>
              <a:gd name="connsiteX7" fmla="*/ 9913250 w 11863095"/>
              <a:gd name="connsiteY7" fmla="*/ 2050080 h 11317166"/>
              <a:gd name="connsiteX8" fmla="*/ 11534364 w 11863095"/>
              <a:gd name="connsiteY8" fmla="*/ 4364107 h 11317166"/>
              <a:gd name="connsiteX9" fmla="*/ 11863095 w 11863095"/>
              <a:gd name="connsiteY9" fmla="*/ 5025726 h 11317166"/>
              <a:gd name="connsiteX0" fmla="*/ 3856989 w 11750307"/>
              <a:gd name="connsiteY0" fmla="*/ 11317166 h 11317166"/>
              <a:gd name="connsiteX1" fmla="*/ 0 w 11750307"/>
              <a:gd name="connsiteY1" fmla="*/ 5835154 h 11317166"/>
              <a:gd name="connsiteX2" fmla="*/ 75519 w 11750307"/>
              <a:gd name="connsiteY2" fmla="*/ 5562992 h 11317166"/>
              <a:gd name="connsiteX3" fmla="*/ 7085795 w 11750307"/>
              <a:gd name="connsiteY3" fmla="*/ 0 h 11317166"/>
              <a:gd name="connsiteX4" fmla="*/ 7340148 w 11750307"/>
              <a:gd name="connsiteY4" fmla="*/ 107571 h 11317166"/>
              <a:gd name="connsiteX5" fmla="*/ 8289294 w 11750307"/>
              <a:gd name="connsiteY5" fmla="*/ 673089 h 11317166"/>
              <a:gd name="connsiteX6" fmla="*/ 9800462 w 11750307"/>
              <a:gd name="connsiteY6" fmla="*/ 2050080 h 11317166"/>
              <a:gd name="connsiteX7" fmla="*/ 11421576 w 11750307"/>
              <a:gd name="connsiteY7" fmla="*/ 4364107 h 11317166"/>
              <a:gd name="connsiteX8" fmla="*/ 11750307 w 11750307"/>
              <a:gd name="connsiteY8" fmla="*/ 5025726 h 11317166"/>
              <a:gd name="connsiteX0" fmla="*/ 0 w 11750307"/>
              <a:gd name="connsiteY0" fmla="*/ 5835154 h 5835154"/>
              <a:gd name="connsiteX1" fmla="*/ 75519 w 11750307"/>
              <a:gd name="connsiteY1" fmla="*/ 5562992 h 5835154"/>
              <a:gd name="connsiteX2" fmla="*/ 7085795 w 11750307"/>
              <a:gd name="connsiteY2" fmla="*/ 0 h 5835154"/>
              <a:gd name="connsiteX3" fmla="*/ 7340148 w 11750307"/>
              <a:gd name="connsiteY3" fmla="*/ 107571 h 5835154"/>
              <a:gd name="connsiteX4" fmla="*/ 8289294 w 11750307"/>
              <a:gd name="connsiteY4" fmla="*/ 673089 h 5835154"/>
              <a:gd name="connsiteX5" fmla="*/ 9800462 w 11750307"/>
              <a:gd name="connsiteY5" fmla="*/ 2050080 h 5835154"/>
              <a:gd name="connsiteX6" fmla="*/ 11421576 w 11750307"/>
              <a:gd name="connsiteY6" fmla="*/ 4364107 h 5835154"/>
              <a:gd name="connsiteX7" fmla="*/ 11750307 w 11750307"/>
              <a:gd name="connsiteY7" fmla="*/ 5025726 h 5835154"/>
              <a:gd name="connsiteX0" fmla="*/ 0 w 11674788"/>
              <a:gd name="connsiteY0" fmla="*/ 5562992 h 5562992"/>
              <a:gd name="connsiteX1" fmla="*/ 7010276 w 11674788"/>
              <a:gd name="connsiteY1" fmla="*/ 0 h 5562992"/>
              <a:gd name="connsiteX2" fmla="*/ 7264629 w 11674788"/>
              <a:gd name="connsiteY2" fmla="*/ 107571 h 5562992"/>
              <a:gd name="connsiteX3" fmla="*/ 8213775 w 11674788"/>
              <a:gd name="connsiteY3" fmla="*/ 673089 h 5562992"/>
              <a:gd name="connsiteX4" fmla="*/ 9724943 w 11674788"/>
              <a:gd name="connsiteY4" fmla="*/ 2050080 h 5562992"/>
              <a:gd name="connsiteX5" fmla="*/ 11346057 w 11674788"/>
              <a:gd name="connsiteY5" fmla="*/ 4364107 h 5562992"/>
              <a:gd name="connsiteX6" fmla="*/ 11674788 w 11674788"/>
              <a:gd name="connsiteY6" fmla="*/ 5025726 h 5562992"/>
              <a:gd name="connsiteX0" fmla="*/ 0 w 4664512"/>
              <a:gd name="connsiteY0" fmla="*/ 0 h 5025726"/>
              <a:gd name="connsiteX1" fmla="*/ 254353 w 4664512"/>
              <a:gd name="connsiteY1" fmla="*/ 107571 h 5025726"/>
              <a:gd name="connsiteX2" fmla="*/ 1203499 w 4664512"/>
              <a:gd name="connsiteY2" fmla="*/ 673089 h 5025726"/>
              <a:gd name="connsiteX3" fmla="*/ 2714667 w 4664512"/>
              <a:gd name="connsiteY3" fmla="*/ 2050080 h 5025726"/>
              <a:gd name="connsiteX4" fmla="*/ 4335781 w 4664512"/>
              <a:gd name="connsiteY4" fmla="*/ 4364107 h 5025726"/>
              <a:gd name="connsiteX5" fmla="*/ 4664512 w 4664512"/>
              <a:gd name="connsiteY5" fmla="*/ 5025726 h 502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4512" h="5025726">
                <a:moveTo>
                  <a:pt x="0" y="0"/>
                </a:moveTo>
                <a:lnTo>
                  <a:pt x="254353" y="107571"/>
                </a:lnTo>
                <a:cubicBezTo>
                  <a:pt x="607834" y="272053"/>
                  <a:pt x="935201" y="469140"/>
                  <a:pt x="1203499" y="673089"/>
                </a:cubicBezTo>
                <a:cubicBezTo>
                  <a:pt x="1918960" y="1216951"/>
                  <a:pt x="2192621" y="1434910"/>
                  <a:pt x="2714667" y="2050080"/>
                </a:cubicBezTo>
                <a:cubicBezTo>
                  <a:pt x="3236715" y="2665250"/>
                  <a:pt x="3870277" y="3449221"/>
                  <a:pt x="4335781" y="4364107"/>
                </a:cubicBezTo>
                <a:cubicBezTo>
                  <a:pt x="4458788" y="4603130"/>
                  <a:pt x="4567591" y="4822119"/>
                  <a:pt x="4664512" y="5025726"/>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dirty="0"/>
          </a:p>
        </p:txBody>
      </p:sp>
      <p:sp>
        <p:nvSpPr>
          <p:cNvPr id="5" name="Freihandform: Form 23">
            <a:extLst>
              <a:ext uri="{FF2B5EF4-FFF2-40B4-BE49-F238E27FC236}">
                <a16:creationId xmlns:a16="http://schemas.microsoft.com/office/drawing/2014/main" id="{016B9F92-9502-9475-5259-048D32D514E8}"/>
              </a:ext>
            </a:extLst>
          </p:cNvPr>
          <p:cNvSpPr/>
          <p:nvPr userDrawn="1"/>
        </p:nvSpPr>
        <p:spPr bwMode="auto">
          <a:xfrm>
            <a:off x="1085684" y="-15667"/>
            <a:ext cx="2213971" cy="6873666"/>
          </a:xfrm>
          <a:custGeom>
            <a:avLst/>
            <a:gdLst>
              <a:gd name="connsiteX0" fmla="*/ 949764 w 3473617"/>
              <a:gd name="connsiteY0" fmla="*/ 0 h 6873666"/>
              <a:gd name="connsiteX1" fmla="*/ 3473617 w 3473617"/>
              <a:gd name="connsiteY1" fmla="*/ 0 h 6873666"/>
              <a:gd name="connsiteX2" fmla="*/ 3473617 w 3473617"/>
              <a:gd name="connsiteY2" fmla="*/ 6873666 h 6873666"/>
              <a:gd name="connsiteX3" fmla="*/ 2213971 w 3473617"/>
              <a:gd name="connsiteY3" fmla="*/ 6873666 h 6873666"/>
              <a:gd name="connsiteX4" fmla="*/ 1957654 w 3473617"/>
              <a:gd name="connsiteY4" fmla="*/ 6609514 h 6873666"/>
              <a:gd name="connsiteX5" fmla="*/ 503386 w 3473617"/>
              <a:gd name="connsiteY5" fmla="*/ 4588136 h 6873666"/>
              <a:gd name="connsiteX6" fmla="*/ 112983 w 3473617"/>
              <a:gd name="connsiteY6" fmla="*/ 1508390 h 6873666"/>
              <a:gd name="connsiteX7" fmla="*/ 813282 w 3473617"/>
              <a:gd name="connsiteY7" fmla="*/ 164308 h 6873666"/>
              <a:gd name="connsiteX0" fmla="*/ 3473617 w 3565057"/>
              <a:gd name="connsiteY0" fmla="*/ 0 h 6873666"/>
              <a:gd name="connsiteX1" fmla="*/ 3473617 w 3565057"/>
              <a:gd name="connsiteY1" fmla="*/ 6873666 h 6873666"/>
              <a:gd name="connsiteX2" fmla="*/ 2213971 w 3565057"/>
              <a:gd name="connsiteY2" fmla="*/ 6873666 h 6873666"/>
              <a:gd name="connsiteX3" fmla="*/ 1957654 w 3565057"/>
              <a:gd name="connsiteY3" fmla="*/ 6609514 h 6873666"/>
              <a:gd name="connsiteX4" fmla="*/ 503386 w 3565057"/>
              <a:gd name="connsiteY4" fmla="*/ 4588136 h 6873666"/>
              <a:gd name="connsiteX5" fmla="*/ 112983 w 3565057"/>
              <a:gd name="connsiteY5" fmla="*/ 1508390 h 6873666"/>
              <a:gd name="connsiteX6" fmla="*/ 813282 w 3565057"/>
              <a:gd name="connsiteY6" fmla="*/ 164308 h 6873666"/>
              <a:gd name="connsiteX7" fmla="*/ 949764 w 3565057"/>
              <a:gd name="connsiteY7" fmla="*/ 0 h 6873666"/>
              <a:gd name="connsiteX8" fmla="*/ 3565057 w 3565057"/>
              <a:gd name="connsiteY8" fmla="*/ 91440 h 6873666"/>
              <a:gd name="connsiteX0" fmla="*/ 3473617 w 3473617"/>
              <a:gd name="connsiteY0" fmla="*/ 0 h 6873666"/>
              <a:gd name="connsiteX1" fmla="*/ 3473617 w 3473617"/>
              <a:gd name="connsiteY1" fmla="*/ 6873666 h 6873666"/>
              <a:gd name="connsiteX2" fmla="*/ 2213971 w 3473617"/>
              <a:gd name="connsiteY2" fmla="*/ 6873666 h 6873666"/>
              <a:gd name="connsiteX3" fmla="*/ 1957654 w 3473617"/>
              <a:gd name="connsiteY3" fmla="*/ 6609514 h 6873666"/>
              <a:gd name="connsiteX4" fmla="*/ 503386 w 3473617"/>
              <a:gd name="connsiteY4" fmla="*/ 4588136 h 6873666"/>
              <a:gd name="connsiteX5" fmla="*/ 112983 w 3473617"/>
              <a:gd name="connsiteY5" fmla="*/ 1508390 h 6873666"/>
              <a:gd name="connsiteX6" fmla="*/ 813282 w 3473617"/>
              <a:gd name="connsiteY6" fmla="*/ 164308 h 6873666"/>
              <a:gd name="connsiteX7" fmla="*/ 949764 w 3473617"/>
              <a:gd name="connsiteY7" fmla="*/ 0 h 6873666"/>
              <a:gd name="connsiteX0" fmla="*/ 3473617 w 3473617"/>
              <a:gd name="connsiteY0" fmla="*/ 6873666 h 6873666"/>
              <a:gd name="connsiteX1" fmla="*/ 2213971 w 3473617"/>
              <a:gd name="connsiteY1" fmla="*/ 6873666 h 6873666"/>
              <a:gd name="connsiteX2" fmla="*/ 1957654 w 3473617"/>
              <a:gd name="connsiteY2" fmla="*/ 6609514 h 6873666"/>
              <a:gd name="connsiteX3" fmla="*/ 503386 w 3473617"/>
              <a:gd name="connsiteY3" fmla="*/ 4588136 h 6873666"/>
              <a:gd name="connsiteX4" fmla="*/ 112983 w 3473617"/>
              <a:gd name="connsiteY4" fmla="*/ 1508390 h 6873666"/>
              <a:gd name="connsiteX5" fmla="*/ 813282 w 3473617"/>
              <a:gd name="connsiteY5" fmla="*/ 164308 h 6873666"/>
              <a:gd name="connsiteX6" fmla="*/ 949764 w 3473617"/>
              <a:gd name="connsiteY6" fmla="*/ 0 h 6873666"/>
              <a:gd name="connsiteX0" fmla="*/ 2213971 w 2213971"/>
              <a:gd name="connsiteY0" fmla="*/ 6873666 h 6873666"/>
              <a:gd name="connsiteX1" fmla="*/ 1957654 w 2213971"/>
              <a:gd name="connsiteY1" fmla="*/ 6609514 h 6873666"/>
              <a:gd name="connsiteX2" fmla="*/ 503386 w 2213971"/>
              <a:gd name="connsiteY2" fmla="*/ 4588136 h 6873666"/>
              <a:gd name="connsiteX3" fmla="*/ 112983 w 2213971"/>
              <a:gd name="connsiteY3" fmla="*/ 1508390 h 6873666"/>
              <a:gd name="connsiteX4" fmla="*/ 813282 w 2213971"/>
              <a:gd name="connsiteY4" fmla="*/ 164308 h 6873666"/>
              <a:gd name="connsiteX5" fmla="*/ 949764 w 2213971"/>
              <a:gd name="connsiteY5" fmla="*/ 0 h 68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3971" h="6873666">
                <a:moveTo>
                  <a:pt x="2213971" y="6873666"/>
                </a:moveTo>
                <a:lnTo>
                  <a:pt x="1957654" y="6609514"/>
                </a:lnTo>
                <a:cubicBezTo>
                  <a:pt x="1346294" y="5950997"/>
                  <a:pt x="816263" y="5233367"/>
                  <a:pt x="503386" y="4588136"/>
                </a:cubicBezTo>
                <a:cubicBezTo>
                  <a:pt x="2785" y="3555767"/>
                  <a:pt x="-118458" y="2422247"/>
                  <a:pt x="112983" y="1508390"/>
                </a:cubicBezTo>
                <a:cubicBezTo>
                  <a:pt x="228704" y="1051462"/>
                  <a:pt x="489455" y="584154"/>
                  <a:pt x="813282" y="164308"/>
                </a:cubicBezTo>
                <a:lnTo>
                  <a:pt x="949764"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rtl="0"/>
            <a:endParaRPr lang="en-US" dirty="0">
              <a:solidFill>
                <a:schemeClr val="lt1"/>
              </a:solidFill>
              <a:latin typeface="+mn-lt"/>
            </a:endParaRPr>
          </a:p>
        </p:txBody>
      </p:sp>
      <p:graphicFrame>
        <p:nvGraphicFramePr>
          <p:cNvPr id="8" name="think-cell data - do not delete" hidden="1">
            <a:extLst>
              <a:ext uri="{FF2B5EF4-FFF2-40B4-BE49-F238E27FC236}">
                <a16:creationId xmlns:a16="http://schemas.microsoft.com/office/drawing/2014/main" id="{EA6BF06D-A142-B53A-43D7-B1E6AEF7918A}"/>
              </a:ext>
            </a:extLst>
          </p:cNvPr>
          <p:cNvGraphicFramePr>
            <a:graphicFrameLocks noChangeAspect="1"/>
          </p:cNvGraphicFramePr>
          <p:nvPr>
            <p:custDataLst>
              <p:tags r:id="rId1"/>
            </p:custDataLst>
            <p:extLst>
              <p:ext uri="{D42A27DB-BD31-4B8C-83A1-F6EECF244321}">
                <p14:modId xmlns:p14="http://schemas.microsoft.com/office/powerpoint/2010/main" val="1267785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think-cell data - do not delete" hidden="1">
                        <a:extLst>
                          <a:ext uri="{FF2B5EF4-FFF2-40B4-BE49-F238E27FC236}">
                            <a16:creationId xmlns:a16="http://schemas.microsoft.com/office/drawing/2014/main" id="{EA6BF06D-A142-B53A-43D7-B1E6AEF791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extplatzhalter 38">
            <a:extLst>
              <a:ext uri="{FF2B5EF4-FFF2-40B4-BE49-F238E27FC236}">
                <a16:creationId xmlns:a16="http://schemas.microsoft.com/office/drawing/2014/main" id="{C4769D74-4D23-863C-AB56-6A158B9C53A1}"/>
              </a:ext>
            </a:extLst>
          </p:cNvPr>
          <p:cNvSpPr>
            <a:spLocks noGrp="1"/>
          </p:cNvSpPr>
          <p:nvPr>
            <p:ph type="body" sz="quarter" idx="18" hasCustomPrompt="1"/>
          </p:nvPr>
        </p:nvSpPr>
        <p:spPr>
          <a:xfrm>
            <a:off x="7716103" y="2249142"/>
            <a:ext cx="4068000" cy="573288"/>
          </a:xfrm>
        </p:spPr>
        <p:txBody>
          <a:bodyPr anchor="ctr">
            <a:spAutoFit/>
          </a:bodyPr>
          <a:lstStyle>
            <a:lvl1pPr marL="0" indent="0">
              <a:buFont typeface="Arial" panose="020B0604020202020204" pitchFamily="34" charset="0"/>
              <a:buNone/>
              <a:defRPr sz="2000" b="1"/>
            </a:lvl1pPr>
            <a:lvl2pPr marL="0" indent="0">
              <a:buNone/>
              <a:defRPr sz="1400"/>
            </a:lvl2pPr>
            <a:lvl3pPr marL="0" indent="0">
              <a:buNone/>
              <a:defRPr sz="2000"/>
            </a:lvl3pPr>
            <a:lvl4pPr marL="0" indent="0">
              <a:buNone/>
              <a:defRPr sz="2000"/>
            </a:lvl4pPr>
            <a:lvl5pPr marL="0" indent="0">
              <a:buNone/>
              <a:defRPr sz="2000"/>
            </a:lvl5pPr>
          </a:lstStyle>
          <a:p>
            <a:pPr lvl="0"/>
            <a:r>
              <a:rPr lang="en-US" dirty="0"/>
              <a:t>Name surname</a:t>
            </a:r>
          </a:p>
          <a:p>
            <a:pPr lvl="1"/>
            <a:r>
              <a:rPr lang="en-US" dirty="0"/>
              <a:t>Position</a:t>
            </a:r>
          </a:p>
        </p:txBody>
      </p:sp>
      <p:sp>
        <p:nvSpPr>
          <p:cNvPr id="42" name="Textplatzhalter 41">
            <a:extLst>
              <a:ext uri="{FF2B5EF4-FFF2-40B4-BE49-F238E27FC236}">
                <a16:creationId xmlns:a16="http://schemas.microsoft.com/office/drawing/2014/main" id="{012C08EE-5350-C0AF-4999-63AD796F2E66}"/>
              </a:ext>
            </a:extLst>
          </p:cNvPr>
          <p:cNvSpPr>
            <a:spLocks noGrp="1"/>
          </p:cNvSpPr>
          <p:nvPr>
            <p:ph type="body" sz="quarter" idx="19" hasCustomPrompt="1"/>
          </p:nvPr>
        </p:nvSpPr>
        <p:spPr>
          <a:xfrm>
            <a:off x="7716103" y="4674761"/>
            <a:ext cx="4068000" cy="573288"/>
          </a:xfrm>
        </p:spPr>
        <p:txBody>
          <a:bodyPr anchor="ctr">
            <a:spAutoFit/>
          </a:bodyPr>
          <a:lstStyle>
            <a:lvl1pPr marL="0" indent="0">
              <a:buFont typeface="Arial" panose="020B0604020202020204" pitchFamily="34" charset="0"/>
              <a:buNone/>
              <a:defRPr sz="2000" b="1"/>
            </a:lvl1pPr>
            <a:lvl2pPr marL="0" indent="0">
              <a:buNone/>
              <a:defRPr sz="1400"/>
            </a:lvl2pPr>
            <a:lvl3pPr marL="0" indent="0">
              <a:buNone/>
              <a:defRPr sz="2000"/>
            </a:lvl3pPr>
            <a:lvl4pPr marL="0" indent="0">
              <a:buNone/>
              <a:defRPr sz="2000"/>
            </a:lvl4pPr>
            <a:lvl5pPr marL="0" indent="0">
              <a:buNone/>
              <a:defRPr sz="2000"/>
            </a:lvl5pPr>
          </a:lstStyle>
          <a:p>
            <a:pPr lvl="0"/>
            <a:r>
              <a:rPr lang="en-US" dirty="0"/>
              <a:t>Name surname</a:t>
            </a:r>
          </a:p>
          <a:p>
            <a:pPr lvl="1"/>
            <a:r>
              <a:rPr lang="en-US" dirty="0"/>
              <a:t>Position</a:t>
            </a:r>
          </a:p>
        </p:txBody>
      </p:sp>
      <p:sp>
        <p:nvSpPr>
          <p:cNvPr id="59" name="Bildplatzhalter 58">
            <a:extLst>
              <a:ext uri="{FF2B5EF4-FFF2-40B4-BE49-F238E27FC236}">
                <a16:creationId xmlns:a16="http://schemas.microsoft.com/office/drawing/2014/main" id="{6951B65F-DC7A-BA18-6558-DB125558D41D}"/>
              </a:ext>
            </a:extLst>
          </p:cNvPr>
          <p:cNvSpPr>
            <a:spLocks noGrp="1"/>
          </p:cNvSpPr>
          <p:nvPr>
            <p:ph type="pic" sz="quarter" idx="23" hasCustomPrompt="1"/>
          </p:nvPr>
        </p:nvSpPr>
        <p:spPr bwMode="gray">
          <a:xfrm>
            <a:off x="6167437" y="2274176"/>
            <a:ext cx="1253955" cy="1237952"/>
          </a:xfrm>
          <a:custGeom>
            <a:avLst/>
            <a:gdLst>
              <a:gd name="connsiteX0" fmla="*/ 434982 w 911634"/>
              <a:gd name="connsiteY0" fmla="*/ 404 h 900000"/>
              <a:gd name="connsiteX1" fmla="*/ 508078 w 911634"/>
              <a:gd name="connsiteY1" fmla="*/ 6013 h 900000"/>
              <a:gd name="connsiteX2" fmla="*/ 769769 w 911634"/>
              <a:gd name="connsiteY2" fmla="*/ 92111 h 900000"/>
              <a:gd name="connsiteX3" fmla="*/ 902195 w 911634"/>
              <a:gd name="connsiteY3" fmla="*/ 255558 h 900000"/>
              <a:gd name="connsiteX4" fmla="*/ 885525 w 911634"/>
              <a:gd name="connsiteY4" fmla="*/ 457493 h 900000"/>
              <a:gd name="connsiteX5" fmla="*/ 821138 w 911634"/>
              <a:gd name="connsiteY5" fmla="*/ 582025 h 900000"/>
              <a:gd name="connsiteX6" fmla="*/ 696638 w 911634"/>
              <a:gd name="connsiteY6" fmla="*/ 730469 h 900000"/>
              <a:gd name="connsiteX7" fmla="*/ 529503 w 911634"/>
              <a:gd name="connsiteY7" fmla="*/ 853940 h 900000"/>
              <a:gd name="connsiteX8" fmla="*/ 383912 w 911634"/>
              <a:gd name="connsiteY8" fmla="*/ 899608 h 900000"/>
              <a:gd name="connsiteX9" fmla="*/ 262656 w 911634"/>
              <a:gd name="connsiteY9" fmla="*/ 863176 h 900000"/>
              <a:gd name="connsiteX10" fmla="*/ 141370 w 911634"/>
              <a:gd name="connsiteY10" fmla="*/ 739671 h 900000"/>
              <a:gd name="connsiteX11" fmla="*/ 31455 w 911634"/>
              <a:gd name="connsiteY11" fmla="*/ 506384 h 900000"/>
              <a:gd name="connsiteX12" fmla="*/ 1176 w 911634"/>
              <a:gd name="connsiteY12" fmla="*/ 273382 h 900000"/>
              <a:gd name="connsiteX13" fmla="*/ 53799 w 911634"/>
              <a:gd name="connsiteY13" fmla="*/ 118381 h 900000"/>
              <a:gd name="connsiteX14" fmla="*/ 219666 w 911634"/>
              <a:gd name="connsiteY14" fmla="*/ 19597 h 900000"/>
              <a:gd name="connsiteX15" fmla="*/ 434982 w 911634"/>
              <a:gd name="connsiteY15" fmla="*/ 404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1634" h="900000">
                <a:moveTo>
                  <a:pt x="434982" y="404"/>
                </a:moveTo>
                <a:cubicBezTo>
                  <a:pt x="460402" y="1160"/>
                  <a:pt x="485157" y="2992"/>
                  <a:pt x="508078" y="6013"/>
                </a:cubicBezTo>
                <a:cubicBezTo>
                  <a:pt x="599761" y="18099"/>
                  <a:pt x="704083" y="50520"/>
                  <a:pt x="769769" y="92111"/>
                </a:cubicBezTo>
                <a:cubicBezTo>
                  <a:pt x="835456" y="133702"/>
                  <a:pt x="882903" y="194660"/>
                  <a:pt x="902195" y="255558"/>
                </a:cubicBezTo>
                <a:cubicBezTo>
                  <a:pt x="921488" y="316455"/>
                  <a:pt x="908849" y="400452"/>
                  <a:pt x="885525" y="457493"/>
                </a:cubicBezTo>
                <a:cubicBezTo>
                  <a:pt x="862199" y="514535"/>
                  <a:pt x="852619" y="536529"/>
                  <a:pt x="821138" y="582025"/>
                </a:cubicBezTo>
                <a:cubicBezTo>
                  <a:pt x="789657" y="627522"/>
                  <a:pt x="748974" y="683400"/>
                  <a:pt x="696638" y="730469"/>
                </a:cubicBezTo>
                <a:cubicBezTo>
                  <a:pt x="623845" y="796548"/>
                  <a:pt x="581624" y="825750"/>
                  <a:pt x="529503" y="853940"/>
                </a:cubicBezTo>
                <a:cubicBezTo>
                  <a:pt x="477382" y="882129"/>
                  <a:pt x="422026" y="896766"/>
                  <a:pt x="383912" y="899608"/>
                </a:cubicBezTo>
                <a:cubicBezTo>
                  <a:pt x="345799" y="902448"/>
                  <a:pt x="303080" y="889832"/>
                  <a:pt x="262656" y="863176"/>
                </a:cubicBezTo>
                <a:cubicBezTo>
                  <a:pt x="222232" y="836520"/>
                  <a:pt x="183083" y="799787"/>
                  <a:pt x="141370" y="739671"/>
                </a:cubicBezTo>
                <a:cubicBezTo>
                  <a:pt x="99656" y="679555"/>
                  <a:pt x="57552" y="599900"/>
                  <a:pt x="31455" y="506384"/>
                </a:cubicBezTo>
                <a:cubicBezTo>
                  <a:pt x="5359" y="412869"/>
                  <a:pt x="-3449" y="325817"/>
                  <a:pt x="1176" y="273382"/>
                </a:cubicBezTo>
                <a:cubicBezTo>
                  <a:pt x="5802" y="220947"/>
                  <a:pt x="21709" y="161302"/>
                  <a:pt x="53799" y="118381"/>
                </a:cubicBezTo>
                <a:cubicBezTo>
                  <a:pt x="85889" y="75461"/>
                  <a:pt x="143953" y="38325"/>
                  <a:pt x="219666" y="19597"/>
                </a:cubicBezTo>
                <a:cubicBezTo>
                  <a:pt x="276452" y="5550"/>
                  <a:pt x="358718" y="-1865"/>
                  <a:pt x="434982" y="404"/>
                </a:cubicBezTo>
                <a:close/>
              </a:path>
            </a:pathLst>
          </a:cu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noAutofit/>
          </a:bodyPr>
          <a:lstStyle>
            <a:lvl1pPr algn="ctr">
              <a:defRPr sz="1000"/>
            </a:lvl1pPr>
          </a:lstStyle>
          <a:p>
            <a:r>
              <a:rPr lang="en-US" dirty="0"/>
              <a:t>Add image by clicking on icon</a:t>
            </a:r>
          </a:p>
        </p:txBody>
      </p:sp>
      <p:sp>
        <p:nvSpPr>
          <p:cNvPr id="60" name="Bildplatzhalter 59">
            <a:extLst>
              <a:ext uri="{FF2B5EF4-FFF2-40B4-BE49-F238E27FC236}">
                <a16:creationId xmlns:a16="http://schemas.microsoft.com/office/drawing/2014/main" id="{69FA5A09-9107-D166-09ED-D30A98617D4C}"/>
              </a:ext>
            </a:extLst>
          </p:cNvPr>
          <p:cNvSpPr>
            <a:spLocks noGrp="1"/>
          </p:cNvSpPr>
          <p:nvPr>
            <p:ph type="pic" sz="quarter" idx="24" hasCustomPrompt="1"/>
          </p:nvPr>
        </p:nvSpPr>
        <p:spPr bwMode="gray">
          <a:xfrm>
            <a:off x="6167437" y="4699795"/>
            <a:ext cx="1253955" cy="1237952"/>
          </a:xfrm>
          <a:custGeom>
            <a:avLst/>
            <a:gdLst>
              <a:gd name="connsiteX0" fmla="*/ 434982 w 911634"/>
              <a:gd name="connsiteY0" fmla="*/ 404 h 900000"/>
              <a:gd name="connsiteX1" fmla="*/ 508078 w 911634"/>
              <a:gd name="connsiteY1" fmla="*/ 6013 h 900000"/>
              <a:gd name="connsiteX2" fmla="*/ 769769 w 911634"/>
              <a:gd name="connsiteY2" fmla="*/ 92111 h 900000"/>
              <a:gd name="connsiteX3" fmla="*/ 902195 w 911634"/>
              <a:gd name="connsiteY3" fmla="*/ 255558 h 900000"/>
              <a:gd name="connsiteX4" fmla="*/ 885525 w 911634"/>
              <a:gd name="connsiteY4" fmla="*/ 457493 h 900000"/>
              <a:gd name="connsiteX5" fmla="*/ 821138 w 911634"/>
              <a:gd name="connsiteY5" fmla="*/ 582026 h 900000"/>
              <a:gd name="connsiteX6" fmla="*/ 696638 w 911634"/>
              <a:gd name="connsiteY6" fmla="*/ 730469 h 900000"/>
              <a:gd name="connsiteX7" fmla="*/ 529503 w 911634"/>
              <a:gd name="connsiteY7" fmla="*/ 853940 h 900000"/>
              <a:gd name="connsiteX8" fmla="*/ 383912 w 911634"/>
              <a:gd name="connsiteY8" fmla="*/ 899608 h 900000"/>
              <a:gd name="connsiteX9" fmla="*/ 262656 w 911634"/>
              <a:gd name="connsiteY9" fmla="*/ 863176 h 900000"/>
              <a:gd name="connsiteX10" fmla="*/ 141370 w 911634"/>
              <a:gd name="connsiteY10" fmla="*/ 739671 h 900000"/>
              <a:gd name="connsiteX11" fmla="*/ 31455 w 911634"/>
              <a:gd name="connsiteY11" fmla="*/ 506384 h 900000"/>
              <a:gd name="connsiteX12" fmla="*/ 1176 w 911634"/>
              <a:gd name="connsiteY12" fmla="*/ 273382 h 900000"/>
              <a:gd name="connsiteX13" fmla="*/ 53799 w 911634"/>
              <a:gd name="connsiteY13" fmla="*/ 118381 h 900000"/>
              <a:gd name="connsiteX14" fmla="*/ 219666 w 911634"/>
              <a:gd name="connsiteY14" fmla="*/ 19597 h 900000"/>
              <a:gd name="connsiteX15" fmla="*/ 434982 w 911634"/>
              <a:gd name="connsiteY15" fmla="*/ 404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1634" h="900000">
                <a:moveTo>
                  <a:pt x="434982" y="404"/>
                </a:moveTo>
                <a:cubicBezTo>
                  <a:pt x="460402" y="1160"/>
                  <a:pt x="485157" y="2992"/>
                  <a:pt x="508078" y="6013"/>
                </a:cubicBezTo>
                <a:cubicBezTo>
                  <a:pt x="599761" y="18099"/>
                  <a:pt x="704083" y="50520"/>
                  <a:pt x="769769" y="92111"/>
                </a:cubicBezTo>
                <a:cubicBezTo>
                  <a:pt x="835456" y="133702"/>
                  <a:pt x="882903" y="194660"/>
                  <a:pt x="902195" y="255558"/>
                </a:cubicBezTo>
                <a:cubicBezTo>
                  <a:pt x="921488" y="316455"/>
                  <a:pt x="908849" y="400452"/>
                  <a:pt x="885525" y="457493"/>
                </a:cubicBezTo>
                <a:cubicBezTo>
                  <a:pt x="862199" y="514535"/>
                  <a:pt x="852619" y="536529"/>
                  <a:pt x="821138" y="582026"/>
                </a:cubicBezTo>
                <a:cubicBezTo>
                  <a:pt x="789657" y="627522"/>
                  <a:pt x="748974" y="683400"/>
                  <a:pt x="696638" y="730469"/>
                </a:cubicBezTo>
                <a:cubicBezTo>
                  <a:pt x="623845" y="796548"/>
                  <a:pt x="581624" y="825750"/>
                  <a:pt x="529503" y="853940"/>
                </a:cubicBezTo>
                <a:cubicBezTo>
                  <a:pt x="477382" y="882129"/>
                  <a:pt x="422026" y="896766"/>
                  <a:pt x="383912" y="899608"/>
                </a:cubicBezTo>
                <a:cubicBezTo>
                  <a:pt x="345799" y="902448"/>
                  <a:pt x="303080" y="889832"/>
                  <a:pt x="262656" y="863176"/>
                </a:cubicBezTo>
                <a:cubicBezTo>
                  <a:pt x="222232" y="836520"/>
                  <a:pt x="183083" y="799787"/>
                  <a:pt x="141370" y="739671"/>
                </a:cubicBezTo>
                <a:cubicBezTo>
                  <a:pt x="99656" y="679555"/>
                  <a:pt x="57552" y="599900"/>
                  <a:pt x="31455" y="506384"/>
                </a:cubicBezTo>
                <a:cubicBezTo>
                  <a:pt x="5359" y="412869"/>
                  <a:pt x="-3449" y="325817"/>
                  <a:pt x="1176" y="273382"/>
                </a:cubicBezTo>
                <a:cubicBezTo>
                  <a:pt x="5802" y="220947"/>
                  <a:pt x="21709" y="161303"/>
                  <a:pt x="53799" y="118381"/>
                </a:cubicBezTo>
                <a:cubicBezTo>
                  <a:pt x="85889" y="75461"/>
                  <a:pt x="143953" y="38325"/>
                  <a:pt x="219666" y="19597"/>
                </a:cubicBezTo>
                <a:cubicBezTo>
                  <a:pt x="276452" y="5550"/>
                  <a:pt x="358718" y="-1865"/>
                  <a:pt x="434982" y="404"/>
                </a:cubicBezTo>
                <a:close/>
              </a:path>
            </a:pathLst>
          </a:cu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noAutofit/>
          </a:bodyPr>
          <a:lstStyle>
            <a:lvl1pPr algn="ctr">
              <a:defRPr sz="1000"/>
            </a:lvl1pPr>
          </a:lstStyle>
          <a:p>
            <a:r>
              <a:rPr lang="en-US" dirty="0"/>
              <a:t>Add image by clicking on icon</a:t>
            </a:r>
          </a:p>
        </p:txBody>
      </p:sp>
      <p:sp>
        <p:nvSpPr>
          <p:cNvPr id="2" name="Titel 1"/>
          <p:cNvSpPr>
            <a:spLocks noGrp="1"/>
          </p:cNvSpPr>
          <p:nvPr>
            <p:ph type="title" hasCustomPrompt="1"/>
          </p:nvPr>
        </p:nvSpPr>
        <p:spPr bwMode="gray">
          <a:xfrm>
            <a:off x="407987" y="188913"/>
            <a:ext cx="2916000" cy="1008062"/>
          </a:xfrm>
        </p:spPr>
        <p:txBody>
          <a:bodyPr vert="horz"/>
          <a:lstStyle>
            <a:lvl1pPr rtl="0">
              <a:defRPr>
                <a:solidFill>
                  <a:schemeClr val="accent2"/>
                </a:solidFill>
              </a:defRPr>
            </a:lvl1pPr>
          </a:lstStyle>
          <a:p>
            <a:r>
              <a:rPr lang="en-US" dirty="0"/>
              <a:t>Edit master title format</a:t>
            </a:r>
            <a:endParaRPr lang="en-US" noProof="0" dirty="0"/>
          </a:p>
        </p:txBody>
      </p:sp>
      <p:sp>
        <p:nvSpPr>
          <p:cNvPr id="22" name="Datumsplatzhalter 21">
            <a:extLst>
              <a:ext uri="{FF2B5EF4-FFF2-40B4-BE49-F238E27FC236}">
                <a16:creationId xmlns:a16="http://schemas.microsoft.com/office/drawing/2014/main" id="{EF82EC8A-7457-23AD-24BD-5BDB12A7C130}"/>
              </a:ext>
            </a:extLst>
          </p:cNvPr>
          <p:cNvSpPr>
            <a:spLocks noGrp="1"/>
          </p:cNvSpPr>
          <p:nvPr>
            <p:ph type="dt" sz="half" idx="14"/>
          </p:nvPr>
        </p:nvSpPr>
        <p:spPr/>
        <p:txBody>
          <a:bodyPr/>
          <a:lstStyle/>
          <a:p>
            <a:r>
              <a:rPr lang="en-US"/>
              <a:t>September 2025</a:t>
            </a:r>
            <a:endParaRPr lang="en-US" dirty="0"/>
          </a:p>
        </p:txBody>
      </p:sp>
      <p:sp>
        <p:nvSpPr>
          <p:cNvPr id="23" name="Fußzeilenplatzhalter 22">
            <a:extLst>
              <a:ext uri="{FF2B5EF4-FFF2-40B4-BE49-F238E27FC236}">
                <a16:creationId xmlns:a16="http://schemas.microsoft.com/office/drawing/2014/main" id="{0CDD9752-1128-8A92-1B2D-E6329CB8D07D}"/>
              </a:ext>
            </a:extLst>
          </p:cNvPr>
          <p:cNvSpPr>
            <a:spLocks noGrp="1"/>
          </p:cNvSpPr>
          <p:nvPr>
            <p:ph type="ftr" sz="quarter" idx="15"/>
          </p:nvPr>
        </p:nvSpPr>
        <p:spPr/>
        <p:txBody>
          <a:bodyPr/>
          <a:lstStyle/>
          <a:p>
            <a:r>
              <a:rPr lang="en-US"/>
              <a:t>Achieving robust textures with PTFE-free additives</a:t>
            </a:r>
            <a:endParaRPr lang="en-US" dirty="0"/>
          </a:p>
        </p:txBody>
      </p:sp>
      <p:sp>
        <p:nvSpPr>
          <p:cNvPr id="24" name="Foliennummernplatzhalter 23">
            <a:extLst>
              <a:ext uri="{FF2B5EF4-FFF2-40B4-BE49-F238E27FC236}">
                <a16:creationId xmlns:a16="http://schemas.microsoft.com/office/drawing/2014/main" id="{290A4507-0024-6747-7C39-8CB0E8411EEB}"/>
              </a:ext>
            </a:extLst>
          </p:cNvPr>
          <p:cNvSpPr>
            <a:spLocks noGrp="1"/>
          </p:cNvSpPr>
          <p:nvPr>
            <p:ph type="sldNum" sz="quarter" idx="16"/>
          </p:nvPr>
        </p:nvSpPr>
        <p:spPr/>
        <p:txBody>
          <a:bodyPr/>
          <a:lstStyle/>
          <a:p>
            <a:r>
              <a:rPr lang="en-US" dirty="0"/>
              <a:t>Page </a:t>
            </a:r>
            <a:fld id="{F833201C-4142-4F26-B8B7-249C87787C9A}" type="slidenum">
              <a:rPr lang="en-US" smtClean="0"/>
              <a:pPr/>
              <a:t>‹#›</a:t>
            </a:fld>
            <a:endParaRPr lang="en-US" dirty="0"/>
          </a:p>
        </p:txBody>
      </p:sp>
      <p:sp>
        <p:nvSpPr>
          <p:cNvPr id="38" name="Textplatzhalter 37">
            <a:extLst>
              <a:ext uri="{FF2B5EF4-FFF2-40B4-BE49-F238E27FC236}">
                <a16:creationId xmlns:a16="http://schemas.microsoft.com/office/drawing/2014/main" id="{C1DE7194-B594-484B-5578-2B94BD188BDB}"/>
              </a:ext>
            </a:extLst>
          </p:cNvPr>
          <p:cNvSpPr>
            <a:spLocks noGrp="1"/>
          </p:cNvSpPr>
          <p:nvPr>
            <p:ph type="body" sz="quarter" idx="25" hasCustomPrompt="1"/>
          </p:nvPr>
        </p:nvSpPr>
        <p:spPr>
          <a:xfrm>
            <a:off x="7716103" y="2946324"/>
            <a:ext cx="4068000" cy="360000"/>
          </a:xfrm>
          <a:blipFill>
            <a:blip r:embed="rId5">
              <a:extLst>
                <a:ext uri="{96DAC541-7B7A-43D3-8B79-37D633B846F1}">
                  <asvg:svgBlip xmlns:asvg="http://schemas.microsoft.com/office/drawing/2016/SVG/main" r:embed="rId6"/>
                </a:ext>
              </a:extLst>
            </a:blip>
            <a:stretch>
              <a:fillRect/>
            </a:stretch>
          </a:blipFill>
        </p:spPr>
        <p:txBody>
          <a:bodyPr lIns="396000" anchor="ctr"/>
          <a:lstStyle>
            <a:lvl1pPr marL="0" indent="0">
              <a:spcBef>
                <a:spcPts val="0"/>
              </a:spcBef>
              <a:buFont typeface="Arial" panose="020B0604020202020204" pitchFamily="34" charset="0"/>
              <a:buNone/>
              <a:defRPr sz="1400"/>
            </a:lvl1pPr>
            <a:lvl2pPr marL="0" indent="0">
              <a:spcBef>
                <a:spcPts val="0"/>
              </a:spcBef>
              <a:buNone/>
              <a:defRPr sz="1400"/>
            </a:lvl2pPr>
            <a:lvl3pPr marL="0" indent="0">
              <a:spcBef>
                <a:spcPts val="0"/>
              </a:spcBef>
              <a:buNone/>
              <a:defRPr sz="1400"/>
            </a:lvl3pPr>
            <a:lvl4pPr marL="0" indent="0">
              <a:spcBef>
                <a:spcPts val="0"/>
              </a:spcBef>
              <a:buNone/>
              <a:defRPr sz="1400"/>
            </a:lvl4pPr>
            <a:lvl5pPr marL="0" indent="0">
              <a:spcBef>
                <a:spcPts val="0"/>
              </a:spcBef>
              <a:buNone/>
              <a:defRPr sz="1400"/>
            </a:lvl5pPr>
          </a:lstStyle>
          <a:p>
            <a:pPr algn="l">
              <a:spcAft>
                <a:spcPts val="300"/>
              </a:spcAft>
            </a:pPr>
            <a:r>
              <a:rPr lang="en-US" sz="1400" dirty="0"/>
              <a:t>+49 123 456-789</a:t>
            </a:r>
          </a:p>
        </p:txBody>
      </p:sp>
      <p:sp>
        <p:nvSpPr>
          <p:cNvPr id="41" name="Textplatzhalter 40">
            <a:extLst>
              <a:ext uri="{FF2B5EF4-FFF2-40B4-BE49-F238E27FC236}">
                <a16:creationId xmlns:a16="http://schemas.microsoft.com/office/drawing/2014/main" id="{D03837D5-79B0-16F6-9785-F04B334C7773}"/>
              </a:ext>
            </a:extLst>
          </p:cNvPr>
          <p:cNvSpPr>
            <a:spLocks noGrp="1"/>
          </p:cNvSpPr>
          <p:nvPr>
            <p:ph type="body" sz="quarter" idx="26" hasCustomPrompt="1"/>
          </p:nvPr>
        </p:nvSpPr>
        <p:spPr>
          <a:xfrm>
            <a:off x="7716103" y="3318475"/>
            <a:ext cx="4068000" cy="360000"/>
          </a:xfrm>
          <a:blipFill>
            <a:blip r:embed="rId7">
              <a:extLst>
                <a:ext uri="{96DAC541-7B7A-43D3-8B79-37D633B846F1}">
                  <asvg:svgBlip xmlns:asvg="http://schemas.microsoft.com/office/drawing/2016/SVG/main" r:embed="rId8"/>
                </a:ext>
              </a:extLst>
            </a:blip>
            <a:stretch>
              <a:fillRect/>
            </a:stretch>
          </a:blipFill>
        </p:spPr>
        <p:txBody>
          <a:bodyPr lIns="396000" anchor="ctr"/>
          <a:lstStyle>
            <a:lvl1pPr marL="0" indent="0">
              <a:spcBef>
                <a:spcPts val="0"/>
              </a:spcBef>
              <a:buFont typeface="Arial" panose="020B0604020202020204" pitchFamily="34" charset="0"/>
              <a:buNone/>
              <a:defRPr sz="1400"/>
            </a:lvl1pPr>
            <a:lvl2pPr marL="0" indent="0">
              <a:spcBef>
                <a:spcPts val="0"/>
              </a:spcBef>
              <a:buNone/>
              <a:defRPr sz="1400"/>
            </a:lvl2pPr>
            <a:lvl3pPr marL="0" indent="0">
              <a:spcBef>
                <a:spcPts val="0"/>
              </a:spcBef>
              <a:buNone/>
              <a:defRPr sz="1400"/>
            </a:lvl3pPr>
            <a:lvl4pPr marL="0" indent="0">
              <a:spcBef>
                <a:spcPts val="0"/>
              </a:spcBef>
              <a:buNone/>
              <a:defRPr sz="1400"/>
            </a:lvl4pPr>
            <a:lvl5pPr marL="0" indent="0">
              <a:spcBef>
                <a:spcPts val="0"/>
              </a:spcBef>
              <a:buNone/>
              <a:defRPr sz="1400"/>
            </a:lvl5pPr>
          </a:lstStyle>
          <a:p>
            <a:pPr algn="l">
              <a:spcAft>
                <a:spcPts val="300"/>
              </a:spcAft>
            </a:pPr>
            <a:r>
              <a:rPr lang="en-US" sz="1400" dirty="0"/>
              <a:t>name.surname@altana.com</a:t>
            </a:r>
          </a:p>
        </p:txBody>
      </p:sp>
      <p:sp>
        <p:nvSpPr>
          <p:cNvPr id="45" name="Textplatzhalter 44">
            <a:extLst>
              <a:ext uri="{FF2B5EF4-FFF2-40B4-BE49-F238E27FC236}">
                <a16:creationId xmlns:a16="http://schemas.microsoft.com/office/drawing/2014/main" id="{99BBCE33-0CD3-6057-B236-DC393C2A10B0}"/>
              </a:ext>
            </a:extLst>
          </p:cNvPr>
          <p:cNvSpPr>
            <a:spLocks noGrp="1"/>
          </p:cNvSpPr>
          <p:nvPr>
            <p:ph type="body" sz="quarter" idx="27" hasCustomPrompt="1"/>
          </p:nvPr>
        </p:nvSpPr>
        <p:spPr>
          <a:xfrm>
            <a:off x="7716103" y="5310370"/>
            <a:ext cx="4068000" cy="360000"/>
          </a:xfrm>
          <a:blipFill>
            <a:blip r:embed="rId5">
              <a:extLst>
                <a:ext uri="{96DAC541-7B7A-43D3-8B79-37D633B846F1}">
                  <asvg:svgBlip xmlns:asvg="http://schemas.microsoft.com/office/drawing/2016/SVG/main" r:embed="rId6"/>
                </a:ext>
              </a:extLst>
            </a:blip>
            <a:stretch>
              <a:fillRect/>
            </a:stretch>
          </a:blipFill>
        </p:spPr>
        <p:txBody>
          <a:bodyPr lIns="396000" anchor="ctr"/>
          <a:lstStyle>
            <a:lvl1pPr marL="0" indent="0">
              <a:spcBef>
                <a:spcPts val="0"/>
              </a:spcBef>
              <a:buFont typeface="Arial" panose="020B0604020202020204" pitchFamily="34" charset="0"/>
              <a:buNone/>
              <a:defRPr sz="1400"/>
            </a:lvl1pPr>
            <a:lvl2pPr marL="0" indent="0">
              <a:spcBef>
                <a:spcPts val="0"/>
              </a:spcBef>
              <a:buNone/>
              <a:defRPr sz="1400"/>
            </a:lvl2pPr>
            <a:lvl3pPr marL="0" indent="0">
              <a:spcBef>
                <a:spcPts val="0"/>
              </a:spcBef>
              <a:buNone/>
              <a:defRPr sz="1400"/>
            </a:lvl3pPr>
            <a:lvl4pPr marL="0" indent="0">
              <a:spcBef>
                <a:spcPts val="0"/>
              </a:spcBef>
              <a:buNone/>
              <a:defRPr sz="1400"/>
            </a:lvl4pPr>
            <a:lvl5pPr marL="0" indent="0">
              <a:spcBef>
                <a:spcPts val="0"/>
              </a:spcBef>
              <a:buNone/>
              <a:defRPr sz="1400"/>
            </a:lvl5pPr>
          </a:lstStyle>
          <a:p>
            <a:pPr algn="l">
              <a:spcAft>
                <a:spcPts val="300"/>
              </a:spcAft>
            </a:pPr>
            <a:r>
              <a:rPr lang="en-US" sz="1400" dirty="0"/>
              <a:t>+49 123 456-789</a:t>
            </a:r>
          </a:p>
        </p:txBody>
      </p:sp>
      <p:sp>
        <p:nvSpPr>
          <p:cNvPr id="49" name="Textplatzhalter 48">
            <a:extLst>
              <a:ext uri="{FF2B5EF4-FFF2-40B4-BE49-F238E27FC236}">
                <a16:creationId xmlns:a16="http://schemas.microsoft.com/office/drawing/2014/main" id="{3D8B7E96-ECC0-B861-6B2E-F20F66742D2C}"/>
              </a:ext>
            </a:extLst>
          </p:cNvPr>
          <p:cNvSpPr>
            <a:spLocks noGrp="1"/>
          </p:cNvSpPr>
          <p:nvPr>
            <p:ph type="body" sz="quarter" idx="28" hasCustomPrompt="1"/>
          </p:nvPr>
        </p:nvSpPr>
        <p:spPr>
          <a:xfrm>
            <a:off x="7716103" y="5682521"/>
            <a:ext cx="4068000" cy="360000"/>
          </a:xfrm>
          <a:blipFill>
            <a:blip r:embed="rId7">
              <a:extLst>
                <a:ext uri="{96DAC541-7B7A-43D3-8B79-37D633B846F1}">
                  <asvg:svgBlip xmlns:asvg="http://schemas.microsoft.com/office/drawing/2016/SVG/main" r:embed="rId8"/>
                </a:ext>
              </a:extLst>
            </a:blip>
            <a:stretch>
              <a:fillRect/>
            </a:stretch>
          </a:blipFill>
        </p:spPr>
        <p:txBody>
          <a:bodyPr lIns="396000" anchor="ctr"/>
          <a:lstStyle>
            <a:lvl1pPr marL="0" indent="0">
              <a:spcBef>
                <a:spcPts val="0"/>
              </a:spcBef>
              <a:buFont typeface="Arial" panose="020B0604020202020204" pitchFamily="34" charset="0"/>
              <a:buNone/>
              <a:defRPr sz="1400"/>
            </a:lvl1pPr>
            <a:lvl2pPr marL="0" indent="0">
              <a:spcBef>
                <a:spcPts val="0"/>
              </a:spcBef>
              <a:buNone/>
              <a:defRPr sz="1400"/>
            </a:lvl2pPr>
            <a:lvl3pPr marL="0" indent="0">
              <a:spcBef>
                <a:spcPts val="0"/>
              </a:spcBef>
              <a:buNone/>
              <a:defRPr sz="1400"/>
            </a:lvl3pPr>
            <a:lvl4pPr marL="0" indent="0">
              <a:spcBef>
                <a:spcPts val="0"/>
              </a:spcBef>
              <a:buNone/>
              <a:defRPr sz="1400"/>
            </a:lvl4pPr>
            <a:lvl5pPr marL="0" indent="0">
              <a:spcBef>
                <a:spcPts val="0"/>
              </a:spcBef>
              <a:buNone/>
              <a:defRPr sz="1400"/>
            </a:lvl5pPr>
          </a:lstStyle>
          <a:p>
            <a:pPr algn="l">
              <a:spcAft>
                <a:spcPts val="300"/>
              </a:spcAft>
            </a:pPr>
            <a:r>
              <a:rPr lang="en-US" sz="1400" dirty="0"/>
              <a:t>name.surname@altana.com</a:t>
            </a:r>
          </a:p>
        </p:txBody>
      </p:sp>
    </p:spTree>
    <p:extLst>
      <p:ext uri="{BB962C8B-B14F-4D97-AF65-F5344CB8AC3E}">
        <p14:creationId xmlns:p14="http://schemas.microsoft.com/office/powerpoint/2010/main" val="1031200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isclaimer">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E147AF4-C791-13B8-5091-3DF058600CD6}"/>
              </a:ext>
            </a:extLst>
          </p:cNvPr>
          <p:cNvGraphicFramePr>
            <a:graphicFrameLocks noChangeAspect="1"/>
          </p:cNvGraphicFramePr>
          <p:nvPr userDrawn="1">
            <p:custDataLst>
              <p:tags r:id="rId1"/>
            </p:custDataLst>
            <p:extLst>
              <p:ext uri="{D42A27DB-BD31-4B8C-83A1-F6EECF244321}">
                <p14:modId xmlns:p14="http://schemas.microsoft.com/office/powerpoint/2010/main" val="3550321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think-cell data - do not delete" hidden="1">
                        <a:extLst>
                          <a:ext uri="{FF2B5EF4-FFF2-40B4-BE49-F238E27FC236}">
                            <a16:creationId xmlns:a16="http://schemas.microsoft.com/office/drawing/2014/main" id="{5E147AF4-C791-13B8-5091-3DF058600C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object 11">
            <a:extLst>
              <a:ext uri="{FF2B5EF4-FFF2-40B4-BE49-F238E27FC236}">
                <a16:creationId xmlns:a16="http://schemas.microsoft.com/office/drawing/2014/main" id="{D0A6E782-149C-79A3-6366-00F95621A163}"/>
              </a:ext>
            </a:extLst>
          </p:cNvPr>
          <p:cNvSpPr/>
          <p:nvPr userDrawn="1"/>
        </p:nvSpPr>
        <p:spPr>
          <a:xfrm rot="19968200" flipH="1">
            <a:off x="7891303" y="-762211"/>
            <a:ext cx="1282987" cy="8312345"/>
          </a:xfrm>
          <a:custGeom>
            <a:avLst/>
            <a:gdLst>
              <a:gd name="connsiteX0" fmla="*/ 1151591 w 1151591"/>
              <a:gd name="connsiteY0" fmla="*/ 0 h 6754611"/>
              <a:gd name="connsiteX1" fmla="*/ 1115529 w 1151591"/>
              <a:gd name="connsiteY1" fmla="*/ 72995 h 6754611"/>
              <a:gd name="connsiteX2" fmla="*/ 1079968 w 1151591"/>
              <a:gd name="connsiteY2" fmla="*/ 146351 h 6754611"/>
              <a:gd name="connsiteX3" fmla="*/ 1044911 w 1151591"/>
              <a:gd name="connsiteY3" fmla="*/ 220061 h 6754611"/>
              <a:gd name="connsiteX4" fmla="*/ 1010363 w 1151591"/>
              <a:gd name="connsiteY4" fmla="*/ 294118 h 6754611"/>
              <a:gd name="connsiteX5" fmla="*/ 976326 w 1151591"/>
              <a:gd name="connsiteY5" fmla="*/ 368515 h 6754611"/>
              <a:gd name="connsiteX6" fmla="*/ 942805 w 1151591"/>
              <a:gd name="connsiteY6" fmla="*/ 443243 h 6754611"/>
              <a:gd name="connsiteX7" fmla="*/ 909803 w 1151591"/>
              <a:gd name="connsiteY7" fmla="*/ 518297 h 6754611"/>
              <a:gd name="connsiteX8" fmla="*/ 877324 w 1151591"/>
              <a:gd name="connsiteY8" fmla="*/ 593669 h 6754611"/>
              <a:gd name="connsiteX9" fmla="*/ 845371 w 1151591"/>
              <a:gd name="connsiteY9" fmla="*/ 669351 h 6754611"/>
              <a:gd name="connsiteX10" fmla="*/ 813948 w 1151591"/>
              <a:gd name="connsiteY10" fmla="*/ 745337 h 6754611"/>
              <a:gd name="connsiteX11" fmla="*/ 783060 w 1151591"/>
              <a:gd name="connsiteY11" fmla="*/ 821620 h 6754611"/>
              <a:gd name="connsiteX12" fmla="*/ 752708 w 1151591"/>
              <a:gd name="connsiteY12" fmla="*/ 898191 h 6754611"/>
              <a:gd name="connsiteX13" fmla="*/ 722898 w 1151591"/>
              <a:gd name="connsiteY13" fmla="*/ 975045 h 6754611"/>
              <a:gd name="connsiteX14" fmla="*/ 693633 w 1151591"/>
              <a:gd name="connsiteY14" fmla="*/ 1052173 h 6754611"/>
              <a:gd name="connsiteX15" fmla="*/ 664917 w 1151591"/>
              <a:gd name="connsiteY15" fmla="*/ 1129569 h 6754611"/>
              <a:gd name="connsiteX16" fmla="*/ 636752 w 1151591"/>
              <a:gd name="connsiteY16" fmla="*/ 1207225 h 6754611"/>
              <a:gd name="connsiteX17" fmla="*/ 609144 w 1151591"/>
              <a:gd name="connsiteY17" fmla="*/ 1285135 h 6754611"/>
              <a:gd name="connsiteX18" fmla="*/ 582095 w 1151591"/>
              <a:gd name="connsiteY18" fmla="*/ 1363290 h 6754611"/>
              <a:gd name="connsiteX19" fmla="*/ 555609 w 1151591"/>
              <a:gd name="connsiteY19" fmla="*/ 1441685 h 6754611"/>
              <a:gd name="connsiteX20" fmla="*/ 529690 w 1151591"/>
              <a:gd name="connsiteY20" fmla="*/ 1520310 h 6754611"/>
              <a:gd name="connsiteX21" fmla="*/ 504342 w 1151591"/>
              <a:gd name="connsiteY21" fmla="*/ 1599161 h 6754611"/>
              <a:gd name="connsiteX22" fmla="*/ 479568 w 1151591"/>
              <a:gd name="connsiteY22" fmla="*/ 1678228 h 6754611"/>
              <a:gd name="connsiteX23" fmla="*/ 455372 w 1151591"/>
              <a:gd name="connsiteY23" fmla="*/ 1757505 h 6754611"/>
              <a:gd name="connsiteX24" fmla="*/ 431758 w 1151591"/>
              <a:gd name="connsiteY24" fmla="*/ 1836986 h 6754611"/>
              <a:gd name="connsiteX25" fmla="*/ 408729 w 1151591"/>
              <a:gd name="connsiteY25" fmla="*/ 1916662 h 6754611"/>
              <a:gd name="connsiteX26" fmla="*/ 386289 w 1151591"/>
              <a:gd name="connsiteY26" fmla="*/ 1996526 h 6754611"/>
              <a:gd name="connsiteX27" fmla="*/ 364441 w 1151591"/>
              <a:gd name="connsiteY27" fmla="*/ 2076571 h 6754611"/>
              <a:gd name="connsiteX28" fmla="*/ 343190 w 1151591"/>
              <a:gd name="connsiteY28" fmla="*/ 2156791 h 6754611"/>
              <a:gd name="connsiteX29" fmla="*/ 322539 w 1151591"/>
              <a:gd name="connsiteY29" fmla="*/ 2237177 h 6754611"/>
              <a:gd name="connsiteX30" fmla="*/ 302492 w 1151591"/>
              <a:gd name="connsiteY30" fmla="*/ 2317723 h 6754611"/>
              <a:gd name="connsiteX31" fmla="*/ 283052 w 1151591"/>
              <a:gd name="connsiteY31" fmla="*/ 2398421 h 6754611"/>
              <a:gd name="connsiteX32" fmla="*/ 264222 w 1151591"/>
              <a:gd name="connsiteY32" fmla="*/ 2479265 h 6754611"/>
              <a:gd name="connsiteX33" fmla="*/ 246008 w 1151591"/>
              <a:gd name="connsiteY33" fmla="*/ 2560246 h 6754611"/>
              <a:gd name="connsiteX34" fmla="*/ 228412 w 1151591"/>
              <a:gd name="connsiteY34" fmla="*/ 2641359 h 6754611"/>
              <a:gd name="connsiteX35" fmla="*/ 211438 w 1151591"/>
              <a:gd name="connsiteY35" fmla="*/ 2722595 h 6754611"/>
              <a:gd name="connsiteX36" fmla="*/ 195090 w 1151591"/>
              <a:gd name="connsiteY36" fmla="*/ 2803947 h 6754611"/>
              <a:gd name="connsiteX37" fmla="*/ 179371 w 1151591"/>
              <a:gd name="connsiteY37" fmla="*/ 2885409 h 6754611"/>
              <a:gd name="connsiteX38" fmla="*/ 164285 w 1151591"/>
              <a:gd name="connsiteY38" fmla="*/ 2966973 h 6754611"/>
              <a:gd name="connsiteX39" fmla="*/ 149836 w 1151591"/>
              <a:gd name="connsiteY39" fmla="*/ 3048631 h 6754611"/>
              <a:gd name="connsiteX40" fmla="*/ 136027 w 1151591"/>
              <a:gd name="connsiteY40" fmla="*/ 3130378 h 6754611"/>
              <a:gd name="connsiteX41" fmla="*/ 122862 w 1151591"/>
              <a:gd name="connsiteY41" fmla="*/ 3212204 h 6754611"/>
              <a:gd name="connsiteX42" fmla="*/ 110346 w 1151591"/>
              <a:gd name="connsiteY42" fmla="*/ 3294104 h 6754611"/>
              <a:gd name="connsiteX43" fmla="*/ 98480 w 1151591"/>
              <a:gd name="connsiteY43" fmla="*/ 3376070 h 6754611"/>
              <a:gd name="connsiteX44" fmla="*/ 87270 w 1151591"/>
              <a:gd name="connsiteY44" fmla="*/ 3458095 h 6754611"/>
              <a:gd name="connsiteX45" fmla="*/ 76718 w 1151591"/>
              <a:gd name="connsiteY45" fmla="*/ 3540172 h 6754611"/>
              <a:gd name="connsiteX46" fmla="*/ 66829 w 1151591"/>
              <a:gd name="connsiteY46" fmla="*/ 3622293 h 6754611"/>
              <a:gd name="connsiteX47" fmla="*/ 57606 w 1151591"/>
              <a:gd name="connsiteY47" fmla="*/ 3704451 h 6754611"/>
              <a:gd name="connsiteX48" fmla="*/ 49053 w 1151591"/>
              <a:gd name="connsiteY48" fmla="*/ 3786640 h 6754611"/>
              <a:gd name="connsiteX49" fmla="*/ 41174 w 1151591"/>
              <a:gd name="connsiteY49" fmla="*/ 3868851 h 6754611"/>
              <a:gd name="connsiteX50" fmla="*/ 33971 w 1151591"/>
              <a:gd name="connsiteY50" fmla="*/ 3951078 h 6754611"/>
              <a:gd name="connsiteX51" fmla="*/ 27450 w 1151591"/>
              <a:gd name="connsiteY51" fmla="*/ 4033313 h 6754611"/>
              <a:gd name="connsiteX52" fmla="*/ 21613 w 1151591"/>
              <a:gd name="connsiteY52" fmla="*/ 4115550 h 6754611"/>
              <a:gd name="connsiteX53" fmla="*/ 16464 w 1151591"/>
              <a:gd name="connsiteY53" fmla="*/ 4197781 h 6754611"/>
              <a:gd name="connsiteX54" fmla="*/ 12007 w 1151591"/>
              <a:gd name="connsiteY54" fmla="*/ 4279999 h 6754611"/>
              <a:gd name="connsiteX55" fmla="*/ 8245 w 1151591"/>
              <a:gd name="connsiteY55" fmla="*/ 4362196 h 6754611"/>
              <a:gd name="connsiteX56" fmla="*/ 5183 w 1151591"/>
              <a:gd name="connsiteY56" fmla="*/ 4444366 h 6754611"/>
              <a:gd name="connsiteX57" fmla="*/ 2824 w 1151591"/>
              <a:gd name="connsiteY57" fmla="*/ 4526501 h 6754611"/>
              <a:gd name="connsiteX58" fmla="*/ 1171 w 1151591"/>
              <a:gd name="connsiteY58" fmla="*/ 4608595 h 6754611"/>
              <a:gd name="connsiteX59" fmla="*/ 228 w 1151591"/>
              <a:gd name="connsiteY59" fmla="*/ 4690639 h 6754611"/>
              <a:gd name="connsiteX60" fmla="*/ 0 w 1151591"/>
              <a:gd name="connsiteY60" fmla="*/ 4772627 h 6754611"/>
              <a:gd name="connsiteX61" fmla="*/ 488 w 1151591"/>
              <a:gd name="connsiteY61" fmla="*/ 4854552 h 6754611"/>
              <a:gd name="connsiteX62" fmla="*/ 1699 w 1151591"/>
              <a:gd name="connsiteY62" fmla="*/ 4936406 h 6754611"/>
              <a:gd name="connsiteX63" fmla="*/ 3634 w 1151591"/>
              <a:gd name="connsiteY63" fmla="*/ 5018182 h 6754611"/>
              <a:gd name="connsiteX64" fmla="*/ 6297 w 1151591"/>
              <a:gd name="connsiteY64" fmla="*/ 5099872 h 6754611"/>
              <a:gd name="connsiteX65" fmla="*/ 9693 w 1151591"/>
              <a:gd name="connsiteY65" fmla="*/ 5181471 h 6754611"/>
              <a:gd name="connsiteX66" fmla="*/ 13825 w 1151591"/>
              <a:gd name="connsiteY66" fmla="*/ 5262970 h 6754611"/>
              <a:gd name="connsiteX67" fmla="*/ 18697 w 1151591"/>
              <a:gd name="connsiteY67" fmla="*/ 5344363 h 6754611"/>
              <a:gd name="connsiteX68" fmla="*/ 24312 w 1151591"/>
              <a:gd name="connsiteY68" fmla="*/ 5425641 h 6754611"/>
              <a:gd name="connsiteX69" fmla="*/ 30674 w 1151591"/>
              <a:gd name="connsiteY69" fmla="*/ 5506799 h 6754611"/>
              <a:gd name="connsiteX70" fmla="*/ 37786 w 1151591"/>
              <a:gd name="connsiteY70" fmla="*/ 5587828 h 6754611"/>
              <a:gd name="connsiteX71" fmla="*/ 45653 w 1151591"/>
              <a:gd name="connsiteY71" fmla="*/ 5668722 h 6754611"/>
              <a:gd name="connsiteX72" fmla="*/ 54278 w 1151591"/>
              <a:gd name="connsiteY72" fmla="*/ 5749474 h 6754611"/>
              <a:gd name="connsiteX73" fmla="*/ 63665 w 1151591"/>
              <a:gd name="connsiteY73" fmla="*/ 5830075 h 6754611"/>
              <a:gd name="connsiteX74" fmla="*/ 73817 w 1151591"/>
              <a:gd name="connsiteY74" fmla="*/ 5910519 h 6754611"/>
              <a:gd name="connsiteX75" fmla="*/ 84738 w 1151591"/>
              <a:gd name="connsiteY75" fmla="*/ 5990799 h 6754611"/>
              <a:gd name="connsiteX76" fmla="*/ 96432 w 1151591"/>
              <a:gd name="connsiteY76" fmla="*/ 6070908 h 6754611"/>
              <a:gd name="connsiteX77" fmla="*/ 108902 w 1151591"/>
              <a:gd name="connsiteY77" fmla="*/ 6150838 h 6754611"/>
              <a:gd name="connsiteX78" fmla="*/ 122152 w 1151591"/>
              <a:gd name="connsiteY78" fmla="*/ 6230583 h 6754611"/>
              <a:gd name="connsiteX79" fmla="*/ 136186 w 1151591"/>
              <a:gd name="connsiteY79" fmla="*/ 6310134 h 6754611"/>
              <a:gd name="connsiteX80" fmla="*/ 151007 w 1151591"/>
              <a:gd name="connsiteY80" fmla="*/ 6389485 h 6754611"/>
              <a:gd name="connsiteX81" fmla="*/ 166619 w 1151591"/>
              <a:gd name="connsiteY81" fmla="*/ 6468628 h 6754611"/>
              <a:gd name="connsiteX82" fmla="*/ 183027 w 1151591"/>
              <a:gd name="connsiteY82" fmla="*/ 6547557 h 6754611"/>
              <a:gd name="connsiteX83" fmla="*/ 200232 w 1151591"/>
              <a:gd name="connsiteY83" fmla="*/ 6626265 h 6754611"/>
              <a:gd name="connsiteX84" fmla="*/ 218240 w 1151591"/>
              <a:gd name="connsiteY84" fmla="*/ 6704743 h 6754611"/>
              <a:gd name="connsiteX85" fmla="*/ 230231 w 1151591"/>
              <a:gd name="connsiteY85" fmla="*/ 6754611 h 6754611"/>
              <a:gd name="connsiteX0" fmla="*/ 1115529 w 1115529"/>
              <a:gd name="connsiteY0" fmla="*/ 0 h 6681616"/>
              <a:gd name="connsiteX1" fmla="*/ 1079968 w 1115529"/>
              <a:gd name="connsiteY1" fmla="*/ 73356 h 6681616"/>
              <a:gd name="connsiteX2" fmla="*/ 1044911 w 1115529"/>
              <a:gd name="connsiteY2" fmla="*/ 147066 h 6681616"/>
              <a:gd name="connsiteX3" fmla="*/ 1010363 w 1115529"/>
              <a:gd name="connsiteY3" fmla="*/ 221123 h 6681616"/>
              <a:gd name="connsiteX4" fmla="*/ 976326 w 1115529"/>
              <a:gd name="connsiteY4" fmla="*/ 295520 h 6681616"/>
              <a:gd name="connsiteX5" fmla="*/ 942805 w 1115529"/>
              <a:gd name="connsiteY5" fmla="*/ 370248 h 6681616"/>
              <a:gd name="connsiteX6" fmla="*/ 909803 w 1115529"/>
              <a:gd name="connsiteY6" fmla="*/ 445302 h 6681616"/>
              <a:gd name="connsiteX7" fmla="*/ 877324 w 1115529"/>
              <a:gd name="connsiteY7" fmla="*/ 520674 h 6681616"/>
              <a:gd name="connsiteX8" fmla="*/ 845371 w 1115529"/>
              <a:gd name="connsiteY8" fmla="*/ 596356 h 6681616"/>
              <a:gd name="connsiteX9" fmla="*/ 813948 w 1115529"/>
              <a:gd name="connsiteY9" fmla="*/ 672342 h 6681616"/>
              <a:gd name="connsiteX10" fmla="*/ 783060 w 1115529"/>
              <a:gd name="connsiteY10" fmla="*/ 748625 h 6681616"/>
              <a:gd name="connsiteX11" fmla="*/ 752708 w 1115529"/>
              <a:gd name="connsiteY11" fmla="*/ 825196 h 6681616"/>
              <a:gd name="connsiteX12" fmla="*/ 722898 w 1115529"/>
              <a:gd name="connsiteY12" fmla="*/ 902050 h 6681616"/>
              <a:gd name="connsiteX13" fmla="*/ 693633 w 1115529"/>
              <a:gd name="connsiteY13" fmla="*/ 979178 h 6681616"/>
              <a:gd name="connsiteX14" fmla="*/ 664917 w 1115529"/>
              <a:gd name="connsiteY14" fmla="*/ 1056574 h 6681616"/>
              <a:gd name="connsiteX15" fmla="*/ 636752 w 1115529"/>
              <a:gd name="connsiteY15" fmla="*/ 1134230 h 6681616"/>
              <a:gd name="connsiteX16" fmla="*/ 609144 w 1115529"/>
              <a:gd name="connsiteY16" fmla="*/ 1212140 h 6681616"/>
              <a:gd name="connsiteX17" fmla="*/ 582095 w 1115529"/>
              <a:gd name="connsiteY17" fmla="*/ 1290295 h 6681616"/>
              <a:gd name="connsiteX18" fmla="*/ 555609 w 1115529"/>
              <a:gd name="connsiteY18" fmla="*/ 1368690 h 6681616"/>
              <a:gd name="connsiteX19" fmla="*/ 529690 w 1115529"/>
              <a:gd name="connsiteY19" fmla="*/ 1447315 h 6681616"/>
              <a:gd name="connsiteX20" fmla="*/ 504342 w 1115529"/>
              <a:gd name="connsiteY20" fmla="*/ 1526166 h 6681616"/>
              <a:gd name="connsiteX21" fmla="*/ 479568 w 1115529"/>
              <a:gd name="connsiteY21" fmla="*/ 1605233 h 6681616"/>
              <a:gd name="connsiteX22" fmla="*/ 455372 w 1115529"/>
              <a:gd name="connsiteY22" fmla="*/ 1684510 h 6681616"/>
              <a:gd name="connsiteX23" fmla="*/ 431758 w 1115529"/>
              <a:gd name="connsiteY23" fmla="*/ 1763991 h 6681616"/>
              <a:gd name="connsiteX24" fmla="*/ 408729 w 1115529"/>
              <a:gd name="connsiteY24" fmla="*/ 1843667 h 6681616"/>
              <a:gd name="connsiteX25" fmla="*/ 386289 w 1115529"/>
              <a:gd name="connsiteY25" fmla="*/ 1923531 h 6681616"/>
              <a:gd name="connsiteX26" fmla="*/ 364441 w 1115529"/>
              <a:gd name="connsiteY26" fmla="*/ 2003576 h 6681616"/>
              <a:gd name="connsiteX27" fmla="*/ 343190 w 1115529"/>
              <a:gd name="connsiteY27" fmla="*/ 2083796 h 6681616"/>
              <a:gd name="connsiteX28" fmla="*/ 322539 w 1115529"/>
              <a:gd name="connsiteY28" fmla="*/ 2164182 h 6681616"/>
              <a:gd name="connsiteX29" fmla="*/ 302492 w 1115529"/>
              <a:gd name="connsiteY29" fmla="*/ 2244728 h 6681616"/>
              <a:gd name="connsiteX30" fmla="*/ 283052 w 1115529"/>
              <a:gd name="connsiteY30" fmla="*/ 2325426 h 6681616"/>
              <a:gd name="connsiteX31" fmla="*/ 264222 w 1115529"/>
              <a:gd name="connsiteY31" fmla="*/ 2406270 h 6681616"/>
              <a:gd name="connsiteX32" fmla="*/ 246008 w 1115529"/>
              <a:gd name="connsiteY32" fmla="*/ 2487251 h 6681616"/>
              <a:gd name="connsiteX33" fmla="*/ 228412 w 1115529"/>
              <a:gd name="connsiteY33" fmla="*/ 2568364 h 6681616"/>
              <a:gd name="connsiteX34" fmla="*/ 211438 w 1115529"/>
              <a:gd name="connsiteY34" fmla="*/ 2649600 h 6681616"/>
              <a:gd name="connsiteX35" fmla="*/ 195090 w 1115529"/>
              <a:gd name="connsiteY35" fmla="*/ 2730952 h 6681616"/>
              <a:gd name="connsiteX36" fmla="*/ 179371 w 1115529"/>
              <a:gd name="connsiteY36" fmla="*/ 2812414 h 6681616"/>
              <a:gd name="connsiteX37" fmla="*/ 164285 w 1115529"/>
              <a:gd name="connsiteY37" fmla="*/ 2893978 h 6681616"/>
              <a:gd name="connsiteX38" fmla="*/ 149836 w 1115529"/>
              <a:gd name="connsiteY38" fmla="*/ 2975636 h 6681616"/>
              <a:gd name="connsiteX39" fmla="*/ 136027 w 1115529"/>
              <a:gd name="connsiteY39" fmla="*/ 3057383 h 6681616"/>
              <a:gd name="connsiteX40" fmla="*/ 122862 w 1115529"/>
              <a:gd name="connsiteY40" fmla="*/ 3139209 h 6681616"/>
              <a:gd name="connsiteX41" fmla="*/ 110346 w 1115529"/>
              <a:gd name="connsiteY41" fmla="*/ 3221109 h 6681616"/>
              <a:gd name="connsiteX42" fmla="*/ 98480 w 1115529"/>
              <a:gd name="connsiteY42" fmla="*/ 3303075 h 6681616"/>
              <a:gd name="connsiteX43" fmla="*/ 87270 w 1115529"/>
              <a:gd name="connsiteY43" fmla="*/ 3385100 h 6681616"/>
              <a:gd name="connsiteX44" fmla="*/ 76718 w 1115529"/>
              <a:gd name="connsiteY44" fmla="*/ 3467177 h 6681616"/>
              <a:gd name="connsiteX45" fmla="*/ 66829 w 1115529"/>
              <a:gd name="connsiteY45" fmla="*/ 3549298 h 6681616"/>
              <a:gd name="connsiteX46" fmla="*/ 57606 w 1115529"/>
              <a:gd name="connsiteY46" fmla="*/ 3631456 h 6681616"/>
              <a:gd name="connsiteX47" fmla="*/ 49053 w 1115529"/>
              <a:gd name="connsiteY47" fmla="*/ 3713645 h 6681616"/>
              <a:gd name="connsiteX48" fmla="*/ 41174 w 1115529"/>
              <a:gd name="connsiteY48" fmla="*/ 3795856 h 6681616"/>
              <a:gd name="connsiteX49" fmla="*/ 33971 w 1115529"/>
              <a:gd name="connsiteY49" fmla="*/ 3878083 h 6681616"/>
              <a:gd name="connsiteX50" fmla="*/ 27450 w 1115529"/>
              <a:gd name="connsiteY50" fmla="*/ 3960318 h 6681616"/>
              <a:gd name="connsiteX51" fmla="*/ 21613 w 1115529"/>
              <a:gd name="connsiteY51" fmla="*/ 4042555 h 6681616"/>
              <a:gd name="connsiteX52" fmla="*/ 16464 w 1115529"/>
              <a:gd name="connsiteY52" fmla="*/ 4124786 h 6681616"/>
              <a:gd name="connsiteX53" fmla="*/ 12007 w 1115529"/>
              <a:gd name="connsiteY53" fmla="*/ 4207004 h 6681616"/>
              <a:gd name="connsiteX54" fmla="*/ 8245 w 1115529"/>
              <a:gd name="connsiteY54" fmla="*/ 4289201 h 6681616"/>
              <a:gd name="connsiteX55" fmla="*/ 5183 w 1115529"/>
              <a:gd name="connsiteY55" fmla="*/ 4371371 h 6681616"/>
              <a:gd name="connsiteX56" fmla="*/ 2824 w 1115529"/>
              <a:gd name="connsiteY56" fmla="*/ 4453506 h 6681616"/>
              <a:gd name="connsiteX57" fmla="*/ 1171 w 1115529"/>
              <a:gd name="connsiteY57" fmla="*/ 4535600 h 6681616"/>
              <a:gd name="connsiteX58" fmla="*/ 228 w 1115529"/>
              <a:gd name="connsiteY58" fmla="*/ 4617644 h 6681616"/>
              <a:gd name="connsiteX59" fmla="*/ 0 w 1115529"/>
              <a:gd name="connsiteY59" fmla="*/ 4699632 h 6681616"/>
              <a:gd name="connsiteX60" fmla="*/ 488 w 1115529"/>
              <a:gd name="connsiteY60" fmla="*/ 4781557 h 6681616"/>
              <a:gd name="connsiteX61" fmla="*/ 1699 w 1115529"/>
              <a:gd name="connsiteY61" fmla="*/ 4863411 h 6681616"/>
              <a:gd name="connsiteX62" fmla="*/ 3634 w 1115529"/>
              <a:gd name="connsiteY62" fmla="*/ 4945187 h 6681616"/>
              <a:gd name="connsiteX63" fmla="*/ 6297 w 1115529"/>
              <a:gd name="connsiteY63" fmla="*/ 5026877 h 6681616"/>
              <a:gd name="connsiteX64" fmla="*/ 9693 w 1115529"/>
              <a:gd name="connsiteY64" fmla="*/ 5108476 h 6681616"/>
              <a:gd name="connsiteX65" fmla="*/ 13825 w 1115529"/>
              <a:gd name="connsiteY65" fmla="*/ 5189975 h 6681616"/>
              <a:gd name="connsiteX66" fmla="*/ 18697 w 1115529"/>
              <a:gd name="connsiteY66" fmla="*/ 5271368 h 6681616"/>
              <a:gd name="connsiteX67" fmla="*/ 24312 w 1115529"/>
              <a:gd name="connsiteY67" fmla="*/ 5352646 h 6681616"/>
              <a:gd name="connsiteX68" fmla="*/ 30674 w 1115529"/>
              <a:gd name="connsiteY68" fmla="*/ 5433804 h 6681616"/>
              <a:gd name="connsiteX69" fmla="*/ 37786 w 1115529"/>
              <a:gd name="connsiteY69" fmla="*/ 5514833 h 6681616"/>
              <a:gd name="connsiteX70" fmla="*/ 45653 w 1115529"/>
              <a:gd name="connsiteY70" fmla="*/ 5595727 h 6681616"/>
              <a:gd name="connsiteX71" fmla="*/ 54278 w 1115529"/>
              <a:gd name="connsiteY71" fmla="*/ 5676479 h 6681616"/>
              <a:gd name="connsiteX72" fmla="*/ 63665 w 1115529"/>
              <a:gd name="connsiteY72" fmla="*/ 5757080 h 6681616"/>
              <a:gd name="connsiteX73" fmla="*/ 73817 w 1115529"/>
              <a:gd name="connsiteY73" fmla="*/ 5837524 h 6681616"/>
              <a:gd name="connsiteX74" fmla="*/ 84738 w 1115529"/>
              <a:gd name="connsiteY74" fmla="*/ 5917804 h 6681616"/>
              <a:gd name="connsiteX75" fmla="*/ 96432 w 1115529"/>
              <a:gd name="connsiteY75" fmla="*/ 5997913 h 6681616"/>
              <a:gd name="connsiteX76" fmla="*/ 108902 w 1115529"/>
              <a:gd name="connsiteY76" fmla="*/ 6077843 h 6681616"/>
              <a:gd name="connsiteX77" fmla="*/ 122152 w 1115529"/>
              <a:gd name="connsiteY77" fmla="*/ 6157588 h 6681616"/>
              <a:gd name="connsiteX78" fmla="*/ 136186 w 1115529"/>
              <a:gd name="connsiteY78" fmla="*/ 6237139 h 6681616"/>
              <a:gd name="connsiteX79" fmla="*/ 151007 w 1115529"/>
              <a:gd name="connsiteY79" fmla="*/ 6316490 h 6681616"/>
              <a:gd name="connsiteX80" fmla="*/ 166619 w 1115529"/>
              <a:gd name="connsiteY80" fmla="*/ 6395633 h 6681616"/>
              <a:gd name="connsiteX81" fmla="*/ 183027 w 1115529"/>
              <a:gd name="connsiteY81" fmla="*/ 6474562 h 6681616"/>
              <a:gd name="connsiteX82" fmla="*/ 200232 w 1115529"/>
              <a:gd name="connsiteY82" fmla="*/ 6553270 h 6681616"/>
              <a:gd name="connsiteX83" fmla="*/ 218240 w 1115529"/>
              <a:gd name="connsiteY83" fmla="*/ 6631748 h 6681616"/>
              <a:gd name="connsiteX84" fmla="*/ 230231 w 1115529"/>
              <a:gd name="connsiteY84" fmla="*/ 6681616 h 6681616"/>
              <a:gd name="connsiteX0" fmla="*/ 1079968 w 1079968"/>
              <a:gd name="connsiteY0" fmla="*/ 0 h 6608260"/>
              <a:gd name="connsiteX1" fmla="*/ 1044911 w 1079968"/>
              <a:gd name="connsiteY1" fmla="*/ 73710 h 6608260"/>
              <a:gd name="connsiteX2" fmla="*/ 1010363 w 1079968"/>
              <a:gd name="connsiteY2" fmla="*/ 147767 h 6608260"/>
              <a:gd name="connsiteX3" fmla="*/ 976326 w 1079968"/>
              <a:gd name="connsiteY3" fmla="*/ 222164 h 6608260"/>
              <a:gd name="connsiteX4" fmla="*/ 942805 w 1079968"/>
              <a:gd name="connsiteY4" fmla="*/ 296892 h 6608260"/>
              <a:gd name="connsiteX5" fmla="*/ 909803 w 1079968"/>
              <a:gd name="connsiteY5" fmla="*/ 371946 h 6608260"/>
              <a:gd name="connsiteX6" fmla="*/ 877324 w 1079968"/>
              <a:gd name="connsiteY6" fmla="*/ 447318 h 6608260"/>
              <a:gd name="connsiteX7" fmla="*/ 845371 w 1079968"/>
              <a:gd name="connsiteY7" fmla="*/ 523000 h 6608260"/>
              <a:gd name="connsiteX8" fmla="*/ 813948 w 1079968"/>
              <a:gd name="connsiteY8" fmla="*/ 598986 h 6608260"/>
              <a:gd name="connsiteX9" fmla="*/ 783060 w 1079968"/>
              <a:gd name="connsiteY9" fmla="*/ 675269 h 6608260"/>
              <a:gd name="connsiteX10" fmla="*/ 752708 w 1079968"/>
              <a:gd name="connsiteY10" fmla="*/ 751840 h 6608260"/>
              <a:gd name="connsiteX11" fmla="*/ 722898 w 1079968"/>
              <a:gd name="connsiteY11" fmla="*/ 828694 h 6608260"/>
              <a:gd name="connsiteX12" fmla="*/ 693633 w 1079968"/>
              <a:gd name="connsiteY12" fmla="*/ 905822 h 6608260"/>
              <a:gd name="connsiteX13" fmla="*/ 664917 w 1079968"/>
              <a:gd name="connsiteY13" fmla="*/ 983218 h 6608260"/>
              <a:gd name="connsiteX14" fmla="*/ 636752 w 1079968"/>
              <a:gd name="connsiteY14" fmla="*/ 1060874 h 6608260"/>
              <a:gd name="connsiteX15" fmla="*/ 609144 w 1079968"/>
              <a:gd name="connsiteY15" fmla="*/ 1138784 h 6608260"/>
              <a:gd name="connsiteX16" fmla="*/ 582095 w 1079968"/>
              <a:gd name="connsiteY16" fmla="*/ 1216939 h 6608260"/>
              <a:gd name="connsiteX17" fmla="*/ 555609 w 1079968"/>
              <a:gd name="connsiteY17" fmla="*/ 1295334 h 6608260"/>
              <a:gd name="connsiteX18" fmla="*/ 529690 w 1079968"/>
              <a:gd name="connsiteY18" fmla="*/ 1373959 h 6608260"/>
              <a:gd name="connsiteX19" fmla="*/ 504342 w 1079968"/>
              <a:gd name="connsiteY19" fmla="*/ 1452810 h 6608260"/>
              <a:gd name="connsiteX20" fmla="*/ 479568 w 1079968"/>
              <a:gd name="connsiteY20" fmla="*/ 1531877 h 6608260"/>
              <a:gd name="connsiteX21" fmla="*/ 455372 w 1079968"/>
              <a:gd name="connsiteY21" fmla="*/ 1611154 h 6608260"/>
              <a:gd name="connsiteX22" fmla="*/ 431758 w 1079968"/>
              <a:gd name="connsiteY22" fmla="*/ 1690635 h 6608260"/>
              <a:gd name="connsiteX23" fmla="*/ 408729 w 1079968"/>
              <a:gd name="connsiteY23" fmla="*/ 1770311 h 6608260"/>
              <a:gd name="connsiteX24" fmla="*/ 386289 w 1079968"/>
              <a:gd name="connsiteY24" fmla="*/ 1850175 h 6608260"/>
              <a:gd name="connsiteX25" fmla="*/ 364441 w 1079968"/>
              <a:gd name="connsiteY25" fmla="*/ 1930220 h 6608260"/>
              <a:gd name="connsiteX26" fmla="*/ 343190 w 1079968"/>
              <a:gd name="connsiteY26" fmla="*/ 2010440 h 6608260"/>
              <a:gd name="connsiteX27" fmla="*/ 322539 w 1079968"/>
              <a:gd name="connsiteY27" fmla="*/ 2090826 h 6608260"/>
              <a:gd name="connsiteX28" fmla="*/ 302492 w 1079968"/>
              <a:gd name="connsiteY28" fmla="*/ 2171372 h 6608260"/>
              <a:gd name="connsiteX29" fmla="*/ 283052 w 1079968"/>
              <a:gd name="connsiteY29" fmla="*/ 2252070 h 6608260"/>
              <a:gd name="connsiteX30" fmla="*/ 264222 w 1079968"/>
              <a:gd name="connsiteY30" fmla="*/ 2332914 h 6608260"/>
              <a:gd name="connsiteX31" fmla="*/ 246008 w 1079968"/>
              <a:gd name="connsiteY31" fmla="*/ 2413895 h 6608260"/>
              <a:gd name="connsiteX32" fmla="*/ 228412 w 1079968"/>
              <a:gd name="connsiteY32" fmla="*/ 2495008 h 6608260"/>
              <a:gd name="connsiteX33" fmla="*/ 211438 w 1079968"/>
              <a:gd name="connsiteY33" fmla="*/ 2576244 h 6608260"/>
              <a:gd name="connsiteX34" fmla="*/ 195090 w 1079968"/>
              <a:gd name="connsiteY34" fmla="*/ 2657596 h 6608260"/>
              <a:gd name="connsiteX35" fmla="*/ 179371 w 1079968"/>
              <a:gd name="connsiteY35" fmla="*/ 2739058 h 6608260"/>
              <a:gd name="connsiteX36" fmla="*/ 164285 w 1079968"/>
              <a:gd name="connsiteY36" fmla="*/ 2820622 h 6608260"/>
              <a:gd name="connsiteX37" fmla="*/ 149836 w 1079968"/>
              <a:gd name="connsiteY37" fmla="*/ 2902280 h 6608260"/>
              <a:gd name="connsiteX38" fmla="*/ 136027 w 1079968"/>
              <a:gd name="connsiteY38" fmla="*/ 2984027 h 6608260"/>
              <a:gd name="connsiteX39" fmla="*/ 122862 w 1079968"/>
              <a:gd name="connsiteY39" fmla="*/ 3065853 h 6608260"/>
              <a:gd name="connsiteX40" fmla="*/ 110346 w 1079968"/>
              <a:gd name="connsiteY40" fmla="*/ 3147753 h 6608260"/>
              <a:gd name="connsiteX41" fmla="*/ 98480 w 1079968"/>
              <a:gd name="connsiteY41" fmla="*/ 3229719 h 6608260"/>
              <a:gd name="connsiteX42" fmla="*/ 87270 w 1079968"/>
              <a:gd name="connsiteY42" fmla="*/ 3311744 h 6608260"/>
              <a:gd name="connsiteX43" fmla="*/ 76718 w 1079968"/>
              <a:gd name="connsiteY43" fmla="*/ 3393821 h 6608260"/>
              <a:gd name="connsiteX44" fmla="*/ 66829 w 1079968"/>
              <a:gd name="connsiteY44" fmla="*/ 3475942 h 6608260"/>
              <a:gd name="connsiteX45" fmla="*/ 57606 w 1079968"/>
              <a:gd name="connsiteY45" fmla="*/ 3558100 h 6608260"/>
              <a:gd name="connsiteX46" fmla="*/ 49053 w 1079968"/>
              <a:gd name="connsiteY46" fmla="*/ 3640289 h 6608260"/>
              <a:gd name="connsiteX47" fmla="*/ 41174 w 1079968"/>
              <a:gd name="connsiteY47" fmla="*/ 3722500 h 6608260"/>
              <a:gd name="connsiteX48" fmla="*/ 33971 w 1079968"/>
              <a:gd name="connsiteY48" fmla="*/ 3804727 h 6608260"/>
              <a:gd name="connsiteX49" fmla="*/ 27450 w 1079968"/>
              <a:gd name="connsiteY49" fmla="*/ 3886962 h 6608260"/>
              <a:gd name="connsiteX50" fmla="*/ 21613 w 1079968"/>
              <a:gd name="connsiteY50" fmla="*/ 3969199 h 6608260"/>
              <a:gd name="connsiteX51" fmla="*/ 16464 w 1079968"/>
              <a:gd name="connsiteY51" fmla="*/ 4051430 h 6608260"/>
              <a:gd name="connsiteX52" fmla="*/ 12007 w 1079968"/>
              <a:gd name="connsiteY52" fmla="*/ 4133648 h 6608260"/>
              <a:gd name="connsiteX53" fmla="*/ 8245 w 1079968"/>
              <a:gd name="connsiteY53" fmla="*/ 4215845 h 6608260"/>
              <a:gd name="connsiteX54" fmla="*/ 5183 w 1079968"/>
              <a:gd name="connsiteY54" fmla="*/ 4298015 h 6608260"/>
              <a:gd name="connsiteX55" fmla="*/ 2824 w 1079968"/>
              <a:gd name="connsiteY55" fmla="*/ 4380150 h 6608260"/>
              <a:gd name="connsiteX56" fmla="*/ 1171 w 1079968"/>
              <a:gd name="connsiteY56" fmla="*/ 4462244 h 6608260"/>
              <a:gd name="connsiteX57" fmla="*/ 228 w 1079968"/>
              <a:gd name="connsiteY57" fmla="*/ 4544288 h 6608260"/>
              <a:gd name="connsiteX58" fmla="*/ 0 w 1079968"/>
              <a:gd name="connsiteY58" fmla="*/ 4626276 h 6608260"/>
              <a:gd name="connsiteX59" fmla="*/ 488 w 1079968"/>
              <a:gd name="connsiteY59" fmla="*/ 4708201 h 6608260"/>
              <a:gd name="connsiteX60" fmla="*/ 1699 w 1079968"/>
              <a:gd name="connsiteY60" fmla="*/ 4790055 h 6608260"/>
              <a:gd name="connsiteX61" fmla="*/ 3634 w 1079968"/>
              <a:gd name="connsiteY61" fmla="*/ 4871831 h 6608260"/>
              <a:gd name="connsiteX62" fmla="*/ 6297 w 1079968"/>
              <a:gd name="connsiteY62" fmla="*/ 4953521 h 6608260"/>
              <a:gd name="connsiteX63" fmla="*/ 9693 w 1079968"/>
              <a:gd name="connsiteY63" fmla="*/ 5035120 h 6608260"/>
              <a:gd name="connsiteX64" fmla="*/ 13825 w 1079968"/>
              <a:gd name="connsiteY64" fmla="*/ 5116619 h 6608260"/>
              <a:gd name="connsiteX65" fmla="*/ 18697 w 1079968"/>
              <a:gd name="connsiteY65" fmla="*/ 5198012 h 6608260"/>
              <a:gd name="connsiteX66" fmla="*/ 24312 w 1079968"/>
              <a:gd name="connsiteY66" fmla="*/ 5279290 h 6608260"/>
              <a:gd name="connsiteX67" fmla="*/ 30674 w 1079968"/>
              <a:gd name="connsiteY67" fmla="*/ 5360448 h 6608260"/>
              <a:gd name="connsiteX68" fmla="*/ 37786 w 1079968"/>
              <a:gd name="connsiteY68" fmla="*/ 5441477 h 6608260"/>
              <a:gd name="connsiteX69" fmla="*/ 45653 w 1079968"/>
              <a:gd name="connsiteY69" fmla="*/ 5522371 h 6608260"/>
              <a:gd name="connsiteX70" fmla="*/ 54278 w 1079968"/>
              <a:gd name="connsiteY70" fmla="*/ 5603123 h 6608260"/>
              <a:gd name="connsiteX71" fmla="*/ 63665 w 1079968"/>
              <a:gd name="connsiteY71" fmla="*/ 5683724 h 6608260"/>
              <a:gd name="connsiteX72" fmla="*/ 73817 w 1079968"/>
              <a:gd name="connsiteY72" fmla="*/ 5764168 h 6608260"/>
              <a:gd name="connsiteX73" fmla="*/ 84738 w 1079968"/>
              <a:gd name="connsiteY73" fmla="*/ 5844448 h 6608260"/>
              <a:gd name="connsiteX74" fmla="*/ 96432 w 1079968"/>
              <a:gd name="connsiteY74" fmla="*/ 5924557 h 6608260"/>
              <a:gd name="connsiteX75" fmla="*/ 108902 w 1079968"/>
              <a:gd name="connsiteY75" fmla="*/ 6004487 h 6608260"/>
              <a:gd name="connsiteX76" fmla="*/ 122152 w 1079968"/>
              <a:gd name="connsiteY76" fmla="*/ 6084232 h 6608260"/>
              <a:gd name="connsiteX77" fmla="*/ 136186 w 1079968"/>
              <a:gd name="connsiteY77" fmla="*/ 6163783 h 6608260"/>
              <a:gd name="connsiteX78" fmla="*/ 151007 w 1079968"/>
              <a:gd name="connsiteY78" fmla="*/ 6243134 h 6608260"/>
              <a:gd name="connsiteX79" fmla="*/ 166619 w 1079968"/>
              <a:gd name="connsiteY79" fmla="*/ 6322277 h 6608260"/>
              <a:gd name="connsiteX80" fmla="*/ 183027 w 1079968"/>
              <a:gd name="connsiteY80" fmla="*/ 6401206 h 6608260"/>
              <a:gd name="connsiteX81" fmla="*/ 200232 w 1079968"/>
              <a:gd name="connsiteY81" fmla="*/ 6479914 h 6608260"/>
              <a:gd name="connsiteX82" fmla="*/ 218240 w 1079968"/>
              <a:gd name="connsiteY82" fmla="*/ 6558392 h 6608260"/>
              <a:gd name="connsiteX83" fmla="*/ 230231 w 1079968"/>
              <a:gd name="connsiteY83" fmla="*/ 6608260 h 6608260"/>
              <a:gd name="connsiteX0" fmla="*/ 1044911 w 1044911"/>
              <a:gd name="connsiteY0" fmla="*/ 0 h 6534550"/>
              <a:gd name="connsiteX1" fmla="*/ 1010363 w 1044911"/>
              <a:gd name="connsiteY1" fmla="*/ 74057 h 6534550"/>
              <a:gd name="connsiteX2" fmla="*/ 976326 w 1044911"/>
              <a:gd name="connsiteY2" fmla="*/ 148454 h 6534550"/>
              <a:gd name="connsiteX3" fmla="*/ 942805 w 1044911"/>
              <a:gd name="connsiteY3" fmla="*/ 223182 h 6534550"/>
              <a:gd name="connsiteX4" fmla="*/ 909803 w 1044911"/>
              <a:gd name="connsiteY4" fmla="*/ 298236 h 6534550"/>
              <a:gd name="connsiteX5" fmla="*/ 877324 w 1044911"/>
              <a:gd name="connsiteY5" fmla="*/ 373608 h 6534550"/>
              <a:gd name="connsiteX6" fmla="*/ 845371 w 1044911"/>
              <a:gd name="connsiteY6" fmla="*/ 449290 h 6534550"/>
              <a:gd name="connsiteX7" fmla="*/ 813948 w 1044911"/>
              <a:gd name="connsiteY7" fmla="*/ 525276 h 6534550"/>
              <a:gd name="connsiteX8" fmla="*/ 783060 w 1044911"/>
              <a:gd name="connsiteY8" fmla="*/ 601559 h 6534550"/>
              <a:gd name="connsiteX9" fmla="*/ 752708 w 1044911"/>
              <a:gd name="connsiteY9" fmla="*/ 678130 h 6534550"/>
              <a:gd name="connsiteX10" fmla="*/ 722898 w 1044911"/>
              <a:gd name="connsiteY10" fmla="*/ 754984 h 6534550"/>
              <a:gd name="connsiteX11" fmla="*/ 693633 w 1044911"/>
              <a:gd name="connsiteY11" fmla="*/ 832112 h 6534550"/>
              <a:gd name="connsiteX12" fmla="*/ 664917 w 1044911"/>
              <a:gd name="connsiteY12" fmla="*/ 909508 h 6534550"/>
              <a:gd name="connsiteX13" fmla="*/ 636752 w 1044911"/>
              <a:gd name="connsiteY13" fmla="*/ 987164 h 6534550"/>
              <a:gd name="connsiteX14" fmla="*/ 609144 w 1044911"/>
              <a:gd name="connsiteY14" fmla="*/ 1065074 h 6534550"/>
              <a:gd name="connsiteX15" fmla="*/ 582095 w 1044911"/>
              <a:gd name="connsiteY15" fmla="*/ 1143229 h 6534550"/>
              <a:gd name="connsiteX16" fmla="*/ 555609 w 1044911"/>
              <a:gd name="connsiteY16" fmla="*/ 1221624 h 6534550"/>
              <a:gd name="connsiteX17" fmla="*/ 529690 w 1044911"/>
              <a:gd name="connsiteY17" fmla="*/ 1300249 h 6534550"/>
              <a:gd name="connsiteX18" fmla="*/ 504342 w 1044911"/>
              <a:gd name="connsiteY18" fmla="*/ 1379100 h 6534550"/>
              <a:gd name="connsiteX19" fmla="*/ 479568 w 1044911"/>
              <a:gd name="connsiteY19" fmla="*/ 1458167 h 6534550"/>
              <a:gd name="connsiteX20" fmla="*/ 455372 w 1044911"/>
              <a:gd name="connsiteY20" fmla="*/ 1537444 h 6534550"/>
              <a:gd name="connsiteX21" fmla="*/ 431758 w 1044911"/>
              <a:gd name="connsiteY21" fmla="*/ 1616925 h 6534550"/>
              <a:gd name="connsiteX22" fmla="*/ 408729 w 1044911"/>
              <a:gd name="connsiteY22" fmla="*/ 1696601 h 6534550"/>
              <a:gd name="connsiteX23" fmla="*/ 386289 w 1044911"/>
              <a:gd name="connsiteY23" fmla="*/ 1776465 h 6534550"/>
              <a:gd name="connsiteX24" fmla="*/ 364441 w 1044911"/>
              <a:gd name="connsiteY24" fmla="*/ 1856510 h 6534550"/>
              <a:gd name="connsiteX25" fmla="*/ 343190 w 1044911"/>
              <a:gd name="connsiteY25" fmla="*/ 1936730 h 6534550"/>
              <a:gd name="connsiteX26" fmla="*/ 322539 w 1044911"/>
              <a:gd name="connsiteY26" fmla="*/ 2017116 h 6534550"/>
              <a:gd name="connsiteX27" fmla="*/ 302492 w 1044911"/>
              <a:gd name="connsiteY27" fmla="*/ 2097662 h 6534550"/>
              <a:gd name="connsiteX28" fmla="*/ 283052 w 1044911"/>
              <a:gd name="connsiteY28" fmla="*/ 2178360 h 6534550"/>
              <a:gd name="connsiteX29" fmla="*/ 264222 w 1044911"/>
              <a:gd name="connsiteY29" fmla="*/ 2259204 h 6534550"/>
              <a:gd name="connsiteX30" fmla="*/ 246008 w 1044911"/>
              <a:gd name="connsiteY30" fmla="*/ 2340185 h 6534550"/>
              <a:gd name="connsiteX31" fmla="*/ 228412 w 1044911"/>
              <a:gd name="connsiteY31" fmla="*/ 2421298 h 6534550"/>
              <a:gd name="connsiteX32" fmla="*/ 211438 w 1044911"/>
              <a:gd name="connsiteY32" fmla="*/ 2502534 h 6534550"/>
              <a:gd name="connsiteX33" fmla="*/ 195090 w 1044911"/>
              <a:gd name="connsiteY33" fmla="*/ 2583886 h 6534550"/>
              <a:gd name="connsiteX34" fmla="*/ 179371 w 1044911"/>
              <a:gd name="connsiteY34" fmla="*/ 2665348 h 6534550"/>
              <a:gd name="connsiteX35" fmla="*/ 164285 w 1044911"/>
              <a:gd name="connsiteY35" fmla="*/ 2746912 h 6534550"/>
              <a:gd name="connsiteX36" fmla="*/ 149836 w 1044911"/>
              <a:gd name="connsiteY36" fmla="*/ 2828570 h 6534550"/>
              <a:gd name="connsiteX37" fmla="*/ 136027 w 1044911"/>
              <a:gd name="connsiteY37" fmla="*/ 2910317 h 6534550"/>
              <a:gd name="connsiteX38" fmla="*/ 122862 w 1044911"/>
              <a:gd name="connsiteY38" fmla="*/ 2992143 h 6534550"/>
              <a:gd name="connsiteX39" fmla="*/ 110346 w 1044911"/>
              <a:gd name="connsiteY39" fmla="*/ 3074043 h 6534550"/>
              <a:gd name="connsiteX40" fmla="*/ 98480 w 1044911"/>
              <a:gd name="connsiteY40" fmla="*/ 3156009 h 6534550"/>
              <a:gd name="connsiteX41" fmla="*/ 87270 w 1044911"/>
              <a:gd name="connsiteY41" fmla="*/ 3238034 h 6534550"/>
              <a:gd name="connsiteX42" fmla="*/ 76718 w 1044911"/>
              <a:gd name="connsiteY42" fmla="*/ 3320111 h 6534550"/>
              <a:gd name="connsiteX43" fmla="*/ 66829 w 1044911"/>
              <a:gd name="connsiteY43" fmla="*/ 3402232 h 6534550"/>
              <a:gd name="connsiteX44" fmla="*/ 57606 w 1044911"/>
              <a:gd name="connsiteY44" fmla="*/ 3484390 h 6534550"/>
              <a:gd name="connsiteX45" fmla="*/ 49053 w 1044911"/>
              <a:gd name="connsiteY45" fmla="*/ 3566579 h 6534550"/>
              <a:gd name="connsiteX46" fmla="*/ 41174 w 1044911"/>
              <a:gd name="connsiteY46" fmla="*/ 3648790 h 6534550"/>
              <a:gd name="connsiteX47" fmla="*/ 33971 w 1044911"/>
              <a:gd name="connsiteY47" fmla="*/ 3731017 h 6534550"/>
              <a:gd name="connsiteX48" fmla="*/ 27450 w 1044911"/>
              <a:gd name="connsiteY48" fmla="*/ 3813252 h 6534550"/>
              <a:gd name="connsiteX49" fmla="*/ 21613 w 1044911"/>
              <a:gd name="connsiteY49" fmla="*/ 3895489 h 6534550"/>
              <a:gd name="connsiteX50" fmla="*/ 16464 w 1044911"/>
              <a:gd name="connsiteY50" fmla="*/ 3977720 h 6534550"/>
              <a:gd name="connsiteX51" fmla="*/ 12007 w 1044911"/>
              <a:gd name="connsiteY51" fmla="*/ 4059938 h 6534550"/>
              <a:gd name="connsiteX52" fmla="*/ 8245 w 1044911"/>
              <a:gd name="connsiteY52" fmla="*/ 4142135 h 6534550"/>
              <a:gd name="connsiteX53" fmla="*/ 5183 w 1044911"/>
              <a:gd name="connsiteY53" fmla="*/ 4224305 h 6534550"/>
              <a:gd name="connsiteX54" fmla="*/ 2824 w 1044911"/>
              <a:gd name="connsiteY54" fmla="*/ 4306440 h 6534550"/>
              <a:gd name="connsiteX55" fmla="*/ 1171 w 1044911"/>
              <a:gd name="connsiteY55" fmla="*/ 4388534 h 6534550"/>
              <a:gd name="connsiteX56" fmla="*/ 228 w 1044911"/>
              <a:gd name="connsiteY56" fmla="*/ 4470578 h 6534550"/>
              <a:gd name="connsiteX57" fmla="*/ 0 w 1044911"/>
              <a:gd name="connsiteY57" fmla="*/ 4552566 h 6534550"/>
              <a:gd name="connsiteX58" fmla="*/ 488 w 1044911"/>
              <a:gd name="connsiteY58" fmla="*/ 4634491 h 6534550"/>
              <a:gd name="connsiteX59" fmla="*/ 1699 w 1044911"/>
              <a:gd name="connsiteY59" fmla="*/ 4716345 h 6534550"/>
              <a:gd name="connsiteX60" fmla="*/ 3634 w 1044911"/>
              <a:gd name="connsiteY60" fmla="*/ 4798121 h 6534550"/>
              <a:gd name="connsiteX61" fmla="*/ 6297 w 1044911"/>
              <a:gd name="connsiteY61" fmla="*/ 4879811 h 6534550"/>
              <a:gd name="connsiteX62" fmla="*/ 9693 w 1044911"/>
              <a:gd name="connsiteY62" fmla="*/ 4961410 h 6534550"/>
              <a:gd name="connsiteX63" fmla="*/ 13825 w 1044911"/>
              <a:gd name="connsiteY63" fmla="*/ 5042909 h 6534550"/>
              <a:gd name="connsiteX64" fmla="*/ 18697 w 1044911"/>
              <a:gd name="connsiteY64" fmla="*/ 5124302 h 6534550"/>
              <a:gd name="connsiteX65" fmla="*/ 24312 w 1044911"/>
              <a:gd name="connsiteY65" fmla="*/ 5205580 h 6534550"/>
              <a:gd name="connsiteX66" fmla="*/ 30674 w 1044911"/>
              <a:gd name="connsiteY66" fmla="*/ 5286738 h 6534550"/>
              <a:gd name="connsiteX67" fmla="*/ 37786 w 1044911"/>
              <a:gd name="connsiteY67" fmla="*/ 5367767 h 6534550"/>
              <a:gd name="connsiteX68" fmla="*/ 45653 w 1044911"/>
              <a:gd name="connsiteY68" fmla="*/ 5448661 h 6534550"/>
              <a:gd name="connsiteX69" fmla="*/ 54278 w 1044911"/>
              <a:gd name="connsiteY69" fmla="*/ 5529413 h 6534550"/>
              <a:gd name="connsiteX70" fmla="*/ 63665 w 1044911"/>
              <a:gd name="connsiteY70" fmla="*/ 5610014 h 6534550"/>
              <a:gd name="connsiteX71" fmla="*/ 73817 w 1044911"/>
              <a:gd name="connsiteY71" fmla="*/ 5690458 h 6534550"/>
              <a:gd name="connsiteX72" fmla="*/ 84738 w 1044911"/>
              <a:gd name="connsiteY72" fmla="*/ 5770738 h 6534550"/>
              <a:gd name="connsiteX73" fmla="*/ 96432 w 1044911"/>
              <a:gd name="connsiteY73" fmla="*/ 5850847 h 6534550"/>
              <a:gd name="connsiteX74" fmla="*/ 108902 w 1044911"/>
              <a:gd name="connsiteY74" fmla="*/ 5930777 h 6534550"/>
              <a:gd name="connsiteX75" fmla="*/ 122152 w 1044911"/>
              <a:gd name="connsiteY75" fmla="*/ 6010522 h 6534550"/>
              <a:gd name="connsiteX76" fmla="*/ 136186 w 1044911"/>
              <a:gd name="connsiteY76" fmla="*/ 6090073 h 6534550"/>
              <a:gd name="connsiteX77" fmla="*/ 151007 w 1044911"/>
              <a:gd name="connsiteY77" fmla="*/ 6169424 h 6534550"/>
              <a:gd name="connsiteX78" fmla="*/ 166619 w 1044911"/>
              <a:gd name="connsiteY78" fmla="*/ 6248567 h 6534550"/>
              <a:gd name="connsiteX79" fmla="*/ 183027 w 1044911"/>
              <a:gd name="connsiteY79" fmla="*/ 6327496 h 6534550"/>
              <a:gd name="connsiteX80" fmla="*/ 200232 w 1044911"/>
              <a:gd name="connsiteY80" fmla="*/ 6406204 h 6534550"/>
              <a:gd name="connsiteX81" fmla="*/ 218240 w 1044911"/>
              <a:gd name="connsiteY81" fmla="*/ 6484682 h 6534550"/>
              <a:gd name="connsiteX82" fmla="*/ 230231 w 1044911"/>
              <a:gd name="connsiteY82" fmla="*/ 6534550 h 6534550"/>
              <a:gd name="connsiteX0" fmla="*/ 1010363 w 1010363"/>
              <a:gd name="connsiteY0" fmla="*/ 0 h 6460493"/>
              <a:gd name="connsiteX1" fmla="*/ 976326 w 1010363"/>
              <a:gd name="connsiteY1" fmla="*/ 74397 h 6460493"/>
              <a:gd name="connsiteX2" fmla="*/ 942805 w 1010363"/>
              <a:gd name="connsiteY2" fmla="*/ 149125 h 6460493"/>
              <a:gd name="connsiteX3" fmla="*/ 909803 w 1010363"/>
              <a:gd name="connsiteY3" fmla="*/ 224179 h 6460493"/>
              <a:gd name="connsiteX4" fmla="*/ 877324 w 1010363"/>
              <a:gd name="connsiteY4" fmla="*/ 299551 h 6460493"/>
              <a:gd name="connsiteX5" fmla="*/ 845371 w 1010363"/>
              <a:gd name="connsiteY5" fmla="*/ 375233 h 6460493"/>
              <a:gd name="connsiteX6" fmla="*/ 813948 w 1010363"/>
              <a:gd name="connsiteY6" fmla="*/ 451219 h 6460493"/>
              <a:gd name="connsiteX7" fmla="*/ 783060 w 1010363"/>
              <a:gd name="connsiteY7" fmla="*/ 527502 h 6460493"/>
              <a:gd name="connsiteX8" fmla="*/ 752708 w 1010363"/>
              <a:gd name="connsiteY8" fmla="*/ 604073 h 6460493"/>
              <a:gd name="connsiteX9" fmla="*/ 722898 w 1010363"/>
              <a:gd name="connsiteY9" fmla="*/ 680927 h 6460493"/>
              <a:gd name="connsiteX10" fmla="*/ 693633 w 1010363"/>
              <a:gd name="connsiteY10" fmla="*/ 758055 h 6460493"/>
              <a:gd name="connsiteX11" fmla="*/ 664917 w 1010363"/>
              <a:gd name="connsiteY11" fmla="*/ 835451 h 6460493"/>
              <a:gd name="connsiteX12" fmla="*/ 636752 w 1010363"/>
              <a:gd name="connsiteY12" fmla="*/ 913107 h 6460493"/>
              <a:gd name="connsiteX13" fmla="*/ 609144 w 1010363"/>
              <a:gd name="connsiteY13" fmla="*/ 991017 h 6460493"/>
              <a:gd name="connsiteX14" fmla="*/ 582095 w 1010363"/>
              <a:gd name="connsiteY14" fmla="*/ 1069172 h 6460493"/>
              <a:gd name="connsiteX15" fmla="*/ 555609 w 1010363"/>
              <a:gd name="connsiteY15" fmla="*/ 1147567 h 6460493"/>
              <a:gd name="connsiteX16" fmla="*/ 529690 w 1010363"/>
              <a:gd name="connsiteY16" fmla="*/ 1226192 h 6460493"/>
              <a:gd name="connsiteX17" fmla="*/ 504342 w 1010363"/>
              <a:gd name="connsiteY17" fmla="*/ 1305043 h 6460493"/>
              <a:gd name="connsiteX18" fmla="*/ 479568 w 1010363"/>
              <a:gd name="connsiteY18" fmla="*/ 1384110 h 6460493"/>
              <a:gd name="connsiteX19" fmla="*/ 455372 w 1010363"/>
              <a:gd name="connsiteY19" fmla="*/ 1463387 h 6460493"/>
              <a:gd name="connsiteX20" fmla="*/ 431758 w 1010363"/>
              <a:gd name="connsiteY20" fmla="*/ 1542868 h 6460493"/>
              <a:gd name="connsiteX21" fmla="*/ 408729 w 1010363"/>
              <a:gd name="connsiteY21" fmla="*/ 1622544 h 6460493"/>
              <a:gd name="connsiteX22" fmla="*/ 386289 w 1010363"/>
              <a:gd name="connsiteY22" fmla="*/ 1702408 h 6460493"/>
              <a:gd name="connsiteX23" fmla="*/ 364441 w 1010363"/>
              <a:gd name="connsiteY23" fmla="*/ 1782453 h 6460493"/>
              <a:gd name="connsiteX24" fmla="*/ 343190 w 1010363"/>
              <a:gd name="connsiteY24" fmla="*/ 1862673 h 6460493"/>
              <a:gd name="connsiteX25" fmla="*/ 322539 w 1010363"/>
              <a:gd name="connsiteY25" fmla="*/ 1943059 h 6460493"/>
              <a:gd name="connsiteX26" fmla="*/ 302492 w 1010363"/>
              <a:gd name="connsiteY26" fmla="*/ 2023605 h 6460493"/>
              <a:gd name="connsiteX27" fmla="*/ 283052 w 1010363"/>
              <a:gd name="connsiteY27" fmla="*/ 2104303 h 6460493"/>
              <a:gd name="connsiteX28" fmla="*/ 264222 w 1010363"/>
              <a:gd name="connsiteY28" fmla="*/ 2185147 h 6460493"/>
              <a:gd name="connsiteX29" fmla="*/ 246008 w 1010363"/>
              <a:gd name="connsiteY29" fmla="*/ 2266128 h 6460493"/>
              <a:gd name="connsiteX30" fmla="*/ 228412 w 1010363"/>
              <a:gd name="connsiteY30" fmla="*/ 2347241 h 6460493"/>
              <a:gd name="connsiteX31" fmla="*/ 211438 w 1010363"/>
              <a:gd name="connsiteY31" fmla="*/ 2428477 h 6460493"/>
              <a:gd name="connsiteX32" fmla="*/ 195090 w 1010363"/>
              <a:gd name="connsiteY32" fmla="*/ 2509829 h 6460493"/>
              <a:gd name="connsiteX33" fmla="*/ 179371 w 1010363"/>
              <a:gd name="connsiteY33" fmla="*/ 2591291 h 6460493"/>
              <a:gd name="connsiteX34" fmla="*/ 164285 w 1010363"/>
              <a:gd name="connsiteY34" fmla="*/ 2672855 h 6460493"/>
              <a:gd name="connsiteX35" fmla="*/ 149836 w 1010363"/>
              <a:gd name="connsiteY35" fmla="*/ 2754513 h 6460493"/>
              <a:gd name="connsiteX36" fmla="*/ 136027 w 1010363"/>
              <a:gd name="connsiteY36" fmla="*/ 2836260 h 6460493"/>
              <a:gd name="connsiteX37" fmla="*/ 122862 w 1010363"/>
              <a:gd name="connsiteY37" fmla="*/ 2918086 h 6460493"/>
              <a:gd name="connsiteX38" fmla="*/ 110346 w 1010363"/>
              <a:gd name="connsiteY38" fmla="*/ 2999986 h 6460493"/>
              <a:gd name="connsiteX39" fmla="*/ 98480 w 1010363"/>
              <a:gd name="connsiteY39" fmla="*/ 3081952 h 6460493"/>
              <a:gd name="connsiteX40" fmla="*/ 87270 w 1010363"/>
              <a:gd name="connsiteY40" fmla="*/ 3163977 h 6460493"/>
              <a:gd name="connsiteX41" fmla="*/ 76718 w 1010363"/>
              <a:gd name="connsiteY41" fmla="*/ 3246054 h 6460493"/>
              <a:gd name="connsiteX42" fmla="*/ 66829 w 1010363"/>
              <a:gd name="connsiteY42" fmla="*/ 3328175 h 6460493"/>
              <a:gd name="connsiteX43" fmla="*/ 57606 w 1010363"/>
              <a:gd name="connsiteY43" fmla="*/ 3410333 h 6460493"/>
              <a:gd name="connsiteX44" fmla="*/ 49053 w 1010363"/>
              <a:gd name="connsiteY44" fmla="*/ 3492522 h 6460493"/>
              <a:gd name="connsiteX45" fmla="*/ 41174 w 1010363"/>
              <a:gd name="connsiteY45" fmla="*/ 3574733 h 6460493"/>
              <a:gd name="connsiteX46" fmla="*/ 33971 w 1010363"/>
              <a:gd name="connsiteY46" fmla="*/ 3656960 h 6460493"/>
              <a:gd name="connsiteX47" fmla="*/ 27450 w 1010363"/>
              <a:gd name="connsiteY47" fmla="*/ 3739195 h 6460493"/>
              <a:gd name="connsiteX48" fmla="*/ 21613 w 1010363"/>
              <a:gd name="connsiteY48" fmla="*/ 3821432 h 6460493"/>
              <a:gd name="connsiteX49" fmla="*/ 16464 w 1010363"/>
              <a:gd name="connsiteY49" fmla="*/ 3903663 h 6460493"/>
              <a:gd name="connsiteX50" fmla="*/ 12007 w 1010363"/>
              <a:gd name="connsiteY50" fmla="*/ 3985881 h 6460493"/>
              <a:gd name="connsiteX51" fmla="*/ 8245 w 1010363"/>
              <a:gd name="connsiteY51" fmla="*/ 4068078 h 6460493"/>
              <a:gd name="connsiteX52" fmla="*/ 5183 w 1010363"/>
              <a:gd name="connsiteY52" fmla="*/ 4150248 h 6460493"/>
              <a:gd name="connsiteX53" fmla="*/ 2824 w 1010363"/>
              <a:gd name="connsiteY53" fmla="*/ 4232383 h 6460493"/>
              <a:gd name="connsiteX54" fmla="*/ 1171 w 1010363"/>
              <a:gd name="connsiteY54" fmla="*/ 4314477 h 6460493"/>
              <a:gd name="connsiteX55" fmla="*/ 228 w 1010363"/>
              <a:gd name="connsiteY55" fmla="*/ 4396521 h 6460493"/>
              <a:gd name="connsiteX56" fmla="*/ 0 w 1010363"/>
              <a:gd name="connsiteY56" fmla="*/ 4478509 h 6460493"/>
              <a:gd name="connsiteX57" fmla="*/ 488 w 1010363"/>
              <a:gd name="connsiteY57" fmla="*/ 4560434 h 6460493"/>
              <a:gd name="connsiteX58" fmla="*/ 1699 w 1010363"/>
              <a:gd name="connsiteY58" fmla="*/ 4642288 h 6460493"/>
              <a:gd name="connsiteX59" fmla="*/ 3634 w 1010363"/>
              <a:gd name="connsiteY59" fmla="*/ 4724064 h 6460493"/>
              <a:gd name="connsiteX60" fmla="*/ 6297 w 1010363"/>
              <a:gd name="connsiteY60" fmla="*/ 4805754 h 6460493"/>
              <a:gd name="connsiteX61" fmla="*/ 9693 w 1010363"/>
              <a:gd name="connsiteY61" fmla="*/ 4887353 h 6460493"/>
              <a:gd name="connsiteX62" fmla="*/ 13825 w 1010363"/>
              <a:gd name="connsiteY62" fmla="*/ 4968852 h 6460493"/>
              <a:gd name="connsiteX63" fmla="*/ 18697 w 1010363"/>
              <a:gd name="connsiteY63" fmla="*/ 5050245 h 6460493"/>
              <a:gd name="connsiteX64" fmla="*/ 24312 w 1010363"/>
              <a:gd name="connsiteY64" fmla="*/ 5131523 h 6460493"/>
              <a:gd name="connsiteX65" fmla="*/ 30674 w 1010363"/>
              <a:gd name="connsiteY65" fmla="*/ 5212681 h 6460493"/>
              <a:gd name="connsiteX66" fmla="*/ 37786 w 1010363"/>
              <a:gd name="connsiteY66" fmla="*/ 5293710 h 6460493"/>
              <a:gd name="connsiteX67" fmla="*/ 45653 w 1010363"/>
              <a:gd name="connsiteY67" fmla="*/ 5374604 h 6460493"/>
              <a:gd name="connsiteX68" fmla="*/ 54278 w 1010363"/>
              <a:gd name="connsiteY68" fmla="*/ 5455356 h 6460493"/>
              <a:gd name="connsiteX69" fmla="*/ 63665 w 1010363"/>
              <a:gd name="connsiteY69" fmla="*/ 5535957 h 6460493"/>
              <a:gd name="connsiteX70" fmla="*/ 73817 w 1010363"/>
              <a:gd name="connsiteY70" fmla="*/ 5616401 h 6460493"/>
              <a:gd name="connsiteX71" fmla="*/ 84738 w 1010363"/>
              <a:gd name="connsiteY71" fmla="*/ 5696681 h 6460493"/>
              <a:gd name="connsiteX72" fmla="*/ 96432 w 1010363"/>
              <a:gd name="connsiteY72" fmla="*/ 5776790 h 6460493"/>
              <a:gd name="connsiteX73" fmla="*/ 108902 w 1010363"/>
              <a:gd name="connsiteY73" fmla="*/ 5856720 h 6460493"/>
              <a:gd name="connsiteX74" fmla="*/ 122152 w 1010363"/>
              <a:gd name="connsiteY74" fmla="*/ 5936465 h 6460493"/>
              <a:gd name="connsiteX75" fmla="*/ 136186 w 1010363"/>
              <a:gd name="connsiteY75" fmla="*/ 6016016 h 6460493"/>
              <a:gd name="connsiteX76" fmla="*/ 151007 w 1010363"/>
              <a:gd name="connsiteY76" fmla="*/ 6095367 h 6460493"/>
              <a:gd name="connsiteX77" fmla="*/ 166619 w 1010363"/>
              <a:gd name="connsiteY77" fmla="*/ 6174510 h 6460493"/>
              <a:gd name="connsiteX78" fmla="*/ 183027 w 1010363"/>
              <a:gd name="connsiteY78" fmla="*/ 6253439 h 6460493"/>
              <a:gd name="connsiteX79" fmla="*/ 200232 w 1010363"/>
              <a:gd name="connsiteY79" fmla="*/ 6332147 h 6460493"/>
              <a:gd name="connsiteX80" fmla="*/ 218240 w 1010363"/>
              <a:gd name="connsiteY80" fmla="*/ 6410625 h 6460493"/>
              <a:gd name="connsiteX81" fmla="*/ 230231 w 1010363"/>
              <a:gd name="connsiteY81" fmla="*/ 6460493 h 6460493"/>
              <a:gd name="connsiteX0" fmla="*/ 976326 w 976326"/>
              <a:gd name="connsiteY0" fmla="*/ 0 h 6386096"/>
              <a:gd name="connsiteX1" fmla="*/ 942805 w 976326"/>
              <a:gd name="connsiteY1" fmla="*/ 74728 h 6386096"/>
              <a:gd name="connsiteX2" fmla="*/ 909803 w 976326"/>
              <a:gd name="connsiteY2" fmla="*/ 149782 h 6386096"/>
              <a:gd name="connsiteX3" fmla="*/ 877324 w 976326"/>
              <a:gd name="connsiteY3" fmla="*/ 225154 h 6386096"/>
              <a:gd name="connsiteX4" fmla="*/ 845371 w 976326"/>
              <a:gd name="connsiteY4" fmla="*/ 300836 h 6386096"/>
              <a:gd name="connsiteX5" fmla="*/ 813948 w 976326"/>
              <a:gd name="connsiteY5" fmla="*/ 376822 h 6386096"/>
              <a:gd name="connsiteX6" fmla="*/ 783060 w 976326"/>
              <a:gd name="connsiteY6" fmla="*/ 453105 h 6386096"/>
              <a:gd name="connsiteX7" fmla="*/ 752708 w 976326"/>
              <a:gd name="connsiteY7" fmla="*/ 529676 h 6386096"/>
              <a:gd name="connsiteX8" fmla="*/ 722898 w 976326"/>
              <a:gd name="connsiteY8" fmla="*/ 606530 h 6386096"/>
              <a:gd name="connsiteX9" fmla="*/ 693633 w 976326"/>
              <a:gd name="connsiteY9" fmla="*/ 683658 h 6386096"/>
              <a:gd name="connsiteX10" fmla="*/ 664917 w 976326"/>
              <a:gd name="connsiteY10" fmla="*/ 761054 h 6386096"/>
              <a:gd name="connsiteX11" fmla="*/ 636752 w 976326"/>
              <a:gd name="connsiteY11" fmla="*/ 838710 h 6386096"/>
              <a:gd name="connsiteX12" fmla="*/ 609144 w 976326"/>
              <a:gd name="connsiteY12" fmla="*/ 916620 h 6386096"/>
              <a:gd name="connsiteX13" fmla="*/ 582095 w 976326"/>
              <a:gd name="connsiteY13" fmla="*/ 994775 h 6386096"/>
              <a:gd name="connsiteX14" fmla="*/ 555609 w 976326"/>
              <a:gd name="connsiteY14" fmla="*/ 1073170 h 6386096"/>
              <a:gd name="connsiteX15" fmla="*/ 529690 w 976326"/>
              <a:gd name="connsiteY15" fmla="*/ 1151795 h 6386096"/>
              <a:gd name="connsiteX16" fmla="*/ 504342 w 976326"/>
              <a:gd name="connsiteY16" fmla="*/ 1230646 h 6386096"/>
              <a:gd name="connsiteX17" fmla="*/ 479568 w 976326"/>
              <a:gd name="connsiteY17" fmla="*/ 1309713 h 6386096"/>
              <a:gd name="connsiteX18" fmla="*/ 455372 w 976326"/>
              <a:gd name="connsiteY18" fmla="*/ 1388990 h 6386096"/>
              <a:gd name="connsiteX19" fmla="*/ 431758 w 976326"/>
              <a:gd name="connsiteY19" fmla="*/ 1468471 h 6386096"/>
              <a:gd name="connsiteX20" fmla="*/ 408729 w 976326"/>
              <a:gd name="connsiteY20" fmla="*/ 1548147 h 6386096"/>
              <a:gd name="connsiteX21" fmla="*/ 386289 w 976326"/>
              <a:gd name="connsiteY21" fmla="*/ 1628011 h 6386096"/>
              <a:gd name="connsiteX22" fmla="*/ 364441 w 976326"/>
              <a:gd name="connsiteY22" fmla="*/ 1708056 h 6386096"/>
              <a:gd name="connsiteX23" fmla="*/ 343190 w 976326"/>
              <a:gd name="connsiteY23" fmla="*/ 1788276 h 6386096"/>
              <a:gd name="connsiteX24" fmla="*/ 322539 w 976326"/>
              <a:gd name="connsiteY24" fmla="*/ 1868662 h 6386096"/>
              <a:gd name="connsiteX25" fmla="*/ 302492 w 976326"/>
              <a:gd name="connsiteY25" fmla="*/ 1949208 h 6386096"/>
              <a:gd name="connsiteX26" fmla="*/ 283052 w 976326"/>
              <a:gd name="connsiteY26" fmla="*/ 2029906 h 6386096"/>
              <a:gd name="connsiteX27" fmla="*/ 264222 w 976326"/>
              <a:gd name="connsiteY27" fmla="*/ 2110750 h 6386096"/>
              <a:gd name="connsiteX28" fmla="*/ 246008 w 976326"/>
              <a:gd name="connsiteY28" fmla="*/ 2191731 h 6386096"/>
              <a:gd name="connsiteX29" fmla="*/ 228412 w 976326"/>
              <a:gd name="connsiteY29" fmla="*/ 2272844 h 6386096"/>
              <a:gd name="connsiteX30" fmla="*/ 211438 w 976326"/>
              <a:gd name="connsiteY30" fmla="*/ 2354080 h 6386096"/>
              <a:gd name="connsiteX31" fmla="*/ 195090 w 976326"/>
              <a:gd name="connsiteY31" fmla="*/ 2435432 h 6386096"/>
              <a:gd name="connsiteX32" fmla="*/ 179371 w 976326"/>
              <a:gd name="connsiteY32" fmla="*/ 2516894 h 6386096"/>
              <a:gd name="connsiteX33" fmla="*/ 164285 w 976326"/>
              <a:gd name="connsiteY33" fmla="*/ 2598458 h 6386096"/>
              <a:gd name="connsiteX34" fmla="*/ 149836 w 976326"/>
              <a:gd name="connsiteY34" fmla="*/ 2680116 h 6386096"/>
              <a:gd name="connsiteX35" fmla="*/ 136027 w 976326"/>
              <a:gd name="connsiteY35" fmla="*/ 2761863 h 6386096"/>
              <a:gd name="connsiteX36" fmla="*/ 122862 w 976326"/>
              <a:gd name="connsiteY36" fmla="*/ 2843689 h 6386096"/>
              <a:gd name="connsiteX37" fmla="*/ 110346 w 976326"/>
              <a:gd name="connsiteY37" fmla="*/ 2925589 h 6386096"/>
              <a:gd name="connsiteX38" fmla="*/ 98480 w 976326"/>
              <a:gd name="connsiteY38" fmla="*/ 3007555 h 6386096"/>
              <a:gd name="connsiteX39" fmla="*/ 87270 w 976326"/>
              <a:gd name="connsiteY39" fmla="*/ 3089580 h 6386096"/>
              <a:gd name="connsiteX40" fmla="*/ 76718 w 976326"/>
              <a:gd name="connsiteY40" fmla="*/ 3171657 h 6386096"/>
              <a:gd name="connsiteX41" fmla="*/ 66829 w 976326"/>
              <a:gd name="connsiteY41" fmla="*/ 3253778 h 6386096"/>
              <a:gd name="connsiteX42" fmla="*/ 57606 w 976326"/>
              <a:gd name="connsiteY42" fmla="*/ 3335936 h 6386096"/>
              <a:gd name="connsiteX43" fmla="*/ 49053 w 976326"/>
              <a:gd name="connsiteY43" fmla="*/ 3418125 h 6386096"/>
              <a:gd name="connsiteX44" fmla="*/ 41174 w 976326"/>
              <a:gd name="connsiteY44" fmla="*/ 3500336 h 6386096"/>
              <a:gd name="connsiteX45" fmla="*/ 33971 w 976326"/>
              <a:gd name="connsiteY45" fmla="*/ 3582563 h 6386096"/>
              <a:gd name="connsiteX46" fmla="*/ 27450 w 976326"/>
              <a:gd name="connsiteY46" fmla="*/ 3664798 h 6386096"/>
              <a:gd name="connsiteX47" fmla="*/ 21613 w 976326"/>
              <a:gd name="connsiteY47" fmla="*/ 3747035 h 6386096"/>
              <a:gd name="connsiteX48" fmla="*/ 16464 w 976326"/>
              <a:gd name="connsiteY48" fmla="*/ 3829266 h 6386096"/>
              <a:gd name="connsiteX49" fmla="*/ 12007 w 976326"/>
              <a:gd name="connsiteY49" fmla="*/ 3911484 h 6386096"/>
              <a:gd name="connsiteX50" fmla="*/ 8245 w 976326"/>
              <a:gd name="connsiteY50" fmla="*/ 3993681 h 6386096"/>
              <a:gd name="connsiteX51" fmla="*/ 5183 w 976326"/>
              <a:gd name="connsiteY51" fmla="*/ 4075851 h 6386096"/>
              <a:gd name="connsiteX52" fmla="*/ 2824 w 976326"/>
              <a:gd name="connsiteY52" fmla="*/ 4157986 h 6386096"/>
              <a:gd name="connsiteX53" fmla="*/ 1171 w 976326"/>
              <a:gd name="connsiteY53" fmla="*/ 4240080 h 6386096"/>
              <a:gd name="connsiteX54" fmla="*/ 228 w 976326"/>
              <a:gd name="connsiteY54" fmla="*/ 4322124 h 6386096"/>
              <a:gd name="connsiteX55" fmla="*/ 0 w 976326"/>
              <a:gd name="connsiteY55" fmla="*/ 4404112 h 6386096"/>
              <a:gd name="connsiteX56" fmla="*/ 488 w 976326"/>
              <a:gd name="connsiteY56" fmla="*/ 4486037 h 6386096"/>
              <a:gd name="connsiteX57" fmla="*/ 1699 w 976326"/>
              <a:gd name="connsiteY57" fmla="*/ 4567891 h 6386096"/>
              <a:gd name="connsiteX58" fmla="*/ 3634 w 976326"/>
              <a:gd name="connsiteY58" fmla="*/ 4649667 h 6386096"/>
              <a:gd name="connsiteX59" fmla="*/ 6297 w 976326"/>
              <a:gd name="connsiteY59" fmla="*/ 4731357 h 6386096"/>
              <a:gd name="connsiteX60" fmla="*/ 9693 w 976326"/>
              <a:gd name="connsiteY60" fmla="*/ 4812956 h 6386096"/>
              <a:gd name="connsiteX61" fmla="*/ 13825 w 976326"/>
              <a:gd name="connsiteY61" fmla="*/ 4894455 h 6386096"/>
              <a:gd name="connsiteX62" fmla="*/ 18697 w 976326"/>
              <a:gd name="connsiteY62" fmla="*/ 4975848 h 6386096"/>
              <a:gd name="connsiteX63" fmla="*/ 24312 w 976326"/>
              <a:gd name="connsiteY63" fmla="*/ 5057126 h 6386096"/>
              <a:gd name="connsiteX64" fmla="*/ 30674 w 976326"/>
              <a:gd name="connsiteY64" fmla="*/ 5138284 h 6386096"/>
              <a:gd name="connsiteX65" fmla="*/ 37786 w 976326"/>
              <a:gd name="connsiteY65" fmla="*/ 5219313 h 6386096"/>
              <a:gd name="connsiteX66" fmla="*/ 45653 w 976326"/>
              <a:gd name="connsiteY66" fmla="*/ 5300207 h 6386096"/>
              <a:gd name="connsiteX67" fmla="*/ 54278 w 976326"/>
              <a:gd name="connsiteY67" fmla="*/ 5380959 h 6386096"/>
              <a:gd name="connsiteX68" fmla="*/ 63665 w 976326"/>
              <a:gd name="connsiteY68" fmla="*/ 5461560 h 6386096"/>
              <a:gd name="connsiteX69" fmla="*/ 73817 w 976326"/>
              <a:gd name="connsiteY69" fmla="*/ 5542004 h 6386096"/>
              <a:gd name="connsiteX70" fmla="*/ 84738 w 976326"/>
              <a:gd name="connsiteY70" fmla="*/ 5622284 h 6386096"/>
              <a:gd name="connsiteX71" fmla="*/ 96432 w 976326"/>
              <a:gd name="connsiteY71" fmla="*/ 5702393 h 6386096"/>
              <a:gd name="connsiteX72" fmla="*/ 108902 w 976326"/>
              <a:gd name="connsiteY72" fmla="*/ 5782323 h 6386096"/>
              <a:gd name="connsiteX73" fmla="*/ 122152 w 976326"/>
              <a:gd name="connsiteY73" fmla="*/ 5862068 h 6386096"/>
              <a:gd name="connsiteX74" fmla="*/ 136186 w 976326"/>
              <a:gd name="connsiteY74" fmla="*/ 5941619 h 6386096"/>
              <a:gd name="connsiteX75" fmla="*/ 151007 w 976326"/>
              <a:gd name="connsiteY75" fmla="*/ 6020970 h 6386096"/>
              <a:gd name="connsiteX76" fmla="*/ 166619 w 976326"/>
              <a:gd name="connsiteY76" fmla="*/ 6100113 h 6386096"/>
              <a:gd name="connsiteX77" fmla="*/ 183027 w 976326"/>
              <a:gd name="connsiteY77" fmla="*/ 6179042 h 6386096"/>
              <a:gd name="connsiteX78" fmla="*/ 200232 w 976326"/>
              <a:gd name="connsiteY78" fmla="*/ 6257750 h 6386096"/>
              <a:gd name="connsiteX79" fmla="*/ 218240 w 976326"/>
              <a:gd name="connsiteY79" fmla="*/ 6336228 h 6386096"/>
              <a:gd name="connsiteX80" fmla="*/ 230231 w 976326"/>
              <a:gd name="connsiteY80" fmla="*/ 6386096 h 6386096"/>
              <a:gd name="connsiteX0" fmla="*/ 942805 w 942805"/>
              <a:gd name="connsiteY0" fmla="*/ 0 h 6311368"/>
              <a:gd name="connsiteX1" fmla="*/ 909803 w 942805"/>
              <a:gd name="connsiteY1" fmla="*/ 75054 h 6311368"/>
              <a:gd name="connsiteX2" fmla="*/ 877324 w 942805"/>
              <a:gd name="connsiteY2" fmla="*/ 150426 h 6311368"/>
              <a:gd name="connsiteX3" fmla="*/ 845371 w 942805"/>
              <a:gd name="connsiteY3" fmla="*/ 226108 h 6311368"/>
              <a:gd name="connsiteX4" fmla="*/ 813948 w 942805"/>
              <a:gd name="connsiteY4" fmla="*/ 302094 h 6311368"/>
              <a:gd name="connsiteX5" fmla="*/ 783060 w 942805"/>
              <a:gd name="connsiteY5" fmla="*/ 378377 h 6311368"/>
              <a:gd name="connsiteX6" fmla="*/ 752708 w 942805"/>
              <a:gd name="connsiteY6" fmla="*/ 454948 h 6311368"/>
              <a:gd name="connsiteX7" fmla="*/ 722898 w 942805"/>
              <a:gd name="connsiteY7" fmla="*/ 531802 h 6311368"/>
              <a:gd name="connsiteX8" fmla="*/ 693633 w 942805"/>
              <a:gd name="connsiteY8" fmla="*/ 608930 h 6311368"/>
              <a:gd name="connsiteX9" fmla="*/ 664917 w 942805"/>
              <a:gd name="connsiteY9" fmla="*/ 686326 h 6311368"/>
              <a:gd name="connsiteX10" fmla="*/ 636752 w 942805"/>
              <a:gd name="connsiteY10" fmla="*/ 763982 h 6311368"/>
              <a:gd name="connsiteX11" fmla="*/ 609144 w 942805"/>
              <a:gd name="connsiteY11" fmla="*/ 841892 h 6311368"/>
              <a:gd name="connsiteX12" fmla="*/ 582095 w 942805"/>
              <a:gd name="connsiteY12" fmla="*/ 920047 h 6311368"/>
              <a:gd name="connsiteX13" fmla="*/ 555609 w 942805"/>
              <a:gd name="connsiteY13" fmla="*/ 998442 h 6311368"/>
              <a:gd name="connsiteX14" fmla="*/ 529690 w 942805"/>
              <a:gd name="connsiteY14" fmla="*/ 1077067 h 6311368"/>
              <a:gd name="connsiteX15" fmla="*/ 504342 w 942805"/>
              <a:gd name="connsiteY15" fmla="*/ 1155918 h 6311368"/>
              <a:gd name="connsiteX16" fmla="*/ 479568 w 942805"/>
              <a:gd name="connsiteY16" fmla="*/ 1234985 h 6311368"/>
              <a:gd name="connsiteX17" fmla="*/ 455372 w 942805"/>
              <a:gd name="connsiteY17" fmla="*/ 1314262 h 6311368"/>
              <a:gd name="connsiteX18" fmla="*/ 431758 w 942805"/>
              <a:gd name="connsiteY18" fmla="*/ 1393743 h 6311368"/>
              <a:gd name="connsiteX19" fmla="*/ 408729 w 942805"/>
              <a:gd name="connsiteY19" fmla="*/ 1473419 h 6311368"/>
              <a:gd name="connsiteX20" fmla="*/ 386289 w 942805"/>
              <a:gd name="connsiteY20" fmla="*/ 1553283 h 6311368"/>
              <a:gd name="connsiteX21" fmla="*/ 364441 w 942805"/>
              <a:gd name="connsiteY21" fmla="*/ 1633328 h 6311368"/>
              <a:gd name="connsiteX22" fmla="*/ 343190 w 942805"/>
              <a:gd name="connsiteY22" fmla="*/ 1713548 h 6311368"/>
              <a:gd name="connsiteX23" fmla="*/ 322539 w 942805"/>
              <a:gd name="connsiteY23" fmla="*/ 1793934 h 6311368"/>
              <a:gd name="connsiteX24" fmla="*/ 302492 w 942805"/>
              <a:gd name="connsiteY24" fmla="*/ 1874480 h 6311368"/>
              <a:gd name="connsiteX25" fmla="*/ 283052 w 942805"/>
              <a:gd name="connsiteY25" fmla="*/ 1955178 h 6311368"/>
              <a:gd name="connsiteX26" fmla="*/ 264222 w 942805"/>
              <a:gd name="connsiteY26" fmla="*/ 2036022 h 6311368"/>
              <a:gd name="connsiteX27" fmla="*/ 246008 w 942805"/>
              <a:gd name="connsiteY27" fmla="*/ 2117003 h 6311368"/>
              <a:gd name="connsiteX28" fmla="*/ 228412 w 942805"/>
              <a:gd name="connsiteY28" fmla="*/ 2198116 h 6311368"/>
              <a:gd name="connsiteX29" fmla="*/ 211438 w 942805"/>
              <a:gd name="connsiteY29" fmla="*/ 2279352 h 6311368"/>
              <a:gd name="connsiteX30" fmla="*/ 195090 w 942805"/>
              <a:gd name="connsiteY30" fmla="*/ 2360704 h 6311368"/>
              <a:gd name="connsiteX31" fmla="*/ 179371 w 942805"/>
              <a:gd name="connsiteY31" fmla="*/ 2442166 h 6311368"/>
              <a:gd name="connsiteX32" fmla="*/ 164285 w 942805"/>
              <a:gd name="connsiteY32" fmla="*/ 2523730 h 6311368"/>
              <a:gd name="connsiteX33" fmla="*/ 149836 w 942805"/>
              <a:gd name="connsiteY33" fmla="*/ 2605388 h 6311368"/>
              <a:gd name="connsiteX34" fmla="*/ 136027 w 942805"/>
              <a:gd name="connsiteY34" fmla="*/ 2687135 h 6311368"/>
              <a:gd name="connsiteX35" fmla="*/ 122862 w 942805"/>
              <a:gd name="connsiteY35" fmla="*/ 2768961 h 6311368"/>
              <a:gd name="connsiteX36" fmla="*/ 110346 w 942805"/>
              <a:gd name="connsiteY36" fmla="*/ 2850861 h 6311368"/>
              <a:gd name="connsiteX37" fmla="*/ 98480 w 942805"/>
              <a:gd name="connsiteY37" fmla="*/ 2932827 h 6311368"/>
              <a:gd name="connsiteX38" fmla="*/ 87270 w 942805"/>
              <a:gd name="connsiteY38" fmla="*/ 3014852 h 6311368"/>
              <a:gd name="connsiteX39" fmla="*/ 76718 w 942805"/>
              <a:gd name="connsiteY39" fmla="*/ 3096929 h 6311368"/>
              <a:gd name="connsiteX40" fmla="*/ 66829 w 942805"/>
              <a:gd name="connsiteY40" fmla="*/ 3179050 h 6311368"/>
              <a:gd name="connsiteX41" fmla="*/ 57606 w 942805"/>
              <a:gd name="connsiteY41" fmla="*/ 3261208 h 6311368"/>
              <a:gd name="connsiteX42" fmla="*/ 49053 w 942805"/>
              <a:gd name="connsiteY42" fmla="*/ 3343397 h 6311368"/>
              <a:gd name="connsiteX43" fmla="*/ 41174 w 942805"/>
              <a:gd name="connsiteY43" fmla="*/ 3425608 h 6311368"/>
              <a:gd name="connsiteX44" fmla="*/ 33971 w 942805"/>
              <a:gd name="connsiteY44" fmla="*/ 3507835 h 6311368"/>
              <a:gd name="connsiteX45" fmla="*/ 27450 w 942805"/>
              <a:gd name="connsiteY45" fmla="*/ 3590070 h 6311368"/>
              <a:gd name="connsiteX46" fmla="*/ 21613 w 942805"/>
              <a:gd name="connsiteY46" fmla="*/ 3672307 h 6311368"/>
              <a:gd name="connsiteX47" fmla="*/ 16464 w 942805"/>
              <a:gd name="connsiteY47" fmla="*/ 3754538 h 6311368"/>
              <a:gd name="connsiteX48" fmla="*/ 12007 w 942805"/>
              <a:gd name="connsiteY48" fmla="*/ 3836756 h 6311368"/>
              <a:gd name="connsiteX49" fmla="*/ 8245 w 942805"/>
              <a:gd name="connsiteY49" fmla="*/ 3918953 h 6311368"/>
              <a:gd name="connsiteX50" fmla="*/ 5183 w 942805"/>
              <a:gd name="connsiteY50" fmla="*/ 4001123 h 6311368"/>
              <a:gd name="connsiteX51" fmla="*/ 2824 w 942805"/>
              <a:gd name="connsiteY51" fmla="*/ 4083258 h 6311368"/>
              <a:gd name="connsiteX52" fmla="*/ 1171 w 942805"/>
              <a:gd name="connsiteY52" fmla="*/ 4165352 h 6311368"/>
              <a:gd name="connsiteX53" fmla="*/ 228 w 942805"/>
              <a:gd name="connsiteY53" fmla="*/ 4247396 h 6311368"/>
              <a:gd name="connsiteX54" fmla="*/ 0 w 942805"/>
              <a:gd name="connsiteY54" fmla="*/ 4329384 h 6311368"/>
              <a:gd name="connsiteX55" fmla="*/ 488 w 942805"/>
              <a:gd name="connsiteY55" fmla="*/ 4411309 h 6311368"/>
              <a:gd name="connsiteX56" fmla="*/ 1699 w 942805"/>
              <a:gd name="connsiteY56" fmla="*/ 4493163 h 6311368"/>
              <a:gd name="connsiteX57" fmla="*/ 3634 w 942805"/>
              <a:gd name="connsiteY57" fmla="*/ 4574939 h 6311368"/>
              <a:gd name="connsiteX58" fmla="*/ 6297 w 942805"/>
              <a:gd name="connsiteY58" fmla="*/ 4656629 h 6311368"/>
              <a:gd name="connsiteX59" fmla="*/ 9693 w 942805"/>
              <a:gd name="connsiteY59" fmla="*/ 4738228 h 6311368"/>
              <a:gd name="connsiteX60" fmla="*/ 13825 w 942805"/>
              <a:gd name="connsiteY60" fmla="*/ 4819727 h 6311368"/>
              <a:gd name="connsiteX61" fmla="*/ 18697 w 942805"/>
              <a:gd name="connsiteY61" fmla="*/ 4901120 h 6311368"/>
              <a:gd name="connsiteX62" fmla="*/ 24312 w 942805"/>
              <a:gd name="connsiteY62" fmla="*/ 4982398 h 6311368"/>
              <a:gd name="connsiteX63" fmla="*/ 30674 w 942805"/>
              <a:gd name="connsiteY63" fmla="*/ 5063556 h 6311368"/>
              <a:gd name="connsiteX64" fmla="*/ 37786 w 942805"/>
              <a:gd name="connsiteY64" fmla="*/ 5144585 h 6311368"/>
              <a:gd name="connsiteX65" fmla="*/ 45653 w 942805"/>
              <a:gd name="connsiteY65" fmla="*/ 5225479 h 6311368"/>
              <a:gd name="connsiteX66" fmla="*/ 54278 w 942805"/>
              <a:gd name="connsiteY66" fmla="*/ 5306231 h 6311368"/>
              <a:gd name="connsiteX67" fmla="*/ 63665 w 942805"/>
              <a:gd name="connsiteY67" fmla="*/ 5386832 h 6311368"/>
              <a:gd name="connsiteX68" fmla="*/ 73817 w 942805"/>
              <a:gd name="connsiteY68" fmla="*/ 5467276 h 6311368"/>
              <a:gd name="connsiteX69" fmla="*/ 84738 w 942805"/>
              <a:gd name="connsiteY69" fmla="*/ 5547556 h 6311368"/>
              <a:gd name="connsiteX70" fmla="*/ 96432 w 942805"/>
              <a:gd name="connsiteY70" fmla="*/ 5627665 h 6311368"/>
              <a:gd name="connsiteX71" fmla="*/ 108902 w 942805"/>
              <a:gd name="connsiteY71" fmla="*/ 5707595 h 6311368"/>
              <a:gd name="connsiteX72" fmla="*/ 122152 w 942805"/>
              <a:gd name="connsiteY72" fmla="*/ 5787340 h 6311368"/>
              <a:gd name="connsiteX73" fmla="*/ 136186 w 942805"/>
              <a:gd name="connsiteY73" fmla="*/ 5866891 h 6311368"/>
              <a:gd name="connsiteX74" fmla="*/ 151007 w 942805"/>
              <a:gd name="connsiteY74" fmla="*/ 5946242 h 6311368"/>
              <a:gd name="connsiteX75" fmla="*/ 166619 w 942805"/>
              <a:gd name="connsiteY75" fmla="*/ 6025385 h 6311368"/>
              <a:gd name="connsiteX76" fmla="*/ 183027 w 942805"/>
              <a:gd name="connsiteY76" fmla="*/ 6104314 h 6311368"/>
              <a:gd name="connsiteX77" fmla="*/ 200232 w 942805"/>
              <a:gd name="connsiteY77" fmla="*/ 6183022 h 6311368"/>
              <a:gd name="connsiteX78" fmla="*/ 218240 w 942805"/>
              <a:gd name="connsiteY78" fmla="*/ 6261500 h 6311368"/>
              <a:gd name="connsiteX79" fmla="*/ 230231 w 942805"/>
              <a:gd name="connsiteY79" fmla="*/ 6311368 h 6311368"/>
              <a:gd name="connsiteX0" fmla="*/ 909803 w 909803"/>
              <a:gd name="connsiteY0" fmla="*/ 0 h 6236314"/>
              <a:gd name="connsiteX1" fmla="*/ 877324 w 909803"/>
              <a:gd name="connsiteY1" fmla="*/ 75372 h 6236314"/>
              <a:gd name="connsiteX2" fmla="*/ 845371 w 909803"/>
              <a:gd name="connsiteY2" fmla="*/ 151054 h 6236314"/>
              <a:gd name="connsiteX3" fmla="*/ 813948 w 909803"/>
              <a:gd name="connsiteY3" fmla="*/ 227040 h 6236314"/>
              <a:gd name="connsiteX4" fmla="*/ 783060 w 909803"/>
              <a:gd name="connsiteY4" fmla="*/ 303323 h 6236314"/>
              <a:gd name="connsiteX5" fmla="*/ 752708 w 909803"/>
              <a:gd name="connsiteY5" fmla="*/ 379894 h 6236314"/>
              <a:gd name="connsiteX6" fmla="*/ 722898 w 909803"/>
              <a:gd name="connsiteY6" fmla="*/ 456748 h 6236314"/>
              <a:gd name="connsiteX7" fmla="*/ 693633 w 909803"/>
              <a:gd name="connsiteY7" fmla="*/ 533876 h 6236314"/>
              <a:gd name="connsiteX8" fmla="*/ 664917 w 909803"/>
              <a:gd name="connsiteY8" fmla="*/ 611272 h 6236314"/>
              <a:gd name="connsiteX9" fmla="*/ 636752 w 909803"/>
              <a:gd name="connsiteY9" fmla="*/ 688928 h 6236314"/>
              <a:gd name="connsiteX10" fmla="*/ 609144 w 909803"/>
              <a:gd name="connsiteY10" fmla="*/ 766838 h 6236314"/>
              <a:gd name="connsiteX11" fmla="*/ 582095 w 909803"/>
              <a:gd name="connsiteY11" fmla="*/ 844993 h 6236314"/>
              <a:gd name="connsiteX12" fmla="*/ 555609 w 909803"/>
              <a:gd name="connsiteY12" fmla="*/ 923388 h 6236314"/>
              <a:gd name="connsiteX13" fmla="*/ 529690 w 909803"/>
              <a:gd name="connsiteY13" fmla="*/ 1002013 h 6236314"/>
              <a:gd name="connsiteX14" fmla="*/ 504342 w 909803"/>
              <a:gd name="connsiteY14" fmla="*/ 1080864 h 6236314"/>
              <a:gd name="connsiteX15" fmla="*/ 479568 w 909803"/>
              <a:gd name="connsiteY15" fmla="*/ 1159931 h 6236314"/>
              <a:gd name="connsiteX16" fmla="*/ 455372 w 909803"/>
              <a:gd name="connsiteY16" fmla="*/ 1239208 h 6236314"/>
              <a:gd name="connsiteX17" fmla="*/ 431758 w 909803"/>
              <a:gd name="connsiteY17" fmla="*/ 1318689 h 6236314"/>
              <a:gd name="connsiteX18" fmla="*/ 408729 w 909803"/>
              <a:gd name="connsiteY18" fmla="*/ 1398365 h 6236314"/>
              <a:gd name="connsiteX19" fmla="*/ 386289 w 909803"/>
              <a:gd name="connsiteY19" fmla="*/ 1478229 h 6236314"/>
              <a:gd name="connsiteX20" fmla="*/ 364441 w 909803"/>
              <a:gd name="connsiteY20" fmla="*/ 1558274 h 6236314"/>
              <a:gd name="connsiteX21" fmla="*/ 343190 w 909803"/>
              <a:gd name="connsiteY21" fmla="*/ 1638494 h 6236314"/>
              <a:gd name="connsiteX22" fmla="*/ 322539 w 909803"/>
              <a:gd name="connsiteY22" fmla="*/ 1718880 h 6236314"/>
              <a:gd name="connsiteX23" fmla="*/ 302492 w 909803"/>
              <a:gd name="connsiteY23" fmla="*/ 1799426 h 6236314"/>
              <a:gd name="connsiteX24" fmla="*/ 283052 w 909803"/>
              <a:gd name="connsiteY24" fmla="*/ 1880124 h 6236314"/>
              <a:gd name="connsiteX25" fmla="*/ 264222 w 909803"/>
              <a:gd name="connsiteY25" fmla="*/ 1960968 h 6236314"/>
              <a:gd name="connsiteX26" fmla="*/ 246008 w 909803"/>
              <a:gd name="connsiteY26" fmla="*/ 2041949 h 6236314"/>
              <a:gd name="connsiteX27" fmla="*/ 228412 w 909803"/>
              <a:gd name="connsiteY27" fmla="*/ 2123062 h 6236314"/>
              <a:gd name="connsiteX28" fmla="*/ 211438 w 909803"/>
              <a:gd name="connsiteY28" fmla="*/ 2204298 h 6236314"/>
              <a:gd name="connsiteX29" fmla="*/ 195090 w 909803"/>
              <a:gd name="connsiteY29" fmla="*/ 2285650 h 6236314"/>
              <a:gd name="connsiteX30" fmla="*/ 179371 w 909803"/>
              <a:gd name="connsiteY30" fmla="*/ 2367112 h 6236314"/>
              <a:gd name="connsiteX31" fmla="*/ 164285 w 909803"/>
              <a:gd name="connsiteY31" fmla="*/ 2448676 h 6236314"/>
              <a:gd name="connsiteX32" fmla="*/ 149836 w 909803"/>
              <a:gd name="connsiteY32" fmla="*/ 2530334 h 6236314"/>
              <a:gd name="connsiteX33" fmla="*/ 136027 w 909803"/>
              <a:gd name="connsiteY33" fmla="*/ 2612081 h 6236314"/>
              <a:gd name="connsiteX34" fmla="*/ 122862 w 909803"/>
              <a:gd name="connsiteY34" fmla="*/ 2693907 h 6236314"/>
              <a:gd name="connsiteX35" fmla="*/ 110346 w 909803"/>
              <a:gd name="connsiteY35" fmla="*/ 2775807 h 6236314"/>
              <a:gd name="connsiteX36" fmla="*/ 98480 w 909803"/>
              <a:gd name="connsiteY36" fmla="*/ 2857773 h 6236314"/>
              <a:gd name="connsiteX37" fmla="*/ 87270 w 909803"/>
              <a:gd name="connsiteY37" fmla="*/ 2939798 h 6236314"/>
              <a:gd name="connsiteX38" fmla="*/ 76718 w 909803"/>
              <a:gd name="connsiteY38" fmla="*/ 3021875 h 6236314"/>
              <a:gd name="connsiteX39" fmla="*/ 66829 w 909803"/>
              <a:gd name="connsiteY39" fmla="*/ 3103996 h 6236314"/>
              <a:gd name="connsiteX40" fmla="*/ 57606 w 909803"/>
              <a:gd name="connsiteY40" fmla="*/ 3186154 h 6236314"/>
              <a:gd name="connsiteX41" fmla="*/ 49053 w 909803"/>
              <a:gd name="connsiteY41" fmla="*/ 3268343 h 6236314"/>
              <a:gd name="connsiteX42" fmla="*/ 41174 w 909803"/>
              <a:gd name="connsiteY42" fmla="*/ 3350554 h 6236314"/>
              <a:gd name="connsiteX43" fmla="*/ 33971 w 909803"/>
              <a:gd name="connsiteY43" fmla="*/ 3432781 h 6236314"/>
              <a:gd name="connsiteX44" fmla="*/ 27450 w 909803"/>
              <a:gd name="connsiteY44" fmla="*/ 3515016 h 6236314"/>
              <a:gd name="connsiteX45" fmla="*/ 21613 w 909803"/>
              <a:gd name="connsiteY45" fmla="*/ 3597253 h 6236314"/>
              <a:gd name="connsiteX46" fmla="*/ 16464 w 909803"/>
              <a:gd name="connsiteY46" fmla="*/ 3679484 h 6236314"/>
              <a:gd name="connsiteX47" fmla="*/ 12007 w 909803"/>
              <a:gd name="connsiteY47" fmla="*/ 3761702 h 6236314"/>
              <a:gd name="connsiteX48" fmla="*/ 8245 w 909803"/>
              <a:gd name="connsiteY48" fmla="*/ 3843899 h 6236314"/>
              <a:gd name="connsiteX49" fmla="*/ 5183 w 909803"/>
              <a:gd name="connsiteY49" fmla="*/ 3926069 h 6236314"/>
              <a:gd name="connsiteX50" fmla="*/ 2824 w 909803"/>
              <a:gd name="connsiteY50" fmla="*/ 4008204 h 6236314"/>
              <a:gd name="connsiteX51" fmla="*/ 1171 w 909803"/>
              <a:gd name="connsiteY51" fmla="*/ 4090298 h 6236314"/>
              <a:gd name="connsiteX52" fmla="*/ 228 w 909803"/>
              <a:gd name="connsiteY52" fmla="*/ 4172342 h 6236314"/>
              <a:gd name="connsiteX53" fmla="*/ 0 w 909803"/>
              <a:gd name="connsiteY53" fmla="*/ 4254330 h 6236314"/>
              <a:gd name="connsiteX54" fmla="*/ 488 w 909803"/>
              <a:gd name="connsiteY54" fmla="*/ 4336255 h 6236314"/>
              <a:gd name="connsiteX55" fmla="*/ 1699 w 909803"/>
              <a:gd name="connsiteY55" fmla="*/ 4418109 h 6236314"/>
              <a:gd name="connsiteX56" fmla="*/ 3634 w 909803"/>
              <a:gd name="connsiteY56" fmla="*/ 4499885 h 6236314"/>
              <a:gd name="connsiteX57" fmla="*/ 6297 w 909803"/>
              <a:gd name="connsiteY57" fmla="*/ 4581575 h 6236314"/>
              <a:gd name="connsiteX58" fmla="*/ 9693 w 909803"/>
              <a:gd name="connsiteY58" fmla="*/ 4663174 h 6236314"/>
              <a:gd name="connsiteX59" fmla="*/ 13825 w 909803"/>
              <a:gd name="connsiteY59" fmla="*/ 4744673 h 6236314"/>
              <a:gd name="connsiteX60" fmla="*/ 18697 w 909803"/>
              <a:gd name="connsiteY60" fmla="*/ 4826066 h 6236314"/>
              <a:gd name="connsiteX61" fmla="*/ 24312 w 909803"/>
              <a:gd name="connsiteY61" fmla="*/ 4907344 h 6236314"/>
              <a:gd name="connsiteX62" fmla="*/ 30674 w 909803"/>
              <a:gd name="connsiteY62" fmla="*/ 4988502 h 6236314"/>
              <a:gd name="connsiteX63" fmla="*/ 37786 w 909803"/>
              <a:gd name="connsiteY63" fmla="*/ 5069531 h 6236314"/>
              <a:gd name="connsiteX64" fmla="*/ 45653 w 909803"/>
              <a:gd name="connsiteY64" fmla="*/ 5150425 h 6236314"/>
              <a:gd name="connsiteX65" fmla="*/ 54278 w 909803"/>
              <a:gd name="connsiteY65" fmla="*/ 5231177 h 6236314"/>
              <a:gd name="connsiteX66" fmla="*/ 63665 w 909803"/>
              <a:gd name="connsiteY66" fmla="*/ 5311778 h 6236314"/>
              <a:gd name="connsiteX67" fmla="*/ 73817 w 909803"/>
              <a:gd name="connsiteY67" fmla="*/ 5392222 h 6236314"/>
              <a:gd name="connsiteX68" fmla="*/ 84738 w 909803"/>
              <a:gd name="connsiteY68" fmla="*/ 5472502 h 6236314"/>
              <a:gd name="connsiteX69" fmla="*/ 96432 w 909803"/>
              <a:gd name="connsiteY69" fmla="*/ 5552611 h 6236314"/>
              <a:gd name="connsiteX70" fmla="*/ 108902 w 909803"/>
              <a:gd name="connsiteY70" fmla="*/ 5632541 h 6236314"/>
              <a:gd name="connsiteX71" fmla="*/ 122152 w 909803"/>
              <a:gd name="connsiteY71" fmla="*/ 5712286 h 6236314"/>
              <a:gd name="connsiteX72" fmla="*/ 136186 w 909803"/>
              <a:gd name="connsiteY72" fmla="*/ 5791837 h 6236314"/>
              <a:gd name="connsiteX73" fmla="*/ 151007 w 909803"/>
              <a:gd name="connsiteY73" fmla="*/ 5871188 h 6236314"/>
              <a:gd name="connsiteX74" fmla="*/ 166619 w 909803"/>
              <a:gd name="connsiteY74" fmla="*/ 5950331 h 6236314"/>
              <a:gd name="connsiteX75" fmla="*/ 183027 w 909803"/>
              <a:gd name="connsiteY75" fmla="*/ 6029260 h 6236314"/>
              <a:gd name="connsiteX76" fmla="*/ 200232 w 909803"/>
              <a:gd name="connsiteY76" fmla="*/ 6107968 h 6236314"/>
              <a:gd name="connsiteX77" fmla="*/ 218240 w 909803"/>
              <a:gd name="connsiteY77" fmla="*/ 6186446 h 6236314"/>
              <a:gd name="connsiteX78" fmla="*/ 230231 w 909803"/>
              <a:gd name="connsiteY78" fmla="*/ 6236314 h 6236314"/>
              <a:gd name="connsiteX0" fmla="*/ 877324 w 877324"/>
              <a:gd name="connsiteY0" fmla="*/ 0 h 6160942"/>
              <a:gd name="connsiteX1" fmla="*/ 845371 w 877324"/>
              <a:gd name="connsiteY1" fmla="*/ 75682 h 6160942"/>
              <a:gd name="connsiteX2" fmla="*/ 813948 w 877324"/>
              <a:gd name="connsiteY2" fmla="*/ 151668 h 6160942"/>
              <a:gd name="connsiteX3" fmla="*/ 783060 w 877324"/>
              <a:gd name="connsiteY3" fmla="*/ 227951 h 6160942"/>
              <a:gd name="connsiteX4" fmla="*/ 752708 w 877324"/>
              <a:gd name="connsiteY4" fmla="*/ 304522 h 6160942"/>
              <a:gd name="connsiteX5" fmla="*/ 722898 w 877324"/>
              <a:gd name="connsiteY5" fmla="*/ 381376 h 6160942"/>
              <a:gd name="connsiteX6" fmla="*/ 693633 w 877324"/>
              <a:gd name="connsiteY6" fmla="*/ 458504 h 6160942"/>
              <a:gd name="connsiteX7" fmla="*/ 664917 w 877324"/>
              <a:gd name="connsiteY7" fmla="*/ 535900 h 6160942"/>
              <a:gd name="connsiteX8" fmla="*/ 636752 w 877324"/>
              <a:gd name="connsiteY8" fmla="*/ 613556 h 6160942"/>
              <a:gd name="connsiteX9" fmla="*/ 609144 w 877324"/>
              <a:gd name="connsiteY9" fmla="*/ 691466 h 6160942"/>
              <a:gd name="connsiteX10" fmla="*/ 582095 w 877324"/>
              <a:gd name="connsiteY10" fmla="*/ 769621 h 6160942"/>
              <a:gd name="connsiteX11" fmla="*/ 555609 w 877324"/>
              <a:gd name="connsiteY11" fmla="*/ 848016 h 6160942"/>
              <a:gd name="connsiteX12" fmla="*/ 529690 w 877324"/>
              <a:gd name="connsiteY12" fmla="*/ 926641 h 6160942"/>
              <a:gd name="connsiteX13" fmla="*/ 504342 w 877324"/>
              <a:gd name="connsiteY13" fmla="*/ 1005492 h 6160942"/>
              <a:gd name="connsiteX14" fmla="*/ 479568 w 877324"/>
              <a:gd name="connsiteY14" fmla="*/ 1084559 h 6160942"/>
              <a:gd name="connsiteX15" fmla="*/ 455372 w 877324"/>
              <a:gd name="connsiteY15" fmla="*/ 1163836 h 6160942"/>
              <a:gd name="connsiteX16" fmla="*/ 431758 w 877324"/>
              <a:gd name="connsiteY16" fmla="*/ 1243317 h 6160942"/>
              <a:gd name="connsiteX17" fmla="*/ 408729 w 877324"/>
              <a:gd name="connsiteY17" fmla="*/ 1322993 h 6160942"/>
              <a:gd name="connsiteX18" fmla="*/ 386289 w 877324"/>
              <a:gd name="connsiteY18" fmla="*/ 1402857 h 6160942"/>
              <a:gd name="connsiteX19" fmla="*/ 364441 w 877324"/>
              <a:gd name="connsiteY19" fmla="*/ 1482902 h 6160942"/>
              <a:gd name="connsiteX20" fmla="*/ 343190 w 877324"/>
              <a:gd name="connsiteY20" fmla="*/ 1563122 h 6160942"/>
              <a:gd name="connsiteX21" fmla="*/ 322539 w 877324"/>
              <a:gd name="connsiteY21" fmla="*/ 1643508 h 6160942"/>
              <a:gd name="connsiteX22" fmla="*/ 302492 w 877324"/>
              <a:gd name="connsiteY22" fmla="*/ 1724054 h 6160942"/>
              <a:gd name="connsiteX23" fmla="*/ 283052 w 877324"/>
              <a:gd name="connsiteY23" fmla="*/ 1804752 h 6160942"/>
              <a:gd name="connsiteX24" fmla="*/ 264222 w 877324"/>
              <a:gd name="connsiteY24" fmla="*/ 1885596 h 6160942"/>
              <a:gd name="connsiteX25" fmla="*/ 246008 w 877324"/>
              <a:gd name="connsiteY25" fmla="*/ 1966577 h 6160942"/>
              <a:gd name="connsiteX26" fmla="*/ 228412 w 877324"/>
              <a:gd name="connsiteY26" fmla="*/ 2047690 h 6160942"/>
              <a:gd name="connsiteX27" fmla="*/ 211438 w 877324"/>
              <a:gd name="connsiteY27" fmla="*/ 2128926 h 6160942"/>
              <a:gd name="connsiteX28" fmla="*/ 195090 w 877324"/>
              <a:gd name="connsiteY28" fmla="*/ 2210278 h 6160942"/>
              <a:gd name="connsiteX29" fmla="*/ 179371 w 877324"/>
              <a:gd name="connsiteY29" fmla="*/ 2291740 h 6160942"/>
              <a:gd name="connsiteX30" fmla="*/ 164285 w 877324"/>
              <a:gd name="connsiteY30" fmla="*/ 2373304 h 6160942"/>
              <a:gd name="connsiteX31" fmla="*/ 149836 w 877324"/>
              <a:gd name="connsiteY31" fmla="*/ 2454962 h 6160942"/>
              <a:gd name="connsiteX32" fmla="*/ 136027 w 877324"/>
              <a:gd name="connsiteY32" fmla="*/ 2536709 h 6160942"/>
              <a:gd name="connsiteX33" fmla="*/ 122862 w 877324"/>
              <a:gd name="connsiteY33" fmla="*/ 2618535 h 6160942"/>
              <a:gd name="connsiteX34" fmla="*/ 110346 w 877324"/>
              <a:gd name="connsiteY34" fmla="*/ 2700435 h 6160942"/>
              <a:gd name="connsiteX35" fmla="*/ 98480 w 877324"/>
              <a:gd name="connsiteY35" fmla="*/ 2782401 h 6160942"/>
              <a:gd name="connsiteX36" fmla="*/ 87270 w 877324"/>
              <a:gd name="connsiteY36" fmla="*/ 2864426 h 6160942"/>
              <a:gd name="connsiteX37" fmla="*/ 76718 w 877324"/>
              <a:gd name="connsiteY37" fmla="*/ 2946503 h 6160942"/>
              <a:gd name="connsiteX38" fmla="*/ 66829 w 877324"/>
              <a:gd name="connsiteY38" fmla="*/ 3028624 h 6160942"/>
              <a:gd name="connsiteX39" fmla="*/ 57606 w 877324"/>
              <a:gd name="connsiteY39" fmla="*/ 3110782 h 6160942"/>
              <a:gd name="connsiteX40" fmla="*/ 49053 w 877324"/>
              <a:gd name="connsiteY40" fmla="*/ 3192971 h 6160942"/>
              <a:gd name="connsiteX41" fmla="*/ 41174 w 877324"/>
              <a:gd name="connsiteY41" fmla="*/ 3275182 h 6160942"/>
              <a:gd name="connsiteX42" fmla="*/ 33971 w 877324"/>
              <a:gd name="connsiteY42" fmla="*/ 3357409 h 6160942"/>
              <a:gd name="connsiteX43" fmla="*/ 27450 w 877324"/>
              <a:gd name="connsiteY43" fmla="*/ 3439644 h 6160942"/>
              <a:gd name="connsiteX44" fmla="*/ 21613 w 877324"/>
              <a:gd name="connsiteY44" fmla="*/ 3521881 h 6160942"/>
              <a:gd name="connsiteX45" fmla="*/ 16464 w 877324"/>
              <a:gd name="connsiteY45" fmla="*/ 3604112 h 6160942"/>
              <a:gd name="connsiteX46" fmla="*/ 12007 w 877324"/>
              <a:gd name="connsiteY46" fmla="*/ 3686330 h 6160942"/>
              <a:gd name="connsiteX47" fmla="*/ 8245 w 877324"/>
              <a:gd name="connsiteY47" fmla="*/ 3768527 h 6160942"/>
              <a:gd name="connsiteX48" fmla="*/ 5183 w 877324"/>
              <a:gd name="connsiteY48" fmla="*/ 3850697 h 6160942"/>
              <a:gd name="connsiteX49" fmla="*/ 2824 w 877324"/>
              <a:gd name="connsiteY49" fmla="*/ 3932832 h 6160942"/>
              <a:gd name="connsiteX50" fmla="*/ 1171 w 877324"/>
              <a:gd name="connsiteY50" fmla="*/ 4014926 h 6160942"/>
              <a:gd name="connsiteX51" fmla="*/ 228 w 877324"/>
              <a:gd name="connsiteY51" fmla="*/ 4096970 h 6160942"/>
              <a:gd name="connsiteX52" fmla="*/ 0 w 877324"/>
              <a:gd name="connsiteY52" fmla="*/ 4178958 h 6160942"/>
              <a:gd name="connsiteX53" fmla="*/ 488 w 877324"/>
              <a:gd name="connsiteY53" fmla="*/ 4260883 h 6160942"/>
              <a:gd name="connsiteX54" fmla="*/ 1699 w 877324"/>
              <a:gd name="connsiteY54" fmla="*/ 4342737 h 6160942"/>
              <a:gd name="connsiteX55" fmla="*/ 3634 w 877324"/>
              <a:gd name="connsiteY55" fmla="*/ 4424513 h 6160942"/>
              <a:gd name="connsiteX56" fmla="*/ 6297 w 877324"/>
              <a:gd name="connsiteY56" fmla="*/ 4506203 h 6160942"/>
              <a:gd name="connsiteX57" fmla="*/ 9693 w 877324"/>
              <a:gd name="connsiteY57" fmla="*/ 4587802 h 6160942"/>
              <a:gd name="connsiteX58" fmla="*/ 13825 w 877324"/>
              <a:gd name="connsiteY58" fmla="*/ 4669301 h 6160942"/>
              <a:gd name="connsiteX59" fmla="*/ 18697 w 877324"/>
              <a:gd name="connsiteY59" fmla="*/ 4750694 h 6160942"/>
              <a:gd name="connsiteX60" fmla="*/ 24312 w 877324"/>
              <a:gd name="connsiteY60" fmla="*/ 4831972 h 6160942"/>
              <a:gd name="connsiteX61" fmla="*/ 30674 w 877324"/>
              <a:gd name="connsiteY61" fmla="*/ 4913130 h 6160942"/>
              <a:gd name="connsiteX62" fmla="*/ 37786 w 877324"/>
              <a:gd name="connsiteY62" fmla="*/ 4994159 h 6160942"/>
              <a:gd name="connsiteX63" fmla="*/ 45653 w 877324"/>
              <a:gd name="connsiteY63" fmla="*/ 5075053 h 6160942"/>
              <a:gd name="connsiteX64" fmla="*/ 54278 w 877324"/>
              <a:gd name="connsiteY64" fmla="*/ 5155805 h 6160942"/>
              <a:gd name="connsiteX65" fmla="*/ 63665 w 877324"/>
              <a:gd name="connsiteY65" fmla="*/ 5236406 h 6160942"/>
              <a:gd name="connsiteX66" fmla="*/ 73817 w 877324"/>
              <a:gd name="connsiteY66" fmla="*/ 5316850 h 6160942"/>
              <a:gd name="connsiteX67" fmla="*/ 84738 w 877324"/>
              <a:gd name="connsiteY67" fmla="*/ 5397130 h 6160942"/>
              <a:gd name="connsiteX68" fmla="*/ 96432 w 877324"/>
              <a:gd name="connsiteY68" fmla="*/ 5477239 h 6160942"/>
              <a:gd name="connsiteX69" fmla="*/ 108902 w 877324"/>
              <a:gd name="connsiteY69" fmla="*/ 5557169 h 6160942"/>
              <a:gd name="connsiteX70" fmla="*/ 122152 w 877324"/>
              <a:gd name="connsiteY70" fmla="*/ 5636914 h 6160942"/>
              <a:gd name="connsiteX71" fmla="*/ 136186 w 877324"/>
              <a:gd name="connsiteY71" fmla="*/ 5716465 h 6160942"/>
              <a:gd name="connsiteX72" fmla="*/ 151007 w 877324"/>
              <a:gd name="connsiteY72" fmla="*/ 5795816 h 6160942"/>
              <a:gd name="connsiteX73" fmla="*/ 166619 w 877324"/>
              <a:gd name="connsiteY73" fmla="*/ 5874959 h 6160942"/>
              <a:gd name="connsiteX74" fmla="*/ 183027 w 877324"/>
              <a:gd name="connsiteY74" fmla="*/ 5953888 h 6160942"/>
              <a:gd name="connsiteX75" fmla="*/ 200232 w 877324"/>
              <a:gd name="connsiteY75" fmla="*/ 6032596 h 6160942"/>
              <a:gd name="connsiteX76" fmla="*/ 218240 w 877324"/>
              <a:gd name="connsiteY76" fmla="*/ 6111074 h 6160942"/>
              <a:gd name="connsiteX77" fmla="*/ 230231 w 877324"/>
              <a:gd name="connsiteY77" fmla="*/ 6160942 h 6160942"/>
              <a:gd name="connsiteX0" fmla="*/ 845371 w 845371"/>
              <a:gd name="connsiteY0" fmla="*/ 0 h 6085260"/>
              <a:gd name="connsiteX1" fmla="*/ 813948 w 845371"/>
              <a:gd name="connsiteY1" fmla="*/ 75986 h 6085260"/>
              <a:gd name="connsiteX2" fmla="*/ 783060 w 845371"/>
              <a:gd name="connsiteY2" fmla="*/ 152269 h 6085260"/>
              <a:gd name="connsiteX3" fmla="*/ 752708 w 845371"/>
              <a:gd name="connsiteY3" fmla="*/ 228840 h 6085260"/>
              <a:gd name="connsiteX4" fmla="*/ 722898 w 845371"/>
              <a:gd name="connsiteY4" fmla="*/ 305694 h 6085260"/>
              <a:gd name="connsiteX5" fmla="*/ 693633 w 845371"/>
              <a:gd name="connsiteY5" fmla="*/ 382822 h 6085260"/>
              <a:gd name="connsiteX6" fmla="*/ 664917 w 845371"/>
              <a:gd name="connsiteY6" fmla="*/ 460218 h 6085260"/>
              <a:gd name="connsiteX7" fmla="*/ 636752 w 845371"/>
              <a:gd name="connsiteY7" fmla="*/ 537874 h 6085260"/>
              <a:gd name="connsiteX8" fmla="*/ 609144 w 845371"/>
              <a:gd name="connsiteY8" fmla="*/ 615784 h 6085260"/>
              <a:gd name="connsiteX9" fmla="*/ 582095 w 845371"/>
              <a:gd name="connsiteY9" fmla="*/ 693939 h 6085260"/>
              <a:gd name="connsiteX10" fmla="*/ 555609 w 845371"/>
              <a:gd name="connsiteY10" fmla="*/ 772334 h 6085260"/>
              <a:gd name="connsiteX11" fmla="*/ 529690 w 845371"/>
              <a:gd name="connsiteY11" fmla="*/ 850959 h 6085260"/>
              <a:gd name="connsiteX12" fmla="*/ 504342 w 845371"/>
              <a:gd name="connsiteY12" fmla="*/ 929810 h 6085260"/>
              <a:gd name="connsiteX13" fmla="*/ 479568 w 845371"/>
              <a:gd name="connsiteY13" fmla="*/ 1008877 h 6085260"/>
              <a:gd name="connsiteX14" fmla="*/ 455372 w 845371"/>
              <a:gd name="connsiteY14" fmla="*/ 1088154 h 6085260"/>
              <a:gd name="connsiteX15" fmla="*/ 431758 w 845371"/>
              <a:gd name="connsiteY15" fmla="*/ 1167635 h 6085260"/>
              <a:gd name="connsiteX16" fmla="*/ 408729 w 845371"/>
              <a:gd name="connsiteY16" fmla="*/ 1247311 h 6085260"/>
              <a:gd name="connsiteX17" fmla="*/ 386289 w 845371"/>
              <a:gd name="connsiteY17" fmla="*/ 1327175 h 6085260"/>
              <a:gd name="connsiteX18" fmla="*/ 364441 w 845371"/>
              <a:gd name="connsiteY18" fmla="*/ 1407220 h 6085260"/>
              <a:gd name="connsiteX19" fmla="*/ 343190 w 845371"/>
              <a:gd name="connsiteY19" fmla="*/ 1487440 h 6085260"/>
              <a:gd name="connsiteX20" fmla="*/ 322539 w 845371"/>
              <a:gd name="connsiteY20" fmla="*/ 1567826 h 6085260"/>
              <a:gd name="connsiteX21" fmla="*/ 302492 w 845371"/>
              <a:gd name="connsiteY21" fmla="*/ 1648372 h 6085260"/>
              <a:gd name="connsiteX22" fmla="*/ 283052 w 845371"/>
              <a:gd name="connsiteY22" fmla="*/ 1729070 h 6085260"/>
              <a:gd name="connsiteX23" fmla="*/ 264222 w 845371"/>
              <a:gd name="connsiteY23" fmla="*/ 1809914 h 6085260"/>
              <a:gd name="connsiteX24" fmla="*/ 246008 w 845371"/>
              <a:gd name="connsiteY24" fmla="*/ 1890895 h 6085260"/>
              <a:gd name="connsiteX25" fmla="*/ 228412 w 845371"/>
              <a:gd name="connsiteY25" fmla="*/ 1972008 h 6085260"/>
              <a:gd name="connsiteX26" fmla="*/ 211438 w 845371"/>
              <a:gd name="connsiteY26" fmla="*/ 2053244 h 6085260"/>
              <a:gd name="connsiteX27" fmla="*/ 195090 w 845371"/>
              <a:gd name="connsiteY27" fmla="*/ 2134596 h 6085260"/>
              <a:gd name="connsiteX28" fmla="*/ 179371 w 845371"/>
              <a:gd name="connsiteY28" fmla="*/ 2216058 h 6085260"/>
              <a:gd name="connsiteX29" fmla="*/ 164285 w 845371"/>
              <a:gd name="connsiteY29" fmla="*/ 2297622 h 6085260"/>
              <a:gd name="connsiteX30" fmla="*/ 149836 w 845371"/>
              <a:gd name="connsiteY30" fmla="*/ 2379280 h 6085260"/>
              <a:gd name="connsiteX31" fmla="*/ 136027 w 845371"/>
              <a:gd name="connsiteY31" fmla="*/ 2461027 h 6085260"/>
              <a:gd name="connsiteX32" fmla="*/ 122862 w 845371"/>
              <a:gd name="connsiteY32" fmla="*/ 2542853 h 6085260"/>
              <a:gd name="connsiteX33" fmla="*/ 110346 w 845371"/>
              <a:gd name="connsiteY33" fmla="*/ 2624753 h 6085260"/>
              <a:gd name="connsiteX34" fmla="*/ 98480 w 845371"/>
              <a:gd name="connsiteY34" fmla="*/ 2706719 h 6085260"/>
              <a:gd name="connsiteX35" fmla="*/ 87270 w 845371"/>
              <a:gd name="connsiteY35" fmla="*/ 2788744 h 6085260"/>
              <a:gd name="connsiteX36" fmla="*/ 76718 w 845371"/>
              <a:gd name="connsiteY36" fmla="*/ 2870821 h 6085260"/>
              <a:gd name="connsiteX37" fmla="*/ 66829 w 845371"/>
              <a:gd name="connsiteY37" fmla="*/ 2952942 h 6085260"/>
              <a:gd name="connsiteX38" fmla="*/ 57606 w 845371"/>
              <a:gd name="connsiteY38" fmla="*/ 3035100 h 6085260"/>
              <a:gd name="connsiteX39" fmla="*/ 49053 w 845371"/>
              <a:gd name="connsiteY39" fmla="*/ 3117289 h 6085260"/>
              <a:gd name="connsiteX40" fmla="*/ 41174 w 845371"/>
              <a:gd name="connsiteY40" fmla="*/ 3199500 h 6085260"/>
              <a:gd name="connsiteX41" fmla="*/ 33971 w 845371"/>
              <a:gd name="connsiteY41" fmla="*/ 3281727 h 6085260"/>
              <a:gd name="connsiteX42" fmla="*/ 27450 w 845371"/>
              <a:gd name="connsiteY42" fmla="*/ 3363962 h 6085260"/>
              <a:gd name="connsiteX43" fmla="*/ 21613 w 845371"/>
              <a:gd name="connsiteY43" fmla="*/ 3446199 h 6085260"/>
              <a:gd name="connsiteX44" fmla="*/ 16464 w 845371"/>
              <a:gd name="connsiteY44" fmla="*/ 3528430 h 6085260"/>
              <a:gd name="connsiteX45" fmla="*/ 12007 w 845371"/>
              <a:gd name="connsiteY45" fmla="*/ 3610648 h 6085260"/>
              <a:gd name="connsiteX46" fmla="*/ 8245 w 845371"/>
              <a:gd name="connsiteY46" fmla="*/ 3692845 h 6085260"/>
              <a:gd name="connsiteX47" fmla="*/ 5183 w 845371"/>
              <a:gd name="connsiteY47" fmla="*/ 3775015 h 6085260"/>
              <a:gd name="connsiteX48" fmla="*/ 2824 w 845371"/>
              <a:gd name="connsiteY48" fmla="*/ 3857150 h 6085260"/>
              <a:gd name="connsiteX49" fmla="*/ 1171 w 845371"/>
              <a:gd name="connsiteY49" fmla="*/ 3939244 h 6085260"/>
              <a:gd name="connsiteX50" fmla="*/ 228 w 845371"/>
              <a:gd name="connsiteY50" fmla="*/ 4021288 h 6085260"/>
              <a:gd name="connsiteX51" fmla="*/ 0 w 845371"/>
              <a:gd name="connsiteY51" fmla="*/ 4103276 h 6085260"/>
              <a:gd name="connsiteX52" fmla="*/ 488 w 845371"/>
              <a:gd name="connsiteY52" fmla="*/ 4185201 h 6085260"/>
              <a:gd name="connsiteX53" fmla="*/ 1699 w 845371"/>
              <a:gd name="connsiteY53" fmla="*/ 4267055 h 6085260"/>
              <a:gd name="connsiteX54" fmla="*/ 3634 w 845371"/>
              <a:gd name="connsiteY54" fmla="*/ 4348831 h 6085260"/>
              <a:gd name="connsiteX55" fmla="*/ 6297 w 845371"/>
              <a:gd name="connsiteY55" fmla="*/ 4430521 h 6085260"/>
              <a:gd name="connsiteX56" fmla="*/ 9693 w 845371"/>
              <a:gd name="connsiteY56" fmla="*/ 4512120 h 6085260"/>
              <a:gd name="connsiteX57" fmla="*/ 13825 w 845371"/>
              <a:gd name="connsiteY57" fmla="*/ 4593619 h 6085260"/>
              <a:gd name="connsiteX58" fmla="*/ 18697 w 845371"/>
              <a:gd name="connsiteY58" fmla="*/ 4675012 h 6085260"/>
              <a:gd name="connsiteX59" fmla="*/ 24312 w 845371"/>
              <a:gd name="connsiteY59" fmla="*/ 4756290 h 6085260"/>
              <a:gd name="connsiteX60" fmla="*/ 30674 w 845371"/>
              <a:gd name="connsiteY60" fmla="*/ 4837448 h 6085260"/>
              <a:gd name="connsiteX61" fmla="*/ 37786 w 845371"/>
              <a:gd name="connsiteY61" fmla="*/ 4918477 h 6085260"/>
              <a:gd name="connsiteX62" fmla="*/ 45653 w 845371"/>
              <a:gd name="connsiteY62" fmla="*/ 4999371 h 6085260"/>
              <a:gd name="connsiteX63" fmla="*/ 54278 w 845371"/>
              <a:gd name="connsiteY63" fmla="*/ 5080123 h 6085260"/>
              <a:gd name="connsiteX64" fmla="*/ 63665 w 845371"/>
              <a:gd name="connsiteY64" fmla="*/ 5160724 h 6085260"/>
              <a:gd name="connsiteX65" fmla="*/ 73817 w 845371"/>
              <a:gd name="connsiteY65" fmla="*/ 5241168 h 6085260"/>
              <a:gd name="connsiteX66" fmla="*/ 84738 w 845371"/>
              <a:gd name="connsiteY66" fmla="*/ 5321448 h 6085260"/>
              <a:gd name="connsiteX67" fmla="*/ 96432 w 845371"/>
              <a:gd name="connsiteY67" fmla="*/ 5401557 h 6085260"/>
              <a:gd name="connsiteX68" fmla="*/ 108902 w 845371"/>
              <a:gd name="connsiteY68" fmla="*/ 5481487 h 6085260"/>
              <a:gd name="connsiteX69" fmla="*/ 122152 w 845371"/>
              <a:gd name="connsiteY69" fmla="*/ 5561232 h 6085260"/>
              <a:gd name="connsiteX70" fmla="*/ 136186 w 845371"/>
              <a:gd name="connsiteY70" fmla="*/ 5640783 h 6085260"/>
              <a:gd name="connsiteX71" fmla="*/ 151007 w 845371"/>
              <a:gd name="connsiteY71" fmla="*/ 5720134 h 6085260"/>
              <a:gd name="connsiteX72" fmla="*/ 166619 w 845371"/>
              <a:gd name="connsiteY72" fmla="*/ 5799277 h 6085260"/>
              <a:gd name="connsiteX73" fmla="*/ 183027 w 845371"/>
              <a:gd name="connsiteY73" fmla="*/ 5878206 h 6085260"/>
              <a:gd name="connsiteX74" fmla="*/ 200232 w 845371"/>
              <a:gd name="connsiteY74" fmla="*/ 5956914 h 6085260"/>
              <a:gd name="connsiteX75" fmla="*/ 218240 w 845371"/>
              <a:gd name="connsiteY75" fmla="*/ 6035392 h 6085260"/>
              <a:gd name="connsiteX76" fmla="*/ 230231 w 845371"/>
              <a:gd name="connsiteY76" fmla="*/ 6085260 h 6085260"/>
              <a:gd name="connsiteX0" fmla="*/ 813948 w 813948"/>
              <a:gd name="connsiteY0" fmla="*/ 0 h 6009274"/>
              <a:gd name="connsiteX1" fmla="*/ 783060 w 813948"/>
              <a:gd name="connsiteY1" fmla="*/ 76283 h 6009274"/>
              <a:gd name="connsiteX2" fmla="*/ 752708 w 813948"/>
              <a:gd name="connsiteY2" fmla="*/ 152854 h 6009274"/>
              <a:gd name="connsiteX3" fmla="*/ 722898 w 813948"/>
              <a:gd name="connsiteY3" fmla="*/ 229708 h 6009274"/>
              <a:gd name="connsiteX4" fmla="*/ 693633 w 813948"/>
              <a:gd name="connsiteY4" fmla="*/ 306836 h 6009274"/>
              <a:gd name="connsiteX5" fmla="*/ 664917 w 813948"/>
              <a:gd name="connsiteY5" fmla="*/ 384232 h 6009274"/>
              <a:gd name="connsiteX6" fmla="*/ 636752 w 813948"/>
              <a:gd name="connsiteY6" fmla="*/ 461888 h 6009274"/>
              <a:gd name="connsiteX7" fmla="*/ 609144 w 813948"/>
              <a:gd name="connsiteY7" fmla="*/ 539798 h 6009274"/>
              <a:gd name="connsiteX8" fmla="*/ 582095 w 813948"/>
              <a:gd name="connsiteY8" fmla="*/ 617953 h 6009274"/>
              <a:gd name="connsiteX9" fmla="*/ 555609 w 813948"/>
              <a:gd name="connsiteY9" fmla="*/ 696348 h 6009274"/>
              <a:gd name="connsiteX10" fmla="*/ 529690 w 813948"/>
              <a:gd name="connsiteY10" fmla="*/ 774973 h 6009274"/>
              <a:gd name="connsiteX11" fmla="*/ 504342 w 813948"/>
              <a:gd name="connsiteY11" fmla="*/ 853824 h 6009274"/>
              <a:gd name="connsiteX12" fmla="*/ 479568 w 813948"/>
              <a:gd name="connsiteY12" fmla="*/ 932891 h 6009274"/>
              <a:gd name="connsiteX13" fmla="*/ 455372 w 813948"/>
              <a:gd name="connsiteY13" fmla="*/ 1012168 h 6009274"/>
              <a:gd name="connsiteX14" fmla="*/ 431758 w 813948"/>
              <a:gd name="connsiteY14" fmla="*/ 1091649 h 6009274"/>
              <a:gd name="connsiteX15" fmla="*/ 408729 w 813948"/>
              <a:gd name="connsiteY15" fmla="*/ 1171325 h 6009274"/>
              <a:gd name="connsiteX16" fmla="*/ 386289 w 813948"/>
              <a:gd name="connsiteY16" fmla="*/ 1251189 h 6009274"/>
              <a:gd name="connsiteX17" fmla="*/ 364441 w 813948"/>
              <a:gd name="connsiteY17" fmla="*/ 1331234 h 6009274"/>
              <a:gd name="connsiteX18" fmla="*/ 343190 w 813948"/>
              <a:gd name="connsiteY18" fmla="*/ 1411454 h 6009274"/>
              <a:gd name="connsiteX19" fmla="*/ 322539 w 813948"/>
              <a:gd name="connsiteY19" fmla="*/ 1491840 h 6009274"/>
              <a:gd name="connsiteX20" fmla="*/ 302492 w 813948"/>
              <a:gd name="connsiteY20" fmla="*/ 1572386 h 6009274"/>
              <a:gd name="connsiteX21" fmla="*/ 283052 w 813948"/>
              <a:gd name="connsiteY21" fmla="*/ 1653084 h 6009274"/>
              <a:gd name="connsiteX22" fmla="*/ 264222 w 813948"/>
              <a:gd name="connsiteY22" fmla="*/ 1733928 h 6009274"/>
              <a:gd name="connsiteX23" fmla="*/ 246008 w 813948"/>
              <a:gd name="connsiteY23" fmla="*/ 1814909 h 6009274"/>
              <a:gd name="connsiteX24" fmla="*/ 228412 w 813948"/>
              <a:gd name="connsiteY24" fmla="*/ 1896022 h 6009274"/>
              <a:gd name="connsiteX25" fmla="*/ 211438 w 813948"/>
              <a:gd name="connsiteY25" fmla="*/ 1977258 h 6009274"/>
              <a:gd name="connsiteX26" fmla="*/ 195090 w 813948"/>
              <a:gd name="connsiteY26" fmla="*/ 2058610 h 6009274"/>
              <a:gd name="connsiteX27" fmla="*/ 179371 w 813948"/>
              <a:gd name="connsiteY27" fmla="*/ 2140072 h 6009274"/>
              <a:gd name="connsiteX28" fmla="*/ 164285 w 813948"/>
              <a:gd name="connsiteY28" fmla="*/ 2221636 h 6009274"/>
              <a:gd name="connsiteX29" fmla="*/ 149836 w 813948"/>
              <a:gd name="connsiteY29" fmla="*/ 2303294 h 6009274"/>
              <a:gd name="connsiteX30" fmla="*/ 136027 w 813948"/>
              <a:gd name="connsiteY30" fmla="*/ 2385041 h 6009274"/>
              <a:gd name="connsiteX31" fmla="*/ 122862 w 813948"/>
              <a:gd name="connsiteY31" fmla="*/ 2466867 h 6009274"/>
              <a:gd name="connsiteX32" fmla="*/ 110346 w 813948"/>
              <a:gd name="connsiteY32" fmla="*/ 2548767 h 6009274"/>
              <a:gd name="connsiteX33" fmla="*/ 98480 w 813948"/>
              <a:gd name="connsiteY33" fmla="*/ 2630733 h 6009274"/>
              <a:gd name="connsiteX34" fmla="*/ 87270 w 813948"/>
              <a:gd name="connsiteY34" fmla="*/ 2712758 h 6009274"/>
              <a:gd name="connsiteX35" fmla="*/ 76718 w 813948"/>
              <a:gd name="connsiteY35" fmla="*/ 2794835 h 6009274"/>
              <a:gd name="connsiteX36" fmla="*/ 66829 w 813948"/>
              <a:gd name="connsiteY36" fmla="*/ 2876956 h 6009274"/>
              <a:gd name="connsiteX37" fmla="*/ 57606 w 813948"/>
              <a:gd name="connsiteY37" fmla="*/ 2959114 h 6009274"/>
              <a:gd name="connsiteX38" fmla="*/ 49053 w 813948"/>
              <a:gd name="connsiteY38" fmla="*/ 3041303 h 6009274"/>
              <a:gd name="connsiteX39" fmla="*/ 41174 w 813948"/>
              <a:gd name="connsiteY39" fmla="*/ 3123514 h 6009274"/>
              <a:gd name="connsiteX40" fmla="*/ 33971 w 813948"/>
              <a:gd name="connsiteY40" fmla="*/ 3205741 h 6009274"/>
              <a:gd name="connsiteX41" fmla="*/ 27450 w 813948"/>
              <a:gd name="connsiteY41" fmla="*/ 3287976 h 6009274"/>
              <a:gd name="connsiteX42" fmla="*/ 21613 w 813948"/>
              <a:gd name="connsiteY42" fmla="*/ 3370213 h 6009274"/>
              <a:gd name="connsiteX43" fmla="*/ 16464 w 813948"/>
              <a:gd name="connsiteY43" fmla="*/ 3452444 h 6009274"/>
              <a:gd name="connsiteX44" fmla="*/ 12007 w 813948"/>
              <a:gd name="connsiteY44" fmla="*/ 3534662 h 6009274"/>
              <a:gd name="connsiteX45" fmla="*/ 8245 w 813948"/>
              <a:gd name="connsiteY45" fmla="*/ 3616859 h 6009274"/>
              <a:gd name="connsiteX46" fmla="*/ 5183 w 813948"/>
              <a:gd name="connsiteY46" fmla="*/ 3699029 h 6009274"/>
              <a:gd name="connsiteX47" fmla="*/ 2824 w 813948"/>
              <a:gd name="connsiteY47" fmla="*/ 3781164 h 6009274"/>
              <a:gd name="connsiteX48" fmla="*/ 1171 w 813948"/>
              <a:gd name="connsiteY48" fmla="*/ 3863258 h 6009274"/>
              <a:gd name="connsiteX49" fmla="*/ 228 w 813948"/>
              <a:gd name="connsiteY49" fmla="*/ 3945302 h 6009274"/>
              <a:gd name="connsiteX50" fmla="*/ 0 w 813948"/>
              <a:gd name="connsiteY50" fmla="*/ 4027290 h 6009274"/>
              <a:gd name="connsiteX51" fmla="*/ 488 w 813948"/>
              <a:gd name="connsiteY51" fmla="*/ 4109215 h 6009274"/>
              <a:gd name="connsiteX52" fmla="*/ 1699 w 813948"/>
              <a:gd name="connsiteY52" fmla="*/ 4191069 h 6009274"/>
              <a:gd name="connsiteX53" fmla="*/ 3634 w 813948"/>
              <a:gd name="connsiteY53" fmla="*/ 4272845 h 6009274"/>
              <a:gd name="connsiteX54" fmla="*/ 6297 w 813948"/>
              <a:gd name="connsiteY54" fmla="*/ 4354535 h 6009274"/>
              <a:gd name="connsiteX55" fmla="*/ 9693 w 813948"/>
              <a:gd name="connsiteY55" fmla="*/ 4436134 h 6009274"/>
              <a:gd name="connsiteX56" fmla="*/ 13825 w 813948"/>
              <a:gd name="connsiteY56" fmla="*/ 4517633 h 6009274"/>
              <a:gd name="connsiteX57" fmla="*/ 18697 w 813948"/>
              <a:gd name="connsiteY57" fmla="*/ 4599026 h 6009274"/>
              <a:gd name="connsiteX58" fmla="*/ 24312 w 813948"/>
              <a:gd name="connsiteY58" fmla="*/ 4680304 h 6009274"/>
              <a:gd name="connsiteX59" fmla="*/ 30674 w 813948"/>
              <a:gd name="connsiteY59" fmla="*/ 4761462 h 6009274"/>
              <a:gd name="connsiteX60" fmla="*/ 37786 w 813948"/>
              <a:gd name="connsiteY60" fmla="*/ 4842491 h 6009274"/>
              <a:gd name="connsiteX61" fmla="*/ 45653 w 813948"/>
              <a:gd name="connsiteY61" fmla="*/ 4923385 h 6009274"/>
              <a:gd name="connsiteX62" fmla="*/ 54278 w 813948"/>
              <a:gd name="connsiteY62" fmla="*/ 5004137 h 6009274"/>
              <a:gd name="connsiteX63" fmla="*/ 63665 w 813948"/>
              <a:gd name="connsiteY63" fmla="*/ 5084738 h 6009274"/>
              <a:gd name="connsiteX64" fmla="*/ 73817 w 813948"/>
              <a:gd name="connsiteY64" fmla="*/ 5165182 h 6009274"/>
              <a:gd name="connsiteX65" fmla="*/ 84738 w 813948"/>
              <a:gd name="connsiteY65" fmla="*/ 5245462 h 6009274"/>
              <a:gd name="connsiteX66" fmla="*/ 96432 w 813948"/>
              <a:gd name="connsiteY66" fmla="*/ 5325571 h 6009274"/>
              <a:gd name="connsiteX67" fmla="*/ 108902 w 813948"/>
              <a:gd name="connsiteY67" fmla="*/ 5405501 h 6009274"/>
              <a:gd name="connsiteX68" fmla="*/ 122152 w 813948"/>
              <a:gd name="connsiteY68" fmla="*/ 5485246 h 6009274"/>
              <a:gd name="connsiteX69" fmla="*/ 136186 w 813948"/>
              <a:gd name="connsiteY69" fmla="*/ 5564797 h 6009274"/>
              <a:gd name="connsiteX70" fmla="*/ 151007 w 813948"/>
              <a:gd name="connsiteY70" fmla="*/ 5644148 h 6009274"/>
              <a:gd name="connsiteX71" fmla="*/ 166619 w 813948"/>
              <a:gd name="connsiteY71" fmla="*/ 5723291 h 6009274"/>
              <a:gd name="connsiteX72" fmla="*/ 183027 w 813948"/>
              <a:gd name="connsiteY72" fmla="*/ 5802220 h 6009274"/>
              <a:gd name="connsiteX73" fmla="*/ 200232 w 813948"/>
              <a:gd name="connsiteY73" fmla="*/ 5880928 h 6009274"/>
              <a:gd name="connsiteX74" fmla="*/ 218240 w 813948"/>
              <a:gd name="connsiteY74" fmla="*/ 5959406 h 6009274"/>
              <a:gd name="connsiteX75" fmla="*/ 230231 w 813948"/>
              <a:gd name="connsiteY75" fmla="*/ 6009274 h 6009274"/>
              <a:gd name="connsiteX0" fmla="*/ 813948 w 813948"/>
              <a:gd name="connsiteY0" fmla="*/ 0 h 5959406"/>
              <a:gd name="connsiteX1" fmla="*/ 783060 w 813948"/>
              <a:gd name="connsiteY1" fmla="*/ 76283 h 5959406"/>
              <a:gd name="connsiteX2" fmla="*/ 752708 w 813948"/>
              <a:gd name="connsiteY2" fmla="*/ 152854 h 5959406"/>
              <a:gd name="connsiteX3" fmla="*/ 722898 w 813948"/>
              <a:gd name="connsiteY3" fmla="*/ 229708 h 5959406"/>
              <a:gd name="connsiteX4" fmla="*/ 693633 w 813948"/>
              <a:gd name="connsiteY4" fmla="*/ 306836 h 5959406"/>
              <a:gd name="connsiteX5" fmla="*/ 664917 w 813948"/>
              <a:gd name="connsiteY5" fmla="*/ 384232 h 5959406"/>
              <a:gd name="connsiteX6" fmla="*/ 636752 w 813948"/>
              <a:gd name="connsiteY6" fmla="*/ 461888 h 5959406"/>
              <a:gd name="connsiteX7" fmla="*/ 609144 w 813948"/>
              <a:gd name="connsiteY7" fmla="*/ 539798 h 5959406"/>
              <a:gd name="connsiteX8" fmla="*/ 582095 w 813948"/>
              <a:gd name="connsiteY8" fmla="*/ 617953 h 5959406"/>
              <a:gd name="connsiteX9" fmla="*/ 555609 w 813948"/>
              <a:gd name="connsiteY9" fmla="*/ 696348 h 5959406"/>
              <a:gd name="connsiteX10" fmla="*/ 529690 w 813948"/>
              <a:gd name="connsiteY10" fmla="*/ 774973 h 5959406"/>
              <a:gd name="connsiteX11" fmla="*/ 504342 w 813948"/>
              <a:gd name="connsiteY11" fmla="*/ 853824 h 5959406"/>
              <a:gd name="connsiteX12" fmla="*/ 479568 w 813948"/>
              <a:gd name="connsiteY12" fmla="*/ 932891 h 5959406"/>
              <a:gd name="connsiteX13" fmla="*/ 455372 w 813948"/>
              <a:gd name="connsiteY13" fmla="*/ 1012168 h 5959406"/>
              <a:gd name="connsiteX14" fmla="*/ 431758 w 813948"/>
              <a:gd name="connsiteY14" fmla="*/ 1091649 h 5959406"/>
              <a:gd name="connsiteX15" fmla="*/ 408729 w 813948"/>
              <a:gd name="connsiteY15" fmla="*/ 1171325 h 5959406"/>
              <a:gd name="connsiteX16" fmla="*/ 386289 w 813948"/>
              <a:gd name="connsiteY16" fmla="*/ 1251189 h 5959406"/>
              <a:gd name="connsiteX17" fmla="*/ 364441 w 813948"/>
              <a:gd name="connsiteY17" fmla="*/ 1331234 h 5959406"/>
              <a:gd name="connsiteX18" fmla="*/ 343190 w 813948"/>
              <a:gd name="connsiteY18" fmla="*/ 1411454 h 5959406"/>
              <a:gd name="connsiteX19" fmla="*/ 322539 w 813948"/>
              <a:gd name="connsiteY19" fmla="*/ 1491840 h 5959406"/>
              <a:gd name="connsiteX20" fmla="*/ 302492 w 813948"/>
              <a:gd name="connsiteY20" fmla="*/ 1572386 h 5959406"/>
              <a:gd name="connsiteX21" fmla="*/ 283052 w 813948"/>
              <a:gd name="connsiteY21" fmla="*/ 1653084 h 5959406"/>
              <a:gd name="connsiteX22" fmla="*/ 264222 w 813948"/>
              <a:gd name="connsiteY22" fmla="*/ 1733928 h 5959406"/>
              <a:gd name="connsiteX23" fmla="*/ 246008 w 813948"/>
              <a:gd name="connsiteY23" fmla="*/ 1814909 h 5959406"/>
              <a:gd name="connsiteX24" fmla="*/ 228412 w 813948"/>
              <a:gd name="connsiteY24" fmla="*/ 1896022 h 5959406"/>
              <a:gd name="connsiteX25" fmla="*/ 211438 w 813948"/>
              <a:gd name="connsiteY25" fmla="*/ 1977258 h 5959406"/>
              <a:gd name="connsiteX26" fmla="*/ 195090 w 813948"/>
              <a:gd name="connsiteY26" fmla="*/ 2058610 h 5959406"/>
              <a:gd name="connsiteX27" fmla="*/ 179371 w 813948"/>
              <a:gd name="connsiteY27" fmla="*/ 2140072 h 5959406"/>
              <a:gd name="connsiteX28" fmla="*/ 164285 w 813948"/>
              <a:gd name="connsiteY28" fmla="*/ 2221636 h 5959406"/>
              <a:gd name="connsiteX29" fmla="*/ 149836 w 813948"/>
              <a:gd name="connsiteY29" fmla="*/ 2303294 h 5959406"/>
              <a:gd name="connsiteX30" fmla="*/ 136027 w 813948"/>
              <a:gd name="connsiteY30" fmla="*/ 2385041 h 5959406"/>
              <a:gd name="connsiteX31" fmla="*/ 122862 w 813948"/>
              <a:gd name="connsiteY31" fmla="*/ 2466867 h 5959406"/>
              <a:gd name="connsiteX32" fmla="*/ 110346 w 813948"/>
              <a:gd name="connsiteY32" fmla="*/ 2548767 h 5959406"/>
              <a:gd name="connsiteX33" fmla="*/ 98480 w 813948"/>
              <a:gd name="connsiteY33" fmla="*/ 2630733 h 5959406"/>
              <a:gd name="connsiteX34" fmla="*/ 87270 w 813948"/>
              <a:gd name="connsiteY34" fmla="*/ 2712758 h 5959406"/>
              <a:gd name="connsiteX35" fmla="*/ 76718 w 813948"/>
              <a:gd name="connsiteY35" fmla="*/ 2794835 h 5959406"/>
              <a:gd name="connsiteX36" fmla="*/ 66829 w 813948"/>
              <a:gd name="connsiteY36" fmla="*/ 2876956 h 5959406"/>
              <a:gd name="connsiteX37" fmla="*/ 57606 w 813948"/>
              <a:gd name="connsiteY37" fmla="*/ 2959114 h 5959406"/>
              <a:gd name="connsiteX38" fmla="*/ 49053 w 813948"/>
              <a:gd name="connsiteY38" fmla="*/ 3041303 h 5959406"/>
              <a:gd name="connsiteX39" fmla="*/ 41174 w 813948"/>
              <a:gd name="connsiteY39" fmla="*/ 3123514 h 5959406"/>
              <a:gd name="connsiteX40" fmla="*/ 33971 w 813948"/>
              <a:gd name="connsiteY40" fmla="*/ 3205741 h 5959406"/>
              <a:gd name="connsiteX41" fmla="*/ 27450 w 813948"/>
              <a:gd name="connsiteY41" fmla="*/ 3287976 h 5959406"/>
              <a:gd name="connsiteX42" fmla="*/ 21613 w 813948"/>
              <a:gd name="connsiteY42" fmla="*/ 3370213 h 5959406"/>
              <a:gd name="connsiteX43" fmla="*/ 16464 w 813948"/>
              <a:gd name="connsiteY43" fmla="*/ 3452444 h 5959406"/>
              <a:gd name="connsiteX44" fmla="*/ 12007 w 813948"/>
              <a:gd name="connsiteY44" fmla="*/ 3534662 h 5959406"/>
              <a:gd name="connsiteX45" fmla="*/ 8245 w 813948"/>
              <a:gd name="connsiteY45" fmla="*/ 3616859 h 5959406"/>
              <a:gd name="connsiteX46" fmla="*/ 5183 w 813948"/>
              <a:gd name="connsiteY46" fmla="*/ 3699029 h 5959406"/>
              <a:gd name="connsiteX47" fmla="*/ 2824 w 813948"/>
              <a:gd name="connsiteY47" fmla="*/ 3781164 h 5959406"/>
              <a:gd name="connsiteX48" fmla="*/ 1171 w 813948"/>
              <a:gd name="connsiteY48" fmla="*/ 3863258 h 5959406"/>
              <a:gd name="connsiteX49" fmla="*/ 228 w 813948"/>
              <a:gd name="connsiteY49" fmla="*/ 3945302 h 5959406"/>
              <a:gd name="connsiteX50" fmla="*/ 0 w 813948"/>
              <a:gd name="connsiteY50" fmla="*/ 4027290 h 5959406"/>
              <a:gd name="connsiteX51" fmla="*/ 488 w 813948"/>
              <a:gd name="connsiteY51" fmla="*/ 4109215 h 5959406"/>
              <a:gd name="connsiteX52" fmla="*/ 1699 w 813948"/>
              <a:gd name="connsiteY52" fmla="*/ 4191069 h 5959406"/>
              <a:gd name="connsiteX53" fmla="*/ 3634 w 813948"/>
              <a:gd name="connsiteY53" fmla="*/ 4272845 h 5959406"/>
              <a:gd name="connsiteX54" fmla="*/ 6297 w 813948"/>
              <a:gd name="connsiteY54" fmla="*/ 4354535 h 5959406"/>
              <a:gd name="connsiteX55" fmla="*/ 9693 w 813948"/>
              <a:gd name="connsiteY55" fmla="*/ 4436134 h 5959406"/>
              <a:gd name="connsiteX56" fmla="*/ 13825 w 813948"/>
              <a:gd name="connsiteY56" fmla="*/ 4517633 h 5959406"/>
              <a:gd name="connsiteX57" fmla="*/ 18697 w 813948"/>
              <a:gd name="connsiteY57" fmla="*/ 4599026 h 5959406"/>
              <a:gd name="connsiteX58" fmla="*/ 24312 w 813948"/>
              <a:gd name="connsiteY58" fmla="*/ 4680304 h 5959406"/>
              <a:gd name="connsiteX59" fmla="*/ 30674 w 813948"/>
              <a:gd name="connsiteY59" fmla="*/ 4761462 h 5959406"/>
              <a:gd name="connsiteX60" fmla="*/ 37786 w 813948"/>
              <a:gd name="connsiteY60" fmla="*/ 4842491 h 5959406"/>
              <a:gd name="connsiteX61" fmla="*/ 45653 w 813948"/>
              <a:gd name="connsiteY61" fmla="*/ 4923385 h 5959406"/>
              <a:gd name="connsiteX62" fmla="*/ 54278 w 813948"/>
              <a:gd name="connsiteY62" fmla="*/ 5004137 h 5959406"/>
              <a:gd name="connsiteX63" fmla="*/ 63665 w 813948"/>
              <a:gd name="connsiteY63" fmla="*/ 5084738 h 5959406"/>
              <a:gd name="connsiteX64" fmla="*/ 73817 w 813948"/>
              <a:gd name="connsiteY64" fmla="*/ 5165182 h 5959406"/>
              <a:gd name="connsiteX65" fmla="*/ 84738 w 813948"/>
              <a:gd name="connsiteY65" fmla="*/ 5245462 h 5959406"/>
              <a:gd name="connsiteX66" fmla="*/ 96432 w 813948"/>
              <a:gd name="connsiteY66" fmla="*/ 5325571 h 5959406"/>
              <a:gd name="connsiteX67" fmla="*/ 108902 w 813948"/>
              <a:gd name="connsiteY67" fmla="*/ 5405501 h 5959406"/>
              <a:gd name="connsiteX68" fmla="*/ 122152 w 813948"/>
              <a:gd name="connsiteY68" fmla="*/ 5485246 h 5959406"/>
              <a:gd name="connsiteX69" fmla="*/ 136186 w 813948"/>
              <a:gd name="connsiteY69" fmla="*/ 5564797 h 5959406"/>
              <a:gd name="connsiteX70" fmla="*/ 151007 w 813948"/>
              <a:gd name="connsiteY70" fmla="*/ 5644148 h 5959406"/>
              <a:gd name="connsiteX71" fmla="*/ 166619 w 813948"/>
              <a:gd name="connsiteY71" fmla="*/ 5723291 h 5959406"/>
              <a:gd name="connsiteX72" fmla="*/ 183027 w 813948"/>
              <a:gd name="connsiteY72" fmla="*/ 5802220 h 5959406"/>
              <a:gd name="connsiteX73" fmla="*/ 200232 w 813948"/>
              <a:gd name="connsiteY73" fmla="*/ 5880928 h 5959406"/>
              <a:gd name="connsiteX74" fmla="*/ 218240 w 813948"/>
              <a:gd name="connsiteY74" fmla="*/ 5959406 h 5959406"/>
              <a:gd name="connsiteX0" fmla="*/ 813948 w 813948"/>
              <a:gd name="connsiteY0" fmla="*/ 0 h 5880928"/>
              <a:gd name="connsiteX1" fmla="*/ 783060 w 813948"/>
              <a:gd name="connsiteY1" fmla="*/ 76283 h 5880928"/>
              <a:gd name="connsiteX2" fmla="*/ 752708 w 813948"/>
              <a:gd name="connsiteY2" fmla="*/ 152854 h 5880928"/>
              <a:gd name="connsiteX3" fmla="*/ 722898 w 813948"/>
              <a:gd name="connsiteY3" fmla="*/ 229708 h 5880928"/>
              <a:gd name="connsiteX4" fmla="*/ 693633 w 813948"/>
              <a:gd name="connsiteY4" fmla="*/ 306836 h 5880928"/>
              <a:gd name="connsiteX5" fmla="*/ 664917 w 813948"/>
              <a:gd name="connsiteY5" fmla="*/ 384232 h 5880928"/>
              <a:gd name="connsiteX6" fmla="*/ 636752 w 813948"/>
              <a:gd name="connsiteY6" fmla="*/ 461888 h 5880928"/>
              <a:gd name="connsiteX7" fmla="*/ 609144 w 813948"/>
              <a:gd name="connsiteY7" fmla="*/ 539798 h 5880928"/>
              <a:gd name="connsiteX8" fmla="*/ 582095 w 813948"/>
              <a:gd name="connsiteY8" fmla="*/ 617953 h 5880928"/>
              <a:gd name="connsiteX9" fmla="*/ 555609 w 813948"/>
              <a:gd name="connsiteY9" fmla="*/ 696348 h 5880928"/>
              <a:gd name="connsiteX10" fmla="*/ 529690 w 813948"/>
              <a:gd name="connsiteY10" fmla="*/ 774973 h 5880928"/>
              <a:gd name="connsiteX11" fmla="*/ 504342 w 813948"/>
              <a:gd name="connsiteY11" fmla="*/ 853824 h 5880928"/>
              <a:gd name="connsiteX12" fmla="*/ 479568 w 813948"/>
              <a:gd name="connsiteY12" fmla="*/ 932891 h 5880928"/>
              <a:gd name="connsiteX13" fmla="*/ 455372 w 813948"/>
              <a:gd name="connsiteY13" fmla="*/ 1012168 h 5880928"/>
              <a:gd name="connsiteX14" fmla="*/ 431758 w 813948"/>
              <a:gd name="connsiteY14" fmla="*/ 1091649 h 5880928"/>
              <a:gd name="connsiteX15" fmla="*/ 408729 w 813948"/>
              <a:gd name="connsiteY15" fmla="*/ 1171325 h 5880928"/>
              <a:gd name="connsiteX16" fmla="*/ 386289 w 813948"/>
              <a:gd name="connsiteY16" fmla="*/ 1251189 h 5880928"/>
              <a:gd name="connsiteX17" fmla="*/ 364441 w 813948"/>
              <a:gd name="connsiteY17" fmla="*/ 1331234 h 5880928"/>
              <a:gd name="connsiteX18" fmla="*/ 343190 w 813948"/>
              <a:gd name="connsiteY18" fmla="*/ 1411454 h 5880928"/>
              <a:gd name="connsiteX19" fmla="*/ 322539 w 813948"/>
              <a:gd name="connsiteY19" fmla="*/ 1491840 h 5880928"/>
              <a:gd name="connsiteX20" fmla="*/ 302492 w 813948"/>
              <a:gd name="connsiteY20" fmla="*/ 1572386 h 5880928"/>
              <a:gd name="connsiteX21" fmla="*/ 283052 w 813948"/>
              <a:gd name="connsiteY21" fmla="*/ 1653084 h 5880928"/>
              <a:gd name="connsiteX22" fmla="*/ 264222 w 813948"/>
              <a:gd name="connsiteY22" fmla="*/ 1733928 h 5880928"/>
              <a:gd name="connsiteX23" fmla="*/ 246008 w 813948"/>
              <a:gd name="connsiteY23" fmla="*/ 1814909 h 5880928"/>
              <a:gd name="connsiteX24" fmla="*/ 228412 w 813948"/>
              <a:gd name="connsiteY24" fmla="*/ 1896022 h 5880928"/>
              <a:gd name="connsiteX25" fmla="*/ 211438 w 813948"/>
              <a:gd name="connsiteY25" fmla="*/ 1977258 h 5880928"/>
              <a:gd name="connsiteX26" fmla="*/ 195090 w 813948"/>
              <a:gd name="connsiteY26" fmla="*/ 2058610 h 5880928"/>
              <a:gd name="connsiteX27" fmla="*/ 179371 w 813948"/>
              <a:gd name="connsiteY27" fmla="*/ 2140072 h 5880928"/>
              <a:gd name="connsiteX28" fmla="*/ 164285 w 813948"/>
              <a:gd name="connsiteY28" fmla="*/ 2221636 h 5880928"/>
              <a:gd name="connsiteX29" fmla="*/ 149836 w 813948"/>
              <a:gd name="connsiteY29" fmla="*/ 2303294 h 5880928"/>
              <a:gd name="connsiteX30" fmla="*/ 136027 w 813948"/>
              <a:gd name="connsiteY30" fmla="*/ 2385041 h 5880928"/>
              <a:gd name="connsiteX31" fmla="*/ 122862 w 813948"/>
              <a:gd name="connsiteY31" fmla="*/ 2466867 h 5880928"/>
              <a:gd name="connsiteX32" fmla="*/ 110346 w 813948"/>
              <a:gd name="connsiteY32" fmla="*/ 2548767 h 5880928"/>
              <a:gd name="connsiteX33" fmla="*/ 98480 w 813948"/>
              <a:gd name="connsiteY33" fmla="*/ 2630733 h 5880928"/>
              <a:gd name="connsiteX34" fmla="*/ 87270 w 813948"/>
              <a:gd name="connsiteY34" fmla="*/ 2712758 h 5880928"/>
              <a:gd name="connsiteX35" fmla="*/ 76718 w 813948"/>
              <a:gd name="connsiteY35" fmla="*/ 2794835 h 5880928"/>
              <a:gd name="connsiteX36" fmla="*/ 66829 w 813948"/>
              <a:gd name="connsiteY36" fmla="*/ 2876956 h 5880928"/>
              <a:gd name="connsiteX37" fmla="*/ 57606 w 813948"/>
              <a:gd name="connsiteY37" fmla="*/ 2959114 h 5880928"/>
              <a:gd name="connsiteX38" fmla="*/ 49053 w 813948"/>
              <a:gd name="connsiteY38" fmla="*/ 3041303 h 5880928"/>
              <a:gd name="connsiteX39" fmla="*/ 41174 w 813948"/>
              <a:gd name="connsiteY39" fmla="*/ 3123514 h 5880928"/>
              <a:gd name="connsiteX40" fmla="*/ 33971 w 813948"/>
              <a:gd name="connsiteY40" fmla="*/ 3205741 h 5880928"/>
              <a:gd name="connsiteX41" fmla="*/ 27450 w 813948"/>
              <a:gd name="connsiteY41" fmla="*/ 3287976 h 5880928"/>
              <a:gd name="connsiteX42" fmla="*/ 21613 w 813948"/>
              <a:gd name="connsiteY42" fmla="*/ 3370213 h 5880928"/>
              <a:gd name="connsiteX43" fmla="*/ 16464 w 813948"/>
              <a:gd name="connsiteY43" fmla="*/ 3452444 h 5880928"/>
              <a:gd name="connsiteX44" fmla="*/ 12007 w 813948"/>
              <a:gd name="connsiteY44" fmla="*/ 3534662 h 5880928"/>
              <a:gd name="connsiteX45" fmla="*/ 8245 w 813948"/>
              <a:gd name="connsiteY45" fmla="*/ 3616859 h 5880928"/>
              <a:gd name="connsiteX46" fmla="*/ 5183 w 813948"/>
              <a:gd name="connsiteY46" fmla="*/ 3699029 h 5880928"/>
              <a:gd name="connsiteX47" fmla="*/ 2824 w 813948"/>
              <a:gd name="connsiteY47" fmla="*/ 3781164 h 5880928"/>
              <a:gd name="connsiteX48" fmla="*/ 1171 w 813948"/>
              <a:gd name="connsiteY48" fmla="*/ 3863258 h 5880928"/>
              <a:gd name="connsiteX49" fmla="*/ 228 w 813948"/>
              <a:gd name="connsiteY49" fmla="*/ 3945302 h 5880928"/>
              <a:gd name="connsiteX50" fmla="*/ 0 w 813948"/>
              <a:gd name="connsiteY50" fmla="*/ 4027290 h 5880928"/>
              <a:gd name="connsiteX51" fmla="*/ 488 w 813948"/>
              <a:gd name="connsiteY51" fmla="*/ 4109215 h 5880928"/>
              <a:gd name="connsiteX52" fmla="*/ 1699 w 813948"/>
              <a:gd name="connsiteY52" fmla="*/ 4191069 h 5880928"/>
              <a:gd name="connsiteX53" fmla="*/ 3634 w 813948"/>
              <a:gd name="connsiteY53" fmla="*/ 4272845 h 5880928"/>
              <a:gd name="connsiteX54" fmla="*/ 6297 w 813948"/>
              <a:gd name="connsiteY54" fmla="*/ 4354535 h 5880928"/>
              <a:gd name="connsiteX55" fmla="*/ 9693 w 813948"/>
              <a:gd name="connsiteY55" fmla="*/ 4436134 h 5880928"/>
              <a:gd name="connsiteX56" fmla="*/ 13825 w 813948"/>
              <a:gd name="connsiteY56" fmla="*/ 4517633 h 5880928"/>
              <a:gd name="connsiteX57" fmla="*/ 18697 w 813948"/>
              <a:gd name="connsiteY57" fmla="*/ 4599026 h 5880928"/>
              <a:gd name="connsiteX58" fmla="*/ 24312 w 813948"/>
              <a:gd name="connsiteY58" fmla="*/ 4680304 h 5880928"/>
              <a:gd name="connsiteX59" fmla="*/ 30674 w 813948"/>
              <a:gd name="connsiteY59" fmla="*/ 4761462 h 5880928"/>
              <a:gd name="connsiteX60" fmla="*/ 37786 w 813948"/>
              <a:gd name="connsiteY60" fmla="*/ 4842491 h 5880928"/>
              <a:gd name="connsiteX61" fmla="*/ 45653 w 813948"/>
              <a:gd name="connsiteY61" fmla="*/ 4923385 h 5880928"/>
              <a:gd name="connsiteX62" fmla="*/ 54278 w 813948"/>
              <a:gd name="connsiteY62" fmla="*/ 5004137 h 5880928"/>
              <a:gd name="connsiteX63" fmla="*/ 63665 w 813948"/>
              <a:gd name="connsiteY63" fmla="*/ 5084738 h 5880928"/>
              <a:gd name="connsiteX64" fmla="*/ 73817 w 813948"/>
              <a:gd name="connsiteY64" fmla="*/ 5165182 h 5880928"/>
              <a:gd name="connsiteX65" fmla="*/ 84738 w 813948"/>
              <a:gd name="connsiteY65" fmla="*/ 5245462 h 5880928"/>
              <a:gd name="connsiteX66" fmla="*/ 96432 w 813948"/>
              <a:gd name="connsiteY66" fmla="*/ 5325571 h 5880928"/>
              <a:gd name="connsiteX67" fmla="*/ 108902 w 813948"/>
              <a:gd name="connsiteY67" fmla="*/ 5405501 h 5880928"/>
              <a:gd name="connsiteX68" fmla="*/ 122152 w 813948"/>
              <a:gd name="connsiteY68" fmla="*/ 5485246 h 5880928"/>
              <a:gd name="connsiteX69" fmla="*/ 136186 w 813948"/>
              <a:gd name="connsiteY69" fmla="*/ 5564797 h 5880928"/>
              <a:gd name="connsiteX70" fmla="*/ 151007 w 813948"/>
              <a:gd name="connsiteY70" fmla="*/ 5644148 h 5880928"/>
              <a:gd name="connsiteX71" fmla="*/ 166619 w 813948"/>
              <a:gd name="connsiteY71" fmla="*/ 5723291 h 5880928"/>
              <a:gd name="connsiteX72" fmla="*/ 183027 w 813948"/>
              <a:gd name="connsiteY72" fmla="*/ 5802220 h 5880928"/>
              <a:gd name="connsiteX73" fmla="*/ 200232 w 813948"/>
              <a:gd name="connsiteY73" fmla="*/ 5880928 h 5880928"/>
              <a:gd name="connsiteX0" fmla="*/ 813948 w 813948"/>
              <a:gd name="connsiteY0" fmla="*/ 0 h 5802220"/>
              <a:gd name="connsiteX1" fmla="*/ 783060 w 813948"/>
              <a:gd name="connsiteY1" fmla="*/ 76283 h 5802220"/>
              <a:gd name="connsiteX2" fmla="*/ 752708 w 813948"/>
              <a:gd name="connsiteY2" fmla="*/ 152854 h 5802220"/>
              <a:gd name="connsiteX3" fmla="*/ 722898 w 813948"/>
              <a:gd name="connsiteY3" fmla="*/ 229708 h 5802220"/>
              <a:gd name="connsiteX4" fmla="*/ 693633 w 813948"/>
              <a:gd name="connsiteY4" fmla="*/ 306836 h 5802220"/>
              <a:gd name="connsiteX5" fmla="*/ 664917 w 813948"/>
              <a:gd name="connsiteY5" fmla="*/ 384232 h 5802220"/>
              <a:gd name="connsiteX6" fmla="*/ 636752 w 813948"/>
              <a:gd name="connsiteY6" fmla="*/ 461888 h 5802220"/>
              <a:gd name="connsiteX7" fmla="*/ 609144 w 813948"/>
              <a:gd name="connsiteY7" fmla="*/ 539798 h 5802220"/>
              <a:gd name="connsiteX8" fmla="*/ 582095 w 813948"/>
              <a:gd name="connsiteY8" fmla="*/ 617953 h 5802220"/>
              <a:gd name="connsiteX9" fmla="*/ 555609 w 813948"/>
              <a:gd name="connsiteY9" fmla="*/ 696348 h 5802220"/>
              <a:gd name="connsiteX10" fmla="*/ 529690 w 813948"/>
              <a:gd name="connsiteY10" fmla="*/ 774973 h 5802220"/>
              <a:gd name="connsiteX11" fmla="*/ 504342 w 813948"/>
              <a:gd name="connsiteY11" fmla="*/ 853824 h 5802220"/>
              <a:gd name="connsiteX12" fmla="*/ 479568 w 813948"/>
              <a:gd name="connsiteY12" fmla="*/ 932891 h 5802220"/>
              <a:gd name="connsiteX13" fmla="*/ 455372 w 813948"/>
              <a:gd name="connsiteY13" fmla="*/ 1012168 h 5802220"/>
              <a:gd name="connsiteX14" fmla="*/ 431758 w 813948"/>
              <a:gd name="connsiteY14" fmla="*/ 1091649 h 5802220"/>
              <a:gd name="connsiteX15" fmla="*/ 408729 w 813948"/>
              <a:gd name="connsiteY15" fmla="*/ 1171325 h 5802220"/>
              <a:gd name="connsiteX16" fmla="*/ 386289 w 813948"/>
              <a:gd name="connsiteY16" fmla="*/ 1251189 h 5802220"/>
              <a:gd name="connsiteX17" fmla="*/ 364441 w 813948"/>
              <a:gd name="connsiteY17" fmla="*/ 1331234 h 5802220"/>
              <a:gd name="connsiteX18" fmla="*/ 343190 w 813948"/>
              <a:gd name="connsiteY18" fmla="*/ 1411454 h 5802220"/>
              <a:gd name="connsiteX19" fmla="*/ 322539 w 813948"/>
              <a:gd name="connsiteY19" fmla="*/ 1491840 h 5802220"/>
              <a:gd name="connsiteX20" fmla="*/ 302492 w 813948"/>
              <a:gd name="connsiteY20" fmla="*/ 1572386 h 5802220"/>
              <a:gd name="connsiteX21" fmla="*/ 283052 w 813948"/>
              <a:gd name="connsiteY21" fmla="*/ 1653084 h 5802220"/>
              <a:gd name="connsiteX22" fmla="*/ 264222 w 813948"/>
              <a:gd name="connsiteY22" fmla="*/ 1733928 h 5802220"/>
              <a:gd name="connsiteX23" fmla="*/ 246008 w 813948"/>
              <a:gd name="connsiteY23" fmla="*/ 1814909 h 5802220"/>
              <a:gd name="connsiteX24" fmla="*/ 228412 w 813948"/>
              <a:gd name="connsiteY24" fmla="*/ 1896022 h 5802220"/>
              <a:gd name="connsiteX25" fmla="*/ 211438 w 813948"/>
              <a:gd name="connsiteY25" fmla="*/ 1977258 h 5802220"/>
              <a:gd name="connsiteX26" fmla="*/ 195090 w 813948"/>
              <a:gd name="connsiteY26" fmla="*/ 2058610 h 5802220"/>
              <a:gd name="connsiteX27" fmla="*/ 179371 w 813948"/>
              <a:gd name="connsiteY27" fmla="*/ 2140072 h 5802220"/>
              <a:gd name="connsiteX28" fmla="*/ 164285 w 813948"/>
              <a:gd name="connsiteY28" fmla="*/ 2221636 h 5802220"/>
              <a:gd name="connsiteX29" fmla="*/ 149836 w 813948"/>
              <a:gd name="connsiteY29" fmla="*/ 2303294 h 5802220"/>
              <a:gd name="connsiteX30" fmla="*/ 136027 w 813948"/>
              <a:gd name="connsiteY30" fmla="*/ 2385041 h 5802220"/>
              <a:gd name="connsiteX31" fmla="*/ 122862 w 813948"/>
              <a:gd name="connsiteY31" fmla="*/ 2466867 h 5802220"/>
              <a:gd name="connsiteX32" fmla="*/ 110346 w 813948"/>
              <a:gd name="connsiteY32" fmla="*/ 2548767 h 5802220"/>
              <a:gd name="connsiteX33" fmla="*/ 98480 w 813948"/>
              <a:gd name="connsiteY33" fmla="*/ 2630733 h 5802220"/>
              <a:gd name="connsiteX34" fmla="*/ 87270 w 813948"/>
              <a:gd name="connsiteY34" fmla="*/ 2712758 h 5802220"/>
              <a:gd name="connsiteX35" fmla="*/ 76718 w 813948"/>
              <a:gd name="connsiteY35" fmla="*/ 2794835 h 5802220"/>
              <a:gd name="connsiteX36" fmla="*/ 66829 w 813948"/>
              <a:gd name="connsiteY36" fmla="*/ 2876956 h 5802220"/>
              <a:gd name="connsiteX37" fmla="*/ 57606 w 813948"/>
              <a:gd name="connsiteY37" fmla="*/ 2959114 h 5802220"/>
              <a:gd name="connsiteX38" fmla="*/ 49053 w 813948"/>
              <a:gd name="connsiteY38" fmla="*/ 3041303 h 5802220"/>
              <a:gd name="connsiteX39" fmla="*/ 41174 w 813948"/>
              <a:gd name="connsiteY39" fmla="*/ 3123514 h 5802220"/>
              <a:gd name="connsiteX40" fmla="*/ 33971 w 813948"/>
              <a:gd name="connsiteY40" fmla="*/ 3205741 h 5802220"/>
              <a:gd name="connsiteX41" fmla="*/ 27450 w 813948"/>
              <a:gd name="connsiteY41" fmla="*/ 3287976 h 5802220"/>
              <a:gd name="connsiteX42" fmla="*/ 21613 w 813948"/>
              <a:gd name="connsiteY42" fmla="*/ 3370213 h 5802220"/>
              <a:gd name="connsiteX43" fmla="*/ 16464 w 813948"/>
              <a:gd name="connsiteY43" fmla="*/ 3452444 h 5802220"/>
              <a:gd name="connsiteX44" fmla="*/ 12007 w 813948"/>
              <a:gd name="connsiteY44" fmla="*/ 3534662 h 5802220"/>
              <a:gd name="connsiteX45" fmla="*/ 8245 w 813948"/>
              <a:gd name="connsiteY45" fmla="*/ 3616859 h 5802220"/>
              <a:gd name="connsiteX46" fmla="*/ 5183 w 813948"/>
              <a:gd name="connsiteY46" fmla="*/ 3699029 h 5802220"/>
              <a:gd name="connsiteX47" fmla="*/ 2824 w 813948"/>
              <a:gd name="connsiteY47" fmla="*/ 3781164 h 5802220"/>
              <a:gd name="connsiteX48" fmla="*/ 1171 w 813948"/>
              <a:gd name="connsiteY48" fmla="*/ 3863258 h 5802220"/>
              <a:gd name="connsiteX49" fmla="*/ 228 w 813948"/>
              <a:gd name="connsiteY49" fmla="*/ 3945302 h 5802220"/>
              <a:gd name="connsiteX50" fmla="*/ 0 w 813948"/>
              <a:gd name="connsiteY50" fmla="*/ 4027290 h 5802220"/>
              <a:gd name="connsiteX51" fmla="*/ 488 w 813948"/>
              <a:gd name="connsiteY51" fmla="*/ 4109215 h 5802220"/>
              <a:gd name="connsiteX52" fmla="*/ 1699 w 813948"/>
              <a:gd name="connsiteY52" fmla="*/ 4191069 h 5802220"/>
              <a:gd name="connsiteX53" fmla="*/ 3634 w 813948"/>
              <a:gd name="connsiteY53" fmla="*/ 4272845 h 5802220"/>
              <a:gd name="connsiteX54" fmla="*/ 6297 w 813948"/>
              <a:gd name="connsiteY54" fmla="*/ 4354535 h 5802220"/>
              <a:gd name="connsiteX55" fmla="*/ 9693 w 813948"/>
              <a:gd name="connsiteY55" fmla="*/ 4436134 h 5802220"/>
              <a:gd name="connsiteX56" fmla="*/ 13825 w 813948"/>
              <a:gd name="connsiteY56" fmla="*/ 4517633 h 5802220"/>
              <a:gd name="connsiteX57" fmla="*/ 18697 w 813948"/>
              <a:gd name="connsiteY57" fmla="*/ 4599026 h 5802220"/>
              <a:gd name="connsiteX58" fmla="*/ 24312 w 813948"/>
              <a:gd name="connsiteY58" fmla="*/ 4680304 h 5802220"/>
              <a:gd name="connsiteX59" fmla="*/ 30674 w 813948"/>
              <a:gd name="connsiteY59" fmla="*/ 4761462 h 5802220"/>
              <a:gd name="connsiteX60" fmla="*/ 37786 w 813948"/>
              <a:gd name="connsiteY60" fmla="*/ 4842491 h 5802220"/>
              <a:gd name="connsiteX61" fmla="*/ 45653 w 813948"/>
              <a:gd name="connsiteY61" fmla="*/ 4923385 h 5802220"/>
              <a:gd name="connsiteX62" fmla="*/ 54278 w 813948"/>
              <a:gd name="connsiteY62" fmla="*/ 5004137 h 5802220"/>
              <a:gd name="connsiteX63" fmla="*/ 63665 w 813948"/>
              <a:gd name="connsiteY63" fmla="*/ 5084738 h 5802220"/>
              <a:gd name="connsiteX64" fmla="*/ 73817 w 813948"/>
              <a:gd name="connsiteY64" fmla="*/ 5165182 h 5802220"/>
              <a:gd name="connsiteX65" fmla="*/ 84738 w 813948"/>
              <a:gd name="connsiteY65" fmla="*/ 5245462 h 5802220"/>
              <a:gd name="connsiteX66" fmla="*/ 96432 w 813948"/>
              <a:gd name="connsiteY66" fmla="*/ 5325571 h 5802220"/>
              <a:gd name="connsiteX67" fmla="*/ 108902 w 813948"/>
              <a:gd name="connsiteY67" fmla="*/ 5405501 h 5802220"/>
              <a:gd name="connsiteX68" fmla="*/ 122152 w 813948"/>
              <a:gd name="connsiteY68" fmla="*/ 5485246 h 5802220"/>
              <a:gd name="connsiteX69" fmla="*/ 136186 w 813948"/>
              <a:gd name="connsiteY69" fmla="*/ 5564797 h 5802220"/>
              <a:gd name="connsiteX70" fmla="*/ 151007 w 813948"/>
              <a:gd name="connsiteY70" fmla="*/ 5644148 h 5802220"/>
              <a:gd name="connsiteX71" fmla="*/ 166619 w 813948"/>
              <a:gd name="connsiteY71" fmla="*/ 5723291 h 5802220"/>
              <a:gd name="connsiteX72" fmla="*/ 183027 w 813948"/>
              <a:gd name="connsiteY72" fmla="*/ 5802220 h 5802220"/>
              <a:gd name="connsiteX0" fmla="*/ 813948 w 813948"/>
              <a:gd name="connsiteY0" fmla="*/ 0 h 5723291"/>
              <a:gd name="connsiteX1" fmla="*/ 783060 w 813948"/>
              <a:gd name="connsiteY1" fmla="*/ 76283 h 5723291"/>
              <a:gd name="connsiteX2" fmla="*/ 752708 w 813948"/>
              <a:gd name="connsiteY2" fmla="*/ 152854 h 5723291"/>
              <a:gd name="connsiteX3" fmla="*/ 722898 w 813948"/>
              <a:gd name="connsiteY3" fmla="*/ 229708 h 5723291"/>
              <a:gd name="connsiteX4" fmla="*/ 693633 w 813948"/>
              <a:gd name="connsiteY4" fmla="*/ 306836 h 5723291"/>
              <a:gd name="connsiteX5" fmla="*/ 664917 w 813948"/>
              <a:gd name="connsiteY5" fmla="*/ 384232 h 5723291"/>
              <a:gd name="connsiteX6" fmla="*/ 636752 w 813948"/>
              <a:gd name="connsiteY6" fmla="*/ 461888 h 5723291"/>
              <a:gd name="connsiteX7" fmla="*/ 609144 w 813948"/>
              <a:gd name="connsiteY7" fmla="*/ 539798 h 5723291"/>
              <a:gd name="connsiteX8" fmla="*/ 582095 w 813948"/>
              <a:gd name="connsiteY8" fmla="*/ 617953 h 5723291"/>
              <a:gd name="connsiteX9" fmla="*/ 555609 w 813948"/>
              <a:gd name="connsiteY9" fmla="*/ 696348 h 5723291"/>
              <a:gd name="connsiteX10" fmla="*/ 529690 w 813948"/>
              <a:gd name="connsiteY10" fmla="*/ 774973 h 5723291"/>
              <a:gd name="connsiteX11" fmla="*/ 504342 w 813948"/>
              <a:gd name="connsiteY11" fmla="*/ 853824 h 5723291"/>
              <a:gd name="connsiteX12" fmla="*/ 479568 w 813948"/>
              <a:gd name="connsiteY12" fmla="*/ 932891 h 5723291"/>
              <a:gd name="connsiteX13" fmla="*/ 455372 w 813948"/>
              <a:gd name="connsiteY13" fmla="*/ 1012168 h 5723291"/>
              <a:gd name="connsiteX14" fmla="*/ 431758 w 813948"/>
              <a:gd name="connsiteY14" fmla="*/ 1091649 h 5723291"/>
              <a:gd name="connsiteX15" fmla="*/ 408729 w 813948"/>
              <a:gd name="connsiteY15" fmla="*/ 1171325 h 5723291"/>
              <a:gd name="connsiteX16" fmla="*/ 386289 w 813948"/>
              <a:gd name="connsiteY16" fmla="*/ 1251189 h 5723291"/>
              <a:gd name="connsiteX17" fmla="*/ 364441 w 813948"/>
              <a:gd name="connsiteY17" fmla="*/ 1331234 h 5723291"/>
              <a:gd name="connsiteX18" fmla="*/ 343190 w 813948"/>
              <a:gd name="connsiteY18" fmla="*/ 1411454 h 5723291"/>
              <a:gd name="connsiteX19" fmla="*/ 322539 w 813948"/>
              <a:gd name="connsiteY19" fmla="*/ 1491840 h 5723291"/>
              <a:gd name="connsiteX20" fmla="*/ 302492 w 813948"/>
              <a:gd name="connsiteY20" fmla="*/ 1572386 h 5723291"/>
              <a:gd name="connsiteX21" fmla="*/ 283052 w 813948"/>
              <a:gd name="connsiteY21" fmla="*/ 1653084 h 5723291"/>
              <a:gd name="connsiteX22" fmla="*/ 264222 w 813948"/>
              <a:gd name="connsiteY22" fmla="*/ 1733928 h 5723291"/>
              <a:gd name="connsiteX23" fmla="*/ 246008 w 813948"/>
              <a:gd name="connsiteY23" fmla="*/ 1814909 h 5723291"/>
              <a:gd name="connsiteX24" fmla="*/ 228412 w 813948"/>
              <a:gd name="connsiteY24" fmla="*/ 1896022 h 5723291"/>
              <a:gd name="connsiteX25" fmla="*/ 211438 w 813948"/>
              <a:gd name="connsiteY25" fmla="*/ 1977258 h 5723291"/>
              <a:gd name="connsiteX26" fmla="*/ 195090 w 813948"/>
              <a:gd name="connsiteY26" fmla="*/ 2058610 h 5723291"/>
              <a:gd name="connsiteX27" fmla="*/ 179371 w 813948"/>
              <a:gd name="connsiteY27" fmla="*/ 2140072 h 5723291"/>
              <a:gd name="connsiteX28" fmla="*/ 164285 w 813948"/>
              <a:gd name="connsiteY28" fmla="*/ 2221636 h 5723291"/>
              <a:gd name="connsiteX29" fmla="*/ 149836 w 813948"/>
              <a:gd name="connsiteY29" fmla="*/ 2303294 h 5723291"/>
              <a:gd name="connsiteX30" fmla="*/ 136027 w 813948"/>
              <a:gd name="connsiteY30" fmla="*/ 2385041 h 5723291"/>
              <a:gd name="connsiteX31" fmla="*/ 122862 w 813948"/>
              <a:gd name="connsiteY31" fmla="*/ 2466867 h 5723291"/>
              <a:gd name="connsiteX32" fmla="*/ 110346 w 813948"/>
              <a:gd name="connsiteY32" fmla="*/ 2548767 h 5723291"/>
              <a:gd name="connsiteX33" fmla="*/ 98480 w 813948"/>
              <a:gd name="connsiteY33" fmla="*/ 2630733 h 5723291"/>
              <a:gd name="connsiteX34" fmla="*/ 87270 w 813948"/>
              <a:gd name="connsiteY34" fmla="*/ 2712758 h 5723291"/>
              <a:gd name="connsiteX35" fmla="*/ 76718 w 813948"/>
              <a:gd name="connsiteY35" fmla="*/ 2794835 h 5723291"/>
              <a:gd name="connsiteX36" fmla="*/ 66829 w 813948"/>
              <a:gd name="connsiteY36" fmla="*/ 2876956 h 5723291"/>
              <a:gd name="connsiteX37" fmla="*/ 57606 w 813948"/>
              <a:gd name="connsiteY37" fmla="*/ 2959114 h 5723291"/>
              <a:gd name="connsiteX38" fmla="*/ 49053 w 813948"/>
              <a:gd name="connsiteY38" fmla="*/ 3041303 h 5723291"/>
              <a:gd name="connsiteX39" fmla="*/ 41174 w 813948"/>
              <a:gd name="connsiteY39" fmla="*/ 3123514 h 5723291"/>
              <a:gd name="connsiteX40" fmla="*/ 33971 w 813948"/>
              <a:gd name="connsiteY40" fmla="*/ 3205741 h 5723291"/>
              <a:gd name="connsiteX41" fmla="*/ 27450 w 813948"/>
              <a:gd name="connsiteY41" fmla="*/ 3287976 h 5723291"/>
              <a:gd name="connsiteX42" fmla="*/ 21613 w 813948"/>
              <a:gd name="connsiteY42" fmla="*/ 3370213 h 5723291"/>
              <a:gd name="connsiteX43" fmla="*/ 16464 w 813948"/>
              <a:gd name="connsiteY43" fmla="*/ 3452444 h 5723291"/>
              <a:gd name="connsiteX44" fmla="*/ 12007 w 813948"/>
              <a:gd name="connsiteY44" fmla="*/ 3534662 h 5723291"/>
              <a:gd name="connsiteX45" fmla="*/ 8245 w 813948"/>
              <a:gd name="connsiteY45" fmla="*/ 3616859 h 5723291"/>
              <a:gd name="connsiteX46" fmla="*/ 5183 w 813948"/>
              <a:gd name="connsiteY46" fmla="*/ 3699029 h 5723291"/>
              <a:gd name="connsiteX47" fmla="*/ 2824 w 813948"/>
              <a:gd name="connsiteY47" fmla="*/ 3781164 h 5723291"/>
              <a:gd name="connsiteX48" fmla="*/ 1171 w 813948"/>
              <a:gd name="connsiteY48" fmla="*/ 3863258 h 5723291"/>
              <a:gd name="connsiteX49" fmla="*/ 228 w 813948"/>
              <a:gd name="connsiteY49" fmla="*/ 3945302 h 5723291"/>
              <a:gd name="connsiteX50" fmla="*/ 0 w 813948"/>
              <a:gd name="connsiteY50" fmla="*/ 4027290 h 5723291"/>
              <a:gd name="connsiteX51" fmla="*/ 488 w 813948"/>
              <a:gd name="connsiteY51" fmla="*/ 4109215 h 5723291"/>
              <a:gd name="connsiteX52" fmla="*/ 1699 w 813948"/>
              <a:gd name="connsiteY52" fmla="*/ 4191069 h 5723291"/>
              <a:gd name="connsiteX53" fmla="*/ 3634 w 813948"/>
              <a:gd name="connsiteY53" fmla="*/ 4272845 h 5723291"/>
              <a:gd name="connsiteX54" fmla="*/ 6297 w 813948"/>
              <a:gd name="connsiteY54" fmla="*/ 4354535 h 5723291"/>
              <a:gd name="connsiteX55" fmla="*/ 9693 w 813948"/>
              <a:gd name="connsiteY55" fmla="*/ 4436134 h 5723291"/>
              <a:gd name="connsiteX56" fmla="*/ 13825 w 813948"/>
              <a:gd name="connsiteY56" fmla="*/ 4517633 h 5723291"/>
              <a:gd name="connsiteX57" fmla="*/ 18697 w 813948"/>
              <a:gd name="connsiteY57" fmla="*/ 4599026 h 5723291"/>
              <a:gd name="connsiteX58" fmla="*/ 24312 w 813948"/>
              <a:gd name="connsiteY58" fmla="*/ 4680304 h 5723291"/>
              <a:gd name="connsiteX59" fmla="*/ 30674 w 813948"/>
              <a:gd name="connsiteY59" fmla="*/ 4761462 h 5723291"/>
              <a:gd name="connsiteX60" fmla="*/ 37786 w 813948"/>
              <a:gd name="connsiteY60" fmla="*/ 4842491 h 5723291"/>
              <a:gd name="connsiteX61" fmla="*/ 45653 w 813948"/>
              <a:gd name="connsiteY61" fmla="*/ 4923385 h 5723291"/>
              <a:gd name="connsiteX62" fmla="*/ 54278 w 813948"/>
              <a:gd name="connsiteY62" fmla="*/ 5004137 h 5723291"/>
              <a:gd name="connsiteX63" fmla="*/ 63665 w 813948"/>
              <a:gd name="connsiteY63" fmla="*/ 5084738 h 5723291"/>
              <a:gd name="connsiteX64" fmla="*/ 73817 w 813948"/>
              <a:gd name="connsiteY64" fmla="*/ 5165182 h 5723291"/>
              <a:gd name="connsiteX65" fmla="*/ 84738 w 813948"/>
              <a:gd name="connsiteY65" fmla="*/ 5245462 h 5723291"/>
              <a:gd name="connsiteX66" fmla="*/ 96432 w 813948"/>
              <a:gd name="connsiteY66" fmla="*/ 5325571 h 5723291"/>
              <a:gd name="connsiteX67" fmla="*/ 108902 w 813948"/>
              <a:gd name="connsiteY67" fmla="*/ 5405501 h 5723291"/>
              <a:gd name="connsiteX68" fmla="*/ 122152 w 813948"/>
              <a:gd name="connsiteY68" fmla="*/ 5485246 h 5723291"/>
              <a:gd name="connsiteX69" fmla="*/ 136186 w 813948"/>
              <a:gd name="connsiteY69" fmla="*/ 5564797 h 5723291"/>
              <a:gd name="connsiteX70" fmla="*/ 151007 w 813948"/>
              <a:gd name="connsiteY70" fmla="*/ 5644148 h 5723291"/>
              <a:gd name="connsiteX71" fmla="*/ 166619 w 813948"/>
              <a:gd name="connsiteY71" fmla="*/ 5723291 h 5723291"/>
              <a:gd name="connsiteX0" fmla="*/ 813948 w 813948"/>
              <a:gd name="connsiteY0" fmla="*/ 0 h 5644148"/>
              <a:gd name="connsiteX1" fmla="*/ 783060 w 813948"/>
              <a:gd name="connsiteY1" fmla="*/ 76283 h 5644148"/>
              <a:gd name="connsiteX2" fmla="*/ 752708 w 813948"/>
              <a:gd name="connsiteY2" fmla="*/ 152854 h 5644148"/>
              <a:gd name="connsiteX3" fmla="*/ 722898 w 813948"/>
              <a:gd name="connsiteY3" fmla="*/ 229708 h 5644148"/>
              <a:gd name="connsiteX4" fmla="*/ 693633 w 813948"/>
              <a:gd name="connsiteY4" fmla="*/ 306836 h 5644148"/>
              <a:gd name="connsiteX5" fmla="*/ 664917 w 813948"/>
              <a:gd name="connsiteY5" fmla="*/ 384232 h 5644148"/>
              <a:gd name="connsiteX6" fmla="*/ 636752 w 813948"/>
              <a:gd name="connsiteY6" fmla="*/ 461888 h 5644148"/>
              <a:gd name="connsiteX7" fmla="*/ 609144 w 813948"/>
              <a:gd name="connsiteY7" fmla="*/ 539798 h 5644148"/>
              <a:gd name="connsiteX8" fmla="*/ 582095 w 813948"/>
              <a:gd name="connsiteY8" fmla="*/ 617953 h 5644148"/>
              <a:gd name="connsiteX9" fmla="*/ 555609 w 813948"/>
              <a:gd name="connsiteY9" fmla="*/ 696348 h 5644148"/>
              <a:gd name="connsiteX10" fmla="*/ 529690 w 813948"/>
              <a:gd name="connsiteY10" fmla="*/ 774973 h 5644148"/>
              <a:gd name="connsiteX11" fmla="*/ 504342 w 813948"/>
              <a:gd name="connsiteY11" fmla="*/ 853824 h 5644148"/>
              <a:gd name="connsiteX12" fmla="*/ 479568 w 813948"/>
              <a:gd name="connsiteY12" fmla="*/ 932891 h 5644148"/>
              <a:gd name="connsiteX13" fmla="*/ 455372 w 813948"/>
              <a:gd name="connsiteY13" fmla="*/ 1012168 h 5644148"/>
              <a:gd name="connsiteX14" fmla="*/ 431758 w 813948"/>
              <a:gd name="connsiteY14" fmla="*/ 1091649 h 5644148"/>
              <a:gd name="connsiteX15" fmla="*/ 408729 w 813948"/>
              <a:gd name="connsiteY15" fmla="*/ 1171325 h 5644148"/>
              <a:gd name="connsiteX16" fmla="*/ 386289 w 813948"/>
              <a:gd name="connsiteY16" fmla="*/ 1251189 h 5644148"/>
              <a:gd name="connsiteX17" fmla="*/ 364441 w 813948"/>
              <a:gd name="connsiteY17" fmla="*/ 1331234 h 5644148"/>
              <a:gd name="connsiteX18" fmla="*/ 343190 w 813948"/>
              <a:gd name="connsiteY18" fmla="*/ 1411454 h 5644148"/>
              <a:gd name="connsiteX19" fmla="*/ 322539 w 813948"/>
              <a:gd name="connsiteY19" fmla="*/ 1491840 h 5644148"/>
              <a:gd name="connsiteX20" fmla="*/ 302492 w 813948"/>
              <a:gd name="connsiteY20" fmla="*/ 1572386 h 5644148"/>
              <a:gd name="connsiteX21" fmla="*/ 283052 w 813948"/>
              <a:gd name="connsiteY21" fmla="*/ 1653084 h 5644148"/>
              <a:gd name="connsiteX22" fmla="*/ 264222 w 813948"/>
              <a:gd name="connsiteY22" fmla="*/ 1733928 h 5644148"/>
              <a:gd name="connsiteX23" fmla="*/ 246008 w 813948"/>
              <a:gd name="connsiteY23" fmla="*/ 1814909 h 5644148"/>
              <a:gd name="connsiteX24" fmla="*/ 228412 w 813948"/>
              <a:gd name="connsiteY24" fmla="*/ 1896022 h 5644148"/>
              <a:gd name="connsiteX25" fmla="*/ 211438 w 813948"/>
              <a:gd name="connsiteY25" fmla="*/ 1977258 h 5644148"/>
              <a:gd name="connsiteX26" fmla="*/ 195090 w 813948"/>
              <a:gd name="connsiteY26" fmla="*/ 2058610 h 5644148"/>
              <a:gd name="connsiteX27" fmla="*/ 179371 w 813948"/>
              <a:gd name="connsiteY27" fmla="*/ 2140072 h 5644148"/>
              <a:gd name="connsiteX28" fmla="*/ 164285 w 813948"/>
              <a:gd name="connsiteY28" fmla="*/ 2221636 h 5644148"/>
              <a:gd name="connsiteX29" fmla="*/ 149836 w 813948"/>
              <a:gd name="connsiteY29" fmla="*/ 2303294 h 5644148"/>
              <a:gd name="connsiteX30" fmla="*/ 136027 w 813948"/>
              <a:gd name="connsiteY30" fmla="*/ 2385041 h 5644148"/>
              <a:gd name="connsiteX31" fmla="*/ 122862 w 813948"/>
              <a:gd name="connsiteY31" fmla="*/ 2466867 h 5644148"/>
              <a:gd name="connsiteX32" fmla="*/ 110346 w 813948"/>
              <a:gd name="connsiteY32" fmla="*/ 2548767 h 5644148"/>
              <a:gd name="connsiteX33" fmla="*/ 98480 w 813948"/>
              <a:gd name="connsiteY33" fmla="*/ 2630733 h 5644148"/>
              <a:gd name="connsiteX34" fmla="*/ 87270 w 813948"/>
              <a:gd name="connsiteY34" fmla="*/ 2712758 h 5644148"/>
              <a:gd name="connsiteX35" fmla="*/ 76718 w 813948"/>
              <a:gd name="connsiteY35" fmla="*/ 2794835 h 5644148"/>
              <a:gd name="connsiteX36" fmla="*/ 66829 w 813948"/>
              <a:gd name="connsiteY36" fmla="*/ 2876956 h 5644148"/>
              <a:gd name="connsiteX37" fmla="*/ 57606 w 813948"/>
              <a:gd name="connsiteY37" fmla="*/ 2959114 h 5644148"/>
              <a:gd name="connsiteX38" fmla="*/ 49053 w 813948"/>
              <a:gd name="connsiteY38" fmla="*/ 3041303 h 5644148"/>
              <a:gd name="connsiteX39" fmla="*/ 41174 w 813948"/>
              <a:gd name="connsiteY39" fmla="*/ 3123514 h 5644148"/>
              <a:gd name="connsiteX40" fmla="*/ 33971 w 813948"/>
              <a:gd name="connsiteY40" fmla="*/ 3205741 h 5644148"/>
              <a:gd name="connsiteX41" fmla="*/ 27450 w 813948"/>
              <a:gd name="connsiteY41" fmla="*/ 3287976 h 5644148"/>
              <a:gd name="connsiteX42" fmla="*/ 21613 w 813948"/>
              <a:gd name="connsiteY42" fmla="*/ 3370213 h 5644148"/>
              <a:gd name="connsiteX43" fmla="*/ 16464 w 813948"/>
              <a:gd name="connsiteY43" fmla="*/ 3452444 h 5644148"/>
              <a:gd name="connsiteX44" fmla="*/ 12007 w 813948"/>
              <a:gd name="connsiteY44" fmla="*/ 3534662 h 5644148"/>
              <a:gd name="connsiteX45" fmla="*/ 8245 w 813948"/>
              <a:gd name="connsiteY45" fmla="*/ 3616859 h 5644148"/>
              <a:gd name="connsiteX46" fmla="*/ 5183 w 813948"/>
              <a:gd name="connsiteY46" fmla="*/ 3699029 h 5644148"/>
              <a:gd name="connsiteX47" fmla="*/ 2824 w 813948"/>
              <a:gd name="connsiteY47" fmla="*/ 3781164 h 5644148"/>
              <a:gd name="connsiteX48" fmla="*/ 1171 w 813948"/>
              <a:gd name="connsiteY48" fmla="*/ 3863258 h 5644148"/>
              <a:gd name="connsiteX49" fmla="*/ 228 w 813948"/>
              <a:gd name="connsiteY49" fmla="*/ 3945302 h 5644148"/>
              <a:gd name="connsiteX50" fmla="*/ 0 w 813948"/>
              <a:gd name="connsiteY50" fmla="*/ 4027290 h 5644148"/>
              <a:gd name="connsiteX51" fmla="*/ 488 w 813948"/>
              <a:gd name="connsiteY51" fmla="*/ 4109215 h 5644148"/>
              <a:gd name="connsiteX52" fmla="*/ 1699 w 813948"/>
              <a:gd name="connsiteY52" fmla="*/ 4191069 h 5644148"/>
              <a:gd name="connsiteX53" fmla="*/ 3634 w 813948"/>
              <a:gd name="connsiteY53" fmla="*/ 4272845 h 5644148"/>
              <a:gd name="connsiteX54" fmla="*/ 6297 w 813948"/>
              <a:gd name="connsiteY54" fmla="*/ 4354535 h 5644148"/>
              <a:gd name="connsiteX55" fmla="*/ 9693 w 813948"/>
              <a:gd name="connsiteY55" fmla="*/ 4436134 h 5644148"/>
              <a:gd name="connsiteX56" fmla="*/ 13825 w 813948"/>
              <a:gd name="connsiteY56" fmla="*/ 4517633 h 5644148"/>
              <a:gd name="connsiteX57" fmla="*/ 18697 w 813948"/>
              <a:gd name="connsiteY57" fmla="*/ 4599026 h 5644148"/>
              <a:gd name="connsiteX58" fmla="*/ 24312 w 813948"/>
              <a:gd name="connsiteY58" fmla="*/ 4680304 h 5644148"/>
              <a:gd name="connsiteX59" fmla="*/ 30674 w 813948"/>
              <a:gd name="connsiteY59" fmla="*/ 4761462 h 5644148"/>
              <a:gd name="connsiteX60" fmla="*/ 37786 w 813948"/>
              <a:gd name="connsiteY60" fmla="*/ 4842491 h 5644148"/>
              <a:gd name="connsiteX61" fmla="*/ 45653 w 813948"/>
              <a:gd name="connsiteY61" fmla="*/ 4923385 h 5644148"/>
              <a:gd name="connsiteX62" fmla="*/ 54278 w 813948"/>
              <a:gd name="connsiteY62" fmla="*/ 5004137 h 5644148"/>
              <a:gd name="connsiteX63" fmla="*/ 63665 w 813948"/>
              <a:gd name="connsiteY63" fmla="*/ 5084738 h 5644148"/>
              <a:gd name="connsiteX64" fmla="*/ 73817 w 813948"/>
              <a:gd name="connsiteY64" fmla="*/ 5165182 h 5644148"/>
              <a:gd name="connsiteX65" fmla="*/ 84738 w 813948"/>
              <a:gd name="connsiteY65" fmla="*/ 5245462 h 5644148"/>
              <a:gd name="connsiteX66" fmla="*/ 96432 w 813948"/>
              <a:gd name="connsiteY66" fmla="*/ 5325571 h 5644148"/>
              <a:gd name="connsiteX67" fmla="*/ 108902 w 813948"/>
              <a:gd name="connsiteY67" fmla="*/ 5405501 h 5644148"/>
              <a:gd name="connsiteX68" fmla="*/ 122152 w 813948"/>
              <a:gd name="connsiteY68" fmla="*/ 5485246 h 5644148"/>
              <a:gd name="connsiteX69" fmla="*/ 136186 w 813948"/>
              <a:gd name="connsiteY69" fmla="*/ 5564797 h 5644148"/>
              <a:gd name="connsiteX70" fmla="*/ 151007 w 813948"/>
              <a:gd name="connsiteY70" fmla="*/ 5644148 h 5644148"/>
              <a:gd name="connsiteX0" fmla="*/ 813948 w 813948"/>
              <a:gd name="connsiteY0" fmla="*/ 0 h 5564797"/>
              <a:gd name="connsiteX1" fmla="*/ 783060 w 813948"/>
              <a:gd name="connsiteY1" fmla="*/ 76283 h 5564797"/>
              <a:gd name="connsiteX2" fmla="*/ 752708 w 813948"/>
              <a:gd name="connsiteY2" fmla="*/ 152854 h 5564797"/>
              <a:gd name="connsiteX3" fmla="*/ 722898 w 813948"/>
              <a:gd name="connsiteY3" fmla="*/ 229708 h 5564797"/>
              <a:gd name="connsiteX4" fmla="*/ 693633 w 813948"/>
              <a:gd name="connsiteY4" fmla="*/ 306836 h 5564797"/>
              <a:gd name="connsiteX5" fmla="*/ 664917 w 813948"/>
              <a:gd name="connsiteY5" fmla="*/ 384232 h 5564797"/>
              <a:gd name="connsiteX6" fmla="*/ 636752 w 813948"/>
              <a:gd name="connsiteY6" fmla="*/ 461888 h 5564797"/>
              <a:gd name="connsiteX7" fmla="*/ 609144 w 813948"/>
              <a:gd name="connsiteY7" fmla="*/ 539798 h 5564797"/>
              <a:gd name="connsiteX8" fmla="*/ 582095 w 813948"/>
              <a:gd name="connsiteY8" fmla="*/ 617953 h 5564797"/>
              <a:gd name="connsiteX9" fmla="*/ 555609 w 813948"/>
              <a:gd name="connsiteY9" fmla="*/ 696348 h 5564797"/>
              <a:gd name="connsiteX10" fmla="*/ 529690 w 813948"/>
              <a:gd name="connsiteY10" fmla="*/ 774973 h 5564797"/>
              <a:gd name="connsiteX11" fmla="*/ 504342 w 813948"/>
              <a:gd name="connsiteY11" fmla="*/ 853824 h 5564797"/>
              <a:gd name="connsiteX12" fmla="*/ 479568 w 813948"/>
              <a:gd name="connsiteY12" fmla="*/ 932891 h 5564797"/>
              <a:gd name="connsiteX13" fmla="*/ 455372 w 813948"/>
              <a:gd name="connsiteY13" fmla="*/ 1012168 h 5564797"/>
              <a:gd name="connsiteX14" fmla="*/ 431758 w 813948"/>
              <a:gd name="connsiteY14" fmla="*/ 1091649 h 5564797"/>
              <a:gd name="connsiteX15" fmla="*/ 408729 w 813948"/>
              <a:gd name="connsiteY15" fmla="*/ 1171325 h 5564797"/>
              <a:gd name="connsiteX16" fmla="*/ 386289 w 813948"/>
              <a:gd name="connsiteY16" fmla="*/ 1251189 h 5564797"/>
              <a:gd name="connsiteX17" fmla="*/ 364441 w 813948"/>
              <a:gd name="connsiteY17" fmla="*/ 1331234 h 5564797"/>
              <a:gd name="connsiteX18" fmla="*/ 343190 w 813948"/>
              <a:gd name="connsiteY18" fmla="*/ 1411454 h 5564797"/>
              <a:gd name="connsiteX19" fmla="*/ 322539 w 813948"/>
              <a:gd name="connsiteY19" fmla="*/ 1491840 h 5564797"/>
              <a:gd name="connsiteX20" fmla="*/ 302492 w 813948"/>
              <a:gd name="connsiteY20" fmla="*/ 1572386 h 5564797"/>
              <a:gd name="connsiteX21" fmla="*/ 283052 w 813948"/>
              <a:gd name="connsiteY21" fmla="*/ 1653084 h 5564797"/>
              <a:gd name="connsiteX22" fmla="*/ 264222 w 813948"/>
              <a:gd name="connsiteY22" fmla="*/ 1733928 h 5564797"/>
              <a:gd name="connsiteX23" fmla="*/ 246008 w 813948"/>
              <a:gd name="connsiteY23" fmla="*/ 1814909 h 5564797"/>
              <a:gd name="connsiteX24" fmla="*/ 228412 w 813948"/>
              <a:gd name="connsiteY24" fmla="*/ 1896022 h 5564797"/>
              <a:gd name="connsiteX25" fmla="*/ 211438 w 813948"/>
              <a:gd name="connsiteY25" fmla="*/ 1977258 h 5564797"/>
              <a:gd name="connsiteX26" fmla="*/ 195090 w 813948"/>
              <a:gd name="connsiteY26" fmla="*/ 2058610 h 5564797"/>
              <a:gd name="connsiteX27" fmla="*/ 179371 w 813948"/>
              <a:gd name="connsiteY27" fmla="*/ 2140072 h 5564797"/>
              <a:gd name="connsiteX28" fmla="*/ 164285 w 813948"/>
              <a:gd name="connsiteY28" fmla="*/ 2221636 h 5564797"/>
              <a:gd name="connsiteX29" fmla="*/ 149836 w 813948"/>
              <a:gd name="connsiteY29" fmla="*/ 2303294 h 5564797"/>
              <a:gd name="connsiteX30" fmla="*/ 136027 w 813948"/>
              <a:gd name="connsiteY30" fmla="*/ 2385041 h 5564797"/>
              <a:gd name="connsiteX31" fmla="*/ 122862 w 813948"/>
              <a:gd name="connsiteY31" fmla="*/ 2466867 h 5564797"/>
              <a:gd name="connsiteX32" fmla="*/ 110346 w 813948"/>
              <a:gd name="connsiteY32" fmla="*/ 2548767 h 5564797"/>
              <a:gd name="connsiteX33" fmla="*/ 98480 w 813948"/>
              <a:gd name="connsiteY33" fmla="*/ 2630733 h 5564797"/>
              <a:gd name="connsiteX34" fmla="*/ 87270 w 813948"/>
              <a:gd name="connsiteY34" fmla="*/ 2712758 h 5564797"/>
              <a:gd name="connsiteX35" fmla="*/ 76718 w 813948"/>
              <a:gd name="connsiteY35" fmla="*/ 2794835 h 5564797"/>
              <a:gd name="connsiteX36" fmla="*/ 66829 w 813948"/>
              <a:gd name="connsiteY36" fmla="*/ 2876956 h 5564797"/>
              <a:gd name="connsiteX37" fmla="*/ 57606 w 813948"/>
              <a:gd name="connsiteY37" fmla="*/ 2959114 h 5564797"/>
              <a:gd name="connsiteX38" fmla="*/ 49053 w 813948"/>
              <a:gd name="connsiteY38" fmla="*/ 3041303 h 5564797"/>
              <a:gd name="connsiteX39" fmla="*/ 41174 w 813948"/>
              <a:gd name="connsiteY39" fmla="*/ 3123514 h 5564797"/>
              <a:gd name="connsiteX40" fmla="*/ 33971 w 813948"/>
              <a:gd name="connsiteY40" fmla="*/ 3205741 h 5564797"/>
              <a:gd name="connsiteX41" fmla="*/ 27450 w 813948"/>
              <a:gd name="connsiteY41" fmla="*/ 3287976 h 5564797"/>
              <a:gd name="connsiteX42" fmla="*/ 21613 w 813948"/>
              <a:gd name="connsiteY42" fmla="*/ 3370213 h 5564797"/>
              <a:gd name="connsiteX43" fmla="*/ 16464 w 813948"/>
              <a:gd name="connsiteY43" fmla="*/ 3452444 h 5564797"/>
              <a:gd name="connsiteX44" fmla="*/ 12007 w 813948"/>
              <a:gd name="connsiteY44" fmla="*/ 3534662 h 5564797"/>
              <a:gd name="connsiteX45" fmla="*/ 8245 w 813948"/>
              <a:gd name="connsiteY45" fmla="*/ 3616859 h 5564797"/>
              <a:gd name="connsiteX46" fmla="*/ 5183 w 813948"/>
              <a:gd name="connsiteY46" fmla="*/ 3699029 h 5564797"/>
              <a:gd name="connsiteX47" fmla="*/ 2824 w 813948"/>
              <a:gd name="connsiteY47" fmla="*/ 3781164 h 5564797"/>
              <a:gd name="connsiteX48" fmla="*/ 1171 w 813948"/>
              <a:gd name="connsiteY48" fmla="*/ 3863258 h 5564797"/>
              <a:gd name="connsiteX49" fmla="*/ 228 w 813948"/>
              <a:gd name="connsiteY49" fmla="*/ 3945302 h 5564797"/>
              <a:gd name="connsiteX50" fmla="*/ 0 w 813948"/>
              <a:gd name="connsiteY50" fmla="*/ 4027290 h 5564797"/>
              <a:gd name="connsiteX51" fmla="*/ 488 w 813948"/>
              <a:gd name="connsiteY51" fmla="*/ 4109215 h 5564797"/>
              <a:gd name="connsiteX52" fmla="*/ 1699 w 813948"/>
              <a:gd name="connsiteY52" fmla="*/ 4191069 h 5564797"/>
              <a:gd name="connsiteX53" fmla="*/ 3634 w 813948"/>
              <a:gd name="connsiteY53" fmla="*/ 4272845 h 5564797"/>
              <a:gd name="connsiteX54" fmla="*/ 6297 w 813948"/>
              <a:gd name="connsiteY54" fmla="*/ 4354535 h 5564797"/>
              <a:gd name="connsiteX55" fmla="*/ 9693 w 813948"/>
              <a:gd name="connsiteY55" fmla="*/ 4436134 h 5564797"/>
              <a:gd name="connsiteX56" fmla="*/ 13825 w 813948"/>
              <a:gd name="connsiteY56" fmla="*/ 4517633 h 5564797"/>
              <a:gd name="connsiteX57" fmla="*/ 18697 w 813948"/>
              <a:gd name="connsiteY57" fmla="*/ 4599026 h 5564797"/>
              <a:gd name="connsiteX58" fmla="*/ 24312 w 813948"/>
              <a:gd name="connsiteY58" fmla="*/ 4680304 h 5564797"/>
              <a:gd name="connsiteX59" fmla="*/ 30674 w 813948"/>
              <a:gd name="connsiteY59" fmla="*/ 4761462 h 5564797"/>
              <a:gd name="connsiteX60" fmla="*/ 37786 w 813948"/>
              <a:gd name="connsiteY60" fmla="*/ 4842491 h 5564797"/>
              <a:gd name="connsiteX61" fmla="*/ 45653 w 813948"/>
              <a:gd name="connsiteY61" fmla="*/ 4923385 h 5564797"/>
              <a:gd name="connsiteX62" fmla="*/ 54278 w 813948"/>
              <a:gd name="connsiteY62" fmla="*/ 5004137 h 5564797"/>
              <a:gd name="connsiteX63" fmla="*/ 63665 w 813948"/>
              <a:gd name="connsiteY63" fmla="*/ 5084738 h 5564797"/>
              <a:gd name="connsiteX64" fmla="*/ 73817 w 813948"/>
              <a:gd name="connsiteY64" fmla="*/ 5165182 h 5564797"/>
              <a:gd name="connsiteX65" fmla="*/ 84738 w 813948"/>
              <a:gd name="connsiteY65" fmla="*/ 5245462 h 5564797"/>
              <a:gd name="connsiteX66" fmla="*/ 96432 w 813948"/>
              <a:gd name="connsiteY66" fmla="*/ 5325571 h 5564797"/>
              <a:gd name="connsiteX67" fmla="*/ 108902 w 813948"/>
              <a:gd name="connsiteY67" fmla="*/ 5405501 h 5564797"/>
              <a:gd name="connsiteX68" fmla="*/ 122152 w 813948"/>
              <a:gd name="connsiteY68" fmla="*/ 5485246 h 5564797"/>
              <a:gd name="connsiteX69" fmla="*/ 136186 w 813948"/>
              <a:gd name="connsiteY69" fmla="*/ 5564797 h 5564797"/>
              <a:gd name="connsiteX0" fmla="*/ 813948 w 813948"/>
              <a:gd name="connsiteY0" fmla="*/ 0 h 5485246"/>
              <a:gd name="connsiteX1" fmla="*/ 783060 w 813948"/>
              <a:gd name="connsiteY1" fmla="*/ 76283 h 5485246"/>
              <a:gd name="connsiteX2" fmla="*/ 752708 w 813948"/>
              <a:gd name="connsiteY2" fmla="*/ 152854 h 5485246"/>
              <a:gd name="connsiteX3" fmla="*/ 722898 w 813948"/>
              <a:gd name="connsiteY3" fmla="*/ 229708 h 5485246"/>
              <a:gd name="connsiteX4" fmla="*/ 693633 w 813948"/>
              <a:gd name="connsiteY4" fmla="*/ 306836 h 5485246"/>
              <a:gd name="connsiteX5" fmla="*/ 664917 w 813948"/>
              <a:gd name="connsiteY5" fmla="*/ 384232 h 5485246"/>
              <a:gd name="connsiteX6" fmla="*/ 636752 w 813948"/>
              <a:gd name="connsiteY6" fmla="*/ 461888 h 5485246"/>
              <a:gd name="connsiteX7" fmla="*/ 609144 w 813948"/>
              <a:gd name="connsiteY7" fmla="*/ 539798 h 5485246"/>
              <a:gd name="connsiteX8" fmla="*/ 582095 w 813948"/>
              <a:gd name="connsiteY8" fmla="*/ 617953 h 5485246"/>
              <a:gd name="connsiteX9" fmla="*/ 555609 w 813948"/>
              <a:gd name="connsiteY9" fmla="*/ 696348 h 5485246"/>
              <a:gd name="connsiteX10" fmla="*/ 529690 w 813948"/>
              <a:gd name="connsiteY10" fmla="*/ 774973 h 5485246"/>
              <a:gd name="connsiteX11" fmla="*/ 504342 w 813948"/>
              <a:gd name="connsiteY11" fmla="*/ 853824 h 5485246"/>
              <a:gd name="connsiteX12" fmla="*/ 479568 w 813948"/>
              <a:gd name="connsiteY12" fmla="*/ 932891 h 5485246"/>
              <a:gd name="connsiteX13" fmla="*/ 455372 w 813948"/>
              <a:gd name="connsiteY13" fmla="*/ 1012168 h 5485246"/>
              <a:gd name="connsiteX14" fmla="*/ 431758 w 813948"/>
              <a:gd name="connsiteY14" fmla="*/ 1091649 h 5485246"/>
              <a:gd name="connsiteX15" fmla="*/ 408729 w 813948"/>
              <a:gd name="connsiteY15" fmla="*/ 1171325 h 5485246"/>
              <a:gd name="connsiteX16" fmla="*/ 386289 w 813948"/>
              <a:gd name="connsiteY16" fmla="*/ 1251189 h 5485246"/>
              <a:gd name="connsiteX17" fmla="*/ 364441 w 813948"/>
              <a:gd name="connsiteY17" fmla="*/ 1331234 h 5485246"/>
              <a:gd name="connsiteX18" fmla="*/ 343190 w 813948"/>
              <a:gd name="connsiteY18" fmla="*/ 1411454 h 5485246"/>
              <a:gd name="connsiteX19" fmla="*/ 322539 w 813948"/>
              <a:gd name="connsiteY19" fmla="*/ 1491840 h 5485246"/>
              <a:gd name="connsiteX20" fmla="*/ 302492 w 813948"/>
              <a:gd name="connsiteY20" fmla="*/ 1572386 h 5485246"/>
              <a:gd name="connsiteX21" fmla="*/ 283052 w 813948"/>
              <a:gd name="connsiteY21" fmla="*/ 1653084 h 5485246"/>
              <a:gd name="connsiteX22" fmla="*/ 264222 w 813948"/>
              <a:gd name="connsiteY22" fmla="*/ 1733928 h 5485246"/>
              <a:gd name="connsiteX23" fmla="*/ 246008 w 813948"/>
              <a:gd name="connsiteY23" fmla="*/ 1814909 h 5485246"/>
              <a:gd name="connsiteX24" fmla="*/ 228412 w 813948"/>
              <a:gd name="connsiteY24" fmla="*/ 1896022 h 5485246"/>
              <a:gd name="connsiteX25" fmla="*/ 211438 w 813948"/>
              <a:gd name="connsiteY25" fmla="*/ 1977258 h 5485246"/>
              <a:gd name="connsiteX26" fmla="*/ 195090 w 813948"/>
              <a:gd name="connsiteY26" fmla="*/ 2058610 h 5485246"/>
              <a:gd name="connsiteX27" fmla="*/ 179371 w 813948"/>
              <a:gd name="connsiteY27" fmla="*/ 2140072 h 5485246"/>
              <a:gd name="connsiteX28" fmla="*/ 164285 w 813948"/>
              <a:gd name="connsiteY28" fmla="*/ 2221636 h 5485246"/>
              <a:gd name="connsiteX29" fmla="*/ 149836 w 813948"/>
              <a:gd name="connsiteY29" fmla="*/ 2303294 h 5485246"/>
              <a:gd name="connsiteX30" fmla="*/ 136027 w 813948"/>
              <a:gd name="connsiteY30" fmla="*/ 2385041 h 5485246"/>
              <a:gd name="connsiteX31" fmla="*/ 122862 w 813948"/>
              <a:gd name="connsiteY31" fmla="*/ 2466867 h 5485246"/>
              <a:gd name="connsiteX32" fmla="*/ 110346 w 813948"/>
              <a:gd name="connsiteY32" fmla="*/ 2548767 h 5485246"/>
              <a:gd name="connsiteX33" fmla="*/ 98480 w 813948"/>
              <a:gd name="connsiteY33" fmla="*/ 2630733 h 5485246"/>
              <a:gd name="connsiteX34" fmla="*/ 87270 w 813948"/>
              <a:gd name="connsiteY34" fmla="*/ 2712758 h 5485246"/>
              <a:gd name="connsiteX35" fmla="*/ 76718 w 813948"/>
              <a:gd name="connsiteY35" fmla="*/ 2794835 h 5485246"/>
              <a:gd name="connsiteX36" fmla="*/ 66829 w 813948"/>
              <a:gd name="connsiteY36" fmla="*/ 2876956 h 5485246"/>
              <a:gd name="connsiteX37" fmla="*/ 57606 w 813948"/>
              <a:gd name="connsiteY37" fmla="*/ 2959114 h 5485246"/>
              <a:gd name="connsiteX38" fmla="*/ 49053 w 813948"/>
              <a:gd name="connsiteY38" fmla="*/ 3041303 h 5485246"/>
              <a:gd name="connsiteX39" fmla="*/ 41174 w 813948"/>
              <a:gd name="connsiteY39" fmla="*/ 3123514 h 5485246"/>
              <a:gd name="connsiteX40" fmla="*/ 33971 w 813948"/>
              <a:gd name="connsiteY40" fmla="*/ 3205741 h 5485246"/>
              <a:gd name="connsiteX41" fmla="*/ 27450 w 813948"/>
              <a:gd name="connsiteY41" fmla="*/ 3287976 h 5485246"/>
              <a:gd name="connsiteX42" fmla="*/ 21613 w 813948"/>
              <a:gd name="connsiteY42" fmla="*/ 3370213 h 5485246"/>
              <a:gd name="connsiteX43" fmla="*/ 16464 w 813948"/>
              <a:gd name="connsiteY43" fmla="*/ 3452444 h 5485246"/>
              <a:gd name="connsiteX44" fmla="*/ 12007 w 813948"/>
              <a:gd name="connsiteY44" fmla="*/ 3534662 h 5485246"/>
              <a:gd name="connsiteX45" fmla="*/ 8245 w 813948"/>
              <a:gd name="connsiteY45" fmla="*/ 3616859 h 5485246"/>
              <a:gd name="connsiteX46" fmla="*/ 5183 w 813948"/>
              <a:gd name="connsiteY46" fmla="*/ 3699029 h 5485246"/>
              <a:gd name="connsiteX47" fmla="*/ 2824 w 813948"/>
              <a:gd name="connsiteY47" fmla="*/ 3781164 h 5485246"/>
              <a:gd name="connsiteX48" fmla="*/ 1171 w 813948"/>
              <a:gd name="connsiteY48" fmla="*/ 3863258 h 5485246"/>
              <a:gd name="connsiteX49" fmla="*/ 228 w 813948"/>
              <a:gd name="connsiteY49" fmla="*/ 3945302 h 5485246"/>
              <a:gd name="connsiteX50" fmla="*/ 0 w 813948"/>
              <a:gd name="connsiteY50" fmla="*/ 4027290 h 5485246"/>
              <a:gd name="connsiteX51" fmla="*/ 488 w 813948"/>
              <a:gd name="connsiteY51" fmla="*/ 4109215 h 5485246"/>
              <a:gd name="connsiteX52" fmla="*/ 1699 w 813948"/>
              <a:gd name="connsiteY52" fmla="*/ 4191069 h 5485246"/>
              <a:gd name="connsiteX53" fmla="*/ 3634 w 813948"/>
              <a:gd name="connsiteY53" fmla="*/ 4272845 h 5485246"/>
              <a:gd name="connsiteX54" fmla="*/ 6297 w 813948"/>
              <a:gd name="connsiteY54" fmla="*/ 4354535 h 5485246"/>
              <a:gd name="connsiteX55" fmla="*/ 9693 w 813948"/>
              <a:gd name="connsiteY55" fmla="*/ 4436134 h 5485246"/>
              <a:gd name="connsiteX56" fmla="*/ 13825 w 813948"/>
              <a:gd name="connsiteY56" fmla="*/ 4517633 h 5485246"/>
              <a:gd name="connsiteX57" fmla="*/ 18697 w 813948"/>
              <a:gd name="connsiteY57" fmla="*/ 4599026 h 5485246"/>
              <a:gd name="connsiteX58" fmla="*/ 24312 w 813948"/>
              <a:gd name="connsiteY58" fmla="*/ 4680304 h 5485246"/>
              <a:gd name="connsiteX59" fmla="*/ 30674 w 813948"/>
              <a:gd name="connsiteY59" fmla="*/ 4761462 h 5485246"/>
              <a:gd name="connsiteX60" fmla="*/ 37786 w 813948"/>
              <a:gd name="connsiteY60" fmla="*/ 4842491 h 5485246"/>
              <a:gd name="connsiteX61" fmla="*/ 45653 w 813948"/>
              <a:gd name="connsiteY61" fmla="*/ 4923385 h 5485246"/>
              <a:gd name="connsiteX62" fmla="*/ 54278 w 813948"/>
              <a:gd name="connsiteY62" fmla="*/ 5004137 h 5485246"/>
              <a:gd name="connsiteX63" fmla="*/ 63665 w 813948"/>
              <a:gd name="connsiteY63" fmla="*/ 5084738 h 5485246"/>
              <a:gd name="connsiteX64" fmla="*/ 73817 w 813948"/>
              <a:gd name="connsiteY64" fmla="*/ 5165182 h 5485246"/>
              <a:gd name="connsiteX65" fmla="*/ 84738 w 813948"/>
              <a:gd name="connsiteY65" fmla="*/ 5245462 h 5485246"/>
              <a:gd name="connsiteX66" fmla="*/ 96432 w 813948"/>
              <a:gd name="connsiteY66" fmla="*/ 5325571 h 5485246"/>
              <a:gd name="connsiteX67" fmla="*/ 108902 w 813948"/>
              <a:gd name="connsiteY67" fmla="*/ 5405501 h 5485246"/>
              <a:gd name="connsiteX68" fmla="*/ 122152 w 813948"/>
              <a:gd name="connsiteY68" fmla="*/ 5485246 h 5485246"/>
              <a:gd name="connsiteX0" fmla="*/ 813948 w 813948"/>
              <a:gd name="connsiteY0" fmla="*/ 0 h 5405501"/>
              <a:gd name="connsiteX1" fmla="*/ 783060 w 813948"/>
              <a:gd name="connsiteY1" fmla="*/ 76283 h 5405501"/>
              <a:gd name="connsiteX2" fmla="*/ 752708 w 813948"/>
              <a:gd name="connsiteY2" fmla="*/ 152854 h 5405501"/>
              <a:gd name="connsiteX3" fmla="*/ 722898 w 813948"/>
              <a:gd name="connsiteY3" fmla="*/ 229708 h 5405501"/>
              <a:gd name="connsiteX4" fmla="*/ 693633 w 813948"/>
              <a:gd name="connsiteY4" fmla="*/ 306836 h 5405501"/>
              <a:gd name="connsiteX5" fmla="*/ 664917 w 813948"/>
              <a:gd name="connsiteY5" fmla="*/ 384232 h 5405501"/>
              <a:gd name="connsiteX6" fmla="*/ 636752 w 813948"/>
              <a:gd name="connsiteY6" fmla="*/ 461888 h 5405501"/>
              <a:gd name="connsiteX7" fmla="*/ 609144 w 813948"/>
              <a:gd name="connsiteY7" fmla="*/ 539798 h 5405501"/>
              <a:gd name="connsiteX8" fmla="*/ 582095 w 813948"/>
              <a:gd name="connsiteY8" fmla="*/ 617953 h 5405501"/>
              <a:gd name="connsiteX9" fmla="*/ 555609 w 813948"/>
              <a:gd name="connsiteY9" fmla="*/ 696348 h 5405501"/>
              <a:gd name="connsiteX10" fmla="*/ 529690 w 813948"/>
              <a:gd name="connsiteY10" fmla="*/ 774973 h 5405501"/>
              <a:gd name="connsiteX11" fmla="*/ 504342 w 813948"/>
              <a:gd name="connsiteY11" fmla="*/ 853824 h 5405501"/>
              <a:gd name="connsiteX12" fmla="*/ 479568 w 813948"/>
              <a:gd name="connsiteY12" fmla="*/ 932891 h 5405501"/>
              <a:gd name="connsiteX13" fmla="*/ 455372 w 813948"/>
              <a:gd name="connsiteY13" fmla="*/ 1012168 h 5405501"/>
              <a:gd name="connsiteX14" fmla="*/ 431758 w 813948"/>
              <a:gd name="connsiteY14" fmla="*/ 1091649 h 5405501"/>
              <a:gd name="connsiteX15" fmla="*/ 408729 w 813948"/>
              <a:gd name="connsiteY15" fmla="*/ 1171325 h 5405501"/>
              <a:gd name="connsiteX16" fmla="*/ 386289 w 813948"/>
              <a:gd name="connsiteY16" fmla="*/ 1251189 h 5405501"/>
              <a:gd name="connsiteX17" fmla="*/ 364441 w 813948"/>
              <a:gd name="connsiteY17" fmla="*/ 1331234 h 5405501"/>
              <a:gd name="connsiteX18" fmla="*/ 343190 w 813948"/>
              <a:gd name="connsiteY18" fmla="*/ 1411454 h 5405501"/>
              <a:gd name="connsiteX19" fmla="*/ 322539 w 813948"/>
              <a:gd name="connsiteY19" fmla="*/ 1491840 h 5405501"/>
              <a:gd name="connsiteX20" fmla="*/ 302492 w 813948"/>
              <a:gd name="connsiteY20" fmla="*/ 1572386 h 5405501"/>
              <a:gd name="connsiteX21" fmla="*/ 283052 w 813948"/>
              <a:gd name="connsiteY21" fmla="*/ 1653084 h 5405501"/>
              <a:gd name="connsiteX22" fmla="*/ 264222 w 813948"/>
              <a:gd name="connsiteY22" fmla="*/ 1733928 h 5405501"/>
              <a:gd name="connsiteX23" fmla="*/ 246008 w 813948"/>
              <a:gd name="connsiteY23" fmla="*/ 1814909 h 5405501"/>
              <a:gd name="connsiteX24" fmla="*/ 228412 w 813948"/>
              <a:gd name="connsiteY24" fmla="*/ 1896022 h 5405501"/>
              <a:gd name="connsiteX25" fmla="*/ 211438 w 813948"/>
              <a:gd name="connsiteY25" fmla="*/ 1977258 h 5405501"/>
              <a:gd name="connsiteX26" fmla="*/ 195090 w 813948"/>
              <a:gd name="connsiteY26" fmla="*/ 2058610 h 5405501"/>
              <a:gd name="connsiteX27" fmla="*/ 179371 w 813948"/>
              <a:gd name="connsiteY27" fmla="*/ 2140072 h 5405501"/>
              <a:gd name="connsiteX28" fmla="*/ 164285 w 813948"/>
              <a:gd name="connsiteY28" fmla="*/ 2221636 h 5405501"/>
              <a:gd name="connsiteX29" fmla="*/ 149836 w 813948"/>
              <a:gd name="connsiteY29" fmla="*/ 2303294 h 5405501"/>
              <a:gd name="connsiteX30" fmla="*/ 136027 w 813948"/>
              <a:gd name="connsiteY30" fmla="*/ 2385041 h 5405501"/>
              <a:gd name="connsiteX31" fmla="*/ 122862 w 813948"/>
              <a:gd name="connsiteY31" fmla="*/ 2466867 h 5405501"/>
              <a:gd name="connsiteX32" fmla="*/ 110346 w 813948"/>
              <a:gd name="connsiteY32" fmla="*/ 2548767 h 5405501"/>
              <a:gd name="connsiteX33" fmla="*/ 98480 w 813948"/>
              <a:gd name="connsiteY33" fmla="*/ 2630733 h 5405501"/>
              <a:gd name="connsiteX34" fmla="*/ 87270 w 813948"/>
              <a:gd name="connsiteY34" fmla="*/ 2712758 h 5405501"/>
              <a:gd name="connsiteX35" fmla="*/ 76718 w 813948"/>
              <a:gd name="connsiteY35" fmla="*/ 2794835 h 5405501"/>
              <a:gd name="connsiteX36" fmla="*/ 66829 w 813948"/>
              <a:gd name="connsiteY36" fmla="*/ 2876956 h 5405501"/>
              <a:gd name="connsiteX37" fmla="*/ 57606 w 813948"/>
              <a:gd name="connsiteY37" fmla="*/ 2959114 h 5405501"/>
              <a:gd name="connsiteX38" fmla="*/ 49053 w 813948"/>
              <a:gd name="connsiteY38" fmla="*/ 3041303 h 5405501"/>
              <a:gd name="connsiteX39" fmla="*/ 41174 w 813948"/>
              <a:gd name="connsiteY39" fmla="*/ 3123514 h 5405501"/>
              <a:gd name="connsiteX40" fmla="*/ 33971 w 813948"/>
              <a:gd name="connsiteY40" fmla="*/ 3205741 h 5405501"/>
              <a:gd name="connsiteX41" fmla="*/ 27450 w 813948"/>
              <a:gd name="connsiteY41" fmla="*/ 3287976 h 5405501"/>
              <a:gd name="connsiteX42" fmla="*/ 21613 w 813948"/>
              <a:gd name="connsiteY42" fmla="*/ 3370213 h 5405501"/>
              <a:gd name="connsiteX43" fmla="*/ 16464 w 813948"/>
              <a:gd name="connsiteY43" fmla="*/ 3452444 h 5405501"/>
              <a:gd name="connsiteX44" fmla="*/ 12007 w 813948"/>
              <a:gd name="connsiteY44" fmla="*/ 3534662 h 5405501"/>
              <a:gd name="connsiteX45" fmla="*/ 8245 w 813948"/>
              <a:gd name="connsiteY45" fmla="*/ 3616859 h 5405501"/>
              <a:gd name="connsiteX46" fmla="*/ 5183 w 813948"/>
              <a:gd name="connsiteY46" fmla="*/ 3699029 h 5405501"/>
              <a:gd name="connsiteX47" fmla="*/ 2824 w 813948"/>
              <a:gd name="connsiteY47" fmla="*/ 3781164 h 5405501"/>
              <a:gd name="connsiteX48" fmla="*/ 1171 w 813948"/>
              <a:gd name="connsiteY48" fmla="*/ 3863258 h 5405501"/>
              <a:gd name="connsiteX49" fmla="*/ 228 w 813948"/>
              <a:gd name="connsiteY49" fmla="*/ 3945302 h 5405501"/>
              <a:gd name="connsiteX50" fmla="*/ 0 w 813948"/>
              <a:gd name="connsiteY50" fmla="*/ 4027290 h 5405501"/>
              <a:gd name="connsiteX51" fmla="*/ 488 w 813948"/>
              <a:gd name="connsiteY51" fmla="*/ 4109215 h 5405501"/>
              <a:gd name="connsiteX52" fmla="*/ 1699 w 813948"/>
              <a:gd name="connsiteY52" fmla="*/ 4191069 h 5405501"/>
              <a:gd name="connsiteX53" fmla="*/ 3634 w 813948"/>
              <a:gd name="connsiteY53" fmla="*/ 4272845 h 5405501"/>
              <a:gd name="connsiteX54" fmla="*/ 6297 w 813948"/>
              <a:gd name="connsiteY54" fmla="*/ 4354535 h 5405501"/>
              <a:gd name="connsiteX55" fmla="*/ 9693 w 813948"/>
              <a:gd name="connsiteY55" fmla="*/ 4436134 h 5405501"/>
              <a:gd name="connsiteX56" fmla="*/ 13825 w 813948"/>
              <a:gd name="connsiteY56" fmla="*/ 4517633 h 5405501"/>
              <a:gd name="connsiteX57" fmla="*/ 18697 w 813948"/>
              <a:gd name="connsiteY57" fmla="*/ 4599026 h 5405501"/>
              <a:gd name="connsiteX58" fmla="*/ 24312 w 813948"/>
              <a:gd name="connsiteY58" fmla="*/ 4680304 h 5405501"/>
              <a:gd name="connsiteX59" fmla="*/ 30674 w 813948"/>
              <a:gd name="connsiteY59" fmla="*/ 4761462 h 5405501"/>
              <a:gd name="connsiteX60" fmla="*/ 37786 w 813948"/>
              <a:gd name="connsiteY60" fmla="*/ 4842491 h 5405501"/>
              <a:gd name="connsiteX61" fmla="*/ 45653 w 813948"/>
              <a:gd name="connsiteY61" fmla="*/ 4923385 h 5405501"/>
              <a:gd name="connsiteX62" fmla="*/ 54278 w 813948"/>
              <a:gd name="connsiteY62" fmla="*/ 5004137 h 5405501"/>
              <a:gd name="connsiteX63" fmla="*/ 63665 w 813948"/>
              <a:gd name="connsiteY63" fmla="*/ 5084738 h 5405501"/>
              <a:gd name="connsiteX64" fmla="*/ 73817 w 813948"/>
              <a:gd name="connsiteY64" fmla="*/ 5165182 h 5405501"/>
              <a:gd name="connsiteX65" fmla="*/ 84738 w 813948"/>
              <a:gd name="connsiteY65" fmla="*/ 5245462 h 5405501"/>
              <a:gd name="connsiteX66" fmla="*/ 96432 w 813948"/>
              <a:gd name="connsiteY66" fmla="*/ 5325571 h 5405501"/>
              <a:gd name="connsiteX67" fmla="*/ 108902 w 813948"/>
              <a:gd name="connsiteY67" fmla="*/ 5405501 h 5405501"/>
              <a:gd name="connsiteX0" fmla="*/ 813948 w 813948"/>
              <a:gd name="connsiteY0" fmla="*/ 0 h 5325571"/>
              <a:gd name="connsiteX1" fmla="*/ 783060 w 813948"/>
              <a:gd name="connsiteY1" fmla="*/ 76283 h 5325571"/>
              <a:gd name="connsiteX2" fmla="*/ 752708 w 813948"/>
              <a:gd name="connsiteY2" fmla="*/ 152854 h 5325571"/>
              <a:gd name="connsiteX3" fmla="*/ 722898 w 813948"/>
              <a:gd name="connsiteY3" fmla="*/ 229708 h 5325571"/>
              <a:gd name="connsiteX4" fmla="*/ 693633 w 813948"/>
              <a:gd name="connsiteY4" fmla="*/ 306836 h 5325571"/>
              <a:gd name="connsiteX5" fmla="*/ 664917 w 813948"/>
              <a:gd name="connsiteY5" fmla="*/ 384232 h 5325571"/>
              <a:gd name="connsiteX6" fmla="*/ 636752 w 813948"/>
              <a:gd name="connsiteY6" fmla="*/ 461888 h 5325571"/>
              <a:gd name="connsiteX7" fmla="*/ 609144 w 813948"/>
              <a:gd name="connsiteY7" fmla="*/ 539798 h 5325571"/>
              <a:gd name="connsiteX8" fmla="*/ 582095 w 813948"/>
              <a:gd name="connsiteY8" fmla="*/ 617953 h 5325571"/>
              <a:gd name="connsiteX9" fmla="*/ 555609 w 813948"/>
              <a:gd name="connsiteY9" fmla="*/ 696348 h 5325571"/>
              <a:gd name="connsiteX10" fmla="*/ 529690 w 813948"/>
              <a:gd name="connsiteY10" fmla="*/ 774973 h 5325571"/>
              <a:gd name="connsiteX11" fmla="*/ 504342 w 813948"/>
              <a:gd name="connsiteY11" fmla="*/ 853824 h 5325571"/>
              <a:gd name="connsiteX12" fmla="*/ 479568 w 813948"/>
              <a:gd name="connsiteY12" fmla="*/ 932891 h 5325571"/>
              <a:gd name="connsiteX13" fmla="*/ 455372 w 813948"/>
              <a:gd name="connsiteY13" fmla="*/ 1012168 h 5325571"/>
              <a:gd name="connsiteX14" fmla="*/ 431758 w 813948"/>
              <a:gd name="connsiteY14" fmla="*/ 1091649 h 5325571"/>
              <a:gd name="connsiteX15" fmla="*/ 408729 w 813948"/>
              <a:gd name="connsiteY15" fmla="*/ 1171325 h 5325571"/>
              <a:gd name="connsiteX16" fmla="*/ 386289 w 813948"/>
              <a:gd name="connsiteY16" fmla="*/ 1251189 h 5325571"/>
              <a:gd name="connsiteX17" fmla="*/ 364441 w 813948"/>
              <a:gd name="connsiteY17" fmla="*/ 1331234 h 5325571"/>
              <a:gd name="connsiteX18" fmla="*/ 343190 w 813948"/>
              <a:gd name="connsiteY18" fmla="*/ 1411454 h 5325571"/>
              <a:gd name="connsiteX19" fmla="*/ 322539 w 813948"/>
              <a:gd name="connsiteY19" fmla="*/ 1491840 h 5325571"/>
              <a:gd name="connsiteX20" fmla="*/ 302492 w 813948"/>
              <a:gd name="connsiteY20" fmla="*/ 1572386 h 5325571"/>
              <a:gd name="connsiteX21" fmla="*/ 283052 w 813948"/>
              <a:gd name="connsiteY21" fmla="*/ 1653084 h 5325571"/>
              <a:gd name="connsiteX22" fmla="*/ 264222 w 813948"/>
              <a:gd name="connsiteY22" fmla="*/ 1733928 h 5325571"/>
              <a:gd name="connsiteX23" fmla="*/ 246008 w 813948"/>
              <a:gd name="connsiteY23" fmla="*/ 1814909 h 5325571"/>
              <a:gd name="connsiteX24" fmla="*/ 228412 w 813948"/>
              <a:gd name="connsiteY24" fmla="*/ 1896022 h 5325571"/>
              <a:gd name="connsiteX25" fmla="*/ 211438 w 813948"/>
              <a:gd name="connsiteY25" fmla="*/ 1977258 h 5325571"/>
              <a:gd name="connsiteX26" fmla="*/ 195090 w 813948"/>
              <a:gd name="connsiteY26" fmla="*/ 2058610 h 5325571"/>
              <a:gd name="connsiteX27" fmla="*/ 179371 w 813948"/>
              <a:gd name="connsiteY27" fmla="*/ 2140072 h 5325571"/>
              <a:gd name="connsiteX28" fmla="*/ 164285 w 813948"/>
              <a:gd name="connsiteY28" fmla="*/ 2221636 h 5325571"/>
              <a:gd name="connsiteX29" fmla="*/ 149836 w 813948"/>
              <a:gd name="connsiteY29" fmla="*/ 2303294 h 5325571"/>
              <a:gd name="connsiteX30" fmla="*/ 136027 w 813948"/>
              <a:gd name="connsiteY30" fmla="*/ 2385041 h 5325571"/>
              <a:gd name="connsiteX31" fmla="*/ 122862 w 813948"/>
              <a:gd name="connsiteY31" fmla="*/ 2466867 h 5325571"/>
              <a:gd name="connsiteX32" fmla="*/ 110346 w 813948"/>
              <a:gd name="connsiteY32" fmla="*/ 2548767 h 5325571"/>
              <a:gd name="connsiteX33" fmla="*/ 98480 w 813948"/>
              <a:gd name="connsiteY33" fmla="*/ 2630733 h 5325571"/>
              <a:gd name="connsiteX34" fmla="*/ 87270 w 813948"/>
              <a:gd name="connsiteY34" fmla="*/ 2712758 h 5325571"/>
              <a:gd name="connsiteX35" fmla="*/ 76718 w 813948"/>
              <a:gd name="connsiteY35" fmla="*/ 2794835 h 5325571"/>
              <a:gd name="connsiteX36" fmla="*/ 66829 w 813948"/>
              <a:gd name="connsiteY36" fmla="*/ 2876956 h 5325571"/>
              <a:gd name="connsiteX37" fmla="*/ 57606 w 813948"/>
              <a:gd name="connsiteY37" fmla="*/ 2959114 h 5325571"/>
              <a:gd name="connsiteX38" fmla="*/ 49053 w 813948"/>
              <a:gd name="connsiteY38" fmla="*/ 3041303 h 5325571"/>
              <a:gd name="connsiteX39" fmla="*/ 41174 w 813948"/>
              <a:gd name="connsiteY39" fmla="*/ 3123514 h 5325571"/>
              <a:gd name="connsiteX40" fmla="*/ 33971 w 813948"/>
              <a:gd name="connsiteY40" fmla="*/ 3205741 h 5325571"/>
              <a:gd name="connsiteX41" fmla="*/ 27450 w 813948"/>
              <a:gd name="connsiteY41" fmla="*/ 3287976 h 5325571"/>
              <a:gd name="connsiteX42" fmla="*/ 21613 w 813948"/>
              <a:gd name="connsiteY42" fmla="*/ 3370213 h 5325571"/>
              <a:gd name="connsiteX43" fmla="*/ 16464 w 813948"/>
              <a:gd name="connsiteY43" fmla="*/ 3452444 h 5325571"/>
              <a:gd name="connsiteX44" fmla="*/ 12007 w 813948"/>
              <a:gd name="connsiteY44" fmla="*/ 3534662 h 5325571"/>
              <a:gd name="connsiteX45" fmla="*/ 8245 w 813948"/>
              <a:gd name="connsiteY45" fmla="*/ 3616859 h 5325571"/>
              <a:gd name="connsiteX46" fmla="*/ 5183 w 813948"/>
              <a:gd name="connsiteY46" fmla="*/ 3699029 h 5325571"/>
              <a:gd name="connsiteX47" fmla="*/ 2824 w 813948"/>
              <a:gd name="connsiteY47" fmla="*/ 3781164 h 5325571"/>
              <a:gd name="connsiteX48" fmla="*/ 1171 w 813948"/>
              <a:gd name="connsiteY48" fmla="*/ 3863258 h 5325571"/>
              <a:gd name="connsiteX49" fmla="*/ 228 w 813948"/>
              <a:gd name="connsiteY49" fmla="*/ 3945302 h 5325571"/>
              <a:gd name="connsiteX50" fmla="*/ 0 w 813948"/>
              <a:gd name="connsiteY50" fmla="*/ 4027290 h 5325571"/>
              <a:gd name="connsiteX51" fmla="*/ 488 w 813948"/>
              <a:gd name="connsiteY51" fmla="*/ 4109215 h 5325571"/>
              <a:gd name="connsiteX52" fmla="*/ 1699 w 813948"/>
              <a:gd name="connsiteY52" fmla="*/ 4191069 h 5325571"/>
              <a:gd name="connsiteX53" fmla="*/ 3634 w 813948"/>
              <a:gd name="connsiteY53" fmla="*/ 4272845 h 5325571"/>
              <a:gd name="connsiteX54" fmla="*/ 6297 w 813948"/>
              <a:gd name="connsiteY54" fmla="*/ 4354535 h 5325571"/>
              <a:gd name="connsiteX55" fmla="*/ 9693 w 813948"/>
              <a:gd name="connsiteY55" fmla="*/ 4436134 h 5325571"/>
              <a:gd name="connsiteX56" fmla="*/ 13825 w 813948"/>
              <a:gd name="connsiteY56" fmla="*/ 4517633 h 5325571"/>
              <a:gd name="connsiteX57" fmla="*/ 18697 w 813948"/>
              <a:gd name="connsiteY57" fmla="*/ 4599026 h 5325571"/>
              <a:gd name="connsiteX58" fmla="*/ 24312 w 813948"/>
              <a:gd name="connsiteY58" fmla="*/ 4680304 h 5325571"/>
              <a:gd name="connsiteX59" fmla="*/ 30674 w 813948"/>
              <a:gd name="connsiteY59" fmla="*/ 4761462 h 5325571"/>
              <a:gd name="connsiteX60" fmla="*/ 37786 w 813948"/>
              <a:gd name="connsiteY60" fmla="*/ 4842491 h 5325571"/>
              <a:gd name="connsiteX61" fmla="*/ 45653 w 813948"/>
              <a:gd name="connsiteY61" fmla="*/ 4923385 h 5325571"/>
              <a:gd name="connsiteX62" fmla="*/ 54278 w 813948"/>
              <a:gd name="connsiteY62" fmla="*/ 5004137 h 5325571"/>
              <a:gd name="connsiteX63" fmla="*/ 63665 w 813948"/>
              <a:gd name="connsiteY63" fmla="*/ 5084738 h 5325571"/>
              <a:gd name="connsiteX64" fmla="*/ 73817 w 813948"/>
              <a:gd name="connsiteY64" fmla="*/ 5165182 h 5325571"/>
              <a:gd name="connsiteX65" fmla="*/ 84738 w 813948"/>
              <a:gd name="connsiteY65" fmla="*/ 5245462 h 5325571"/>
              <a:gd name="connsiteX66" fmla="*/ 96432 w 813948"/>
              <a:gd name="connsiteY66" fmla="*/ 5325571 h 532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813948" h="5325571">
                <a:moveTo>
                  <a:pt x="813948" y="0"/>
                </a:moveTo>
                <a:lnTo>
                  <a:pt x="783060" y="76283"/>
                </a:lnTo>
                <a:lnTo>
                  <a:pt x="752708" y="152854"/>
                </a:lnTo>
                <a:lnTo>
                  <a:pt x="722898" y="229708"/>
                </a:lnTo>
                <a:lnTo>
                  <a:pt x="693633" y="306836"/>
                </a:lnTo>
                <a:lnTo>
                  <a:pt x="664917" y="384232"/>
                </a:lnTo>
                <a:lnTo>
                  <a:pt x="636752" y="461888"/>
                </a:lnTo>
                <a:lnTo>
                  <a:pt x="609144" y="539798"/>
                </a:lnTo>
                <a:lnTo>
                  <a:pt x="582095" y="617953"/>
                </a:lnTo>
                <a:lnTo>
                  <a:pt x="555609" y="696348"/>
                </a:lnTo>
                <a:lnTo>
                  <a:pt x="529690" y="774973"/>
                </a:lnTo>
                <a:lnTo>
                  <a:pt x="504342" y="853824"/>
                </a:lnTo>
                <a:lnTo>
                  <a:pt x="479568" y="932891"/>
                </a:lnTo>
                <a:lnTo>
                  <a:pt x="455372" y="1012168"/>
                </a:lnTo>
                <a:lnTo>
                  <a:pt x="431758" y="1091649"/>
                </a:lnTo>
                <a:lnTo>
                  <a:pt x="408729" y="1171325"/>
                </a:lnTo>
                <a:lnTo>
                  <a:pt x="386289" y="1251189"/>
                </a:lnTo>
                <a:lnTo>
                  <a:pt x="364441" y="1331234"/>
                </a:lnTo>
                <a:lnTo>
                  <a:pt x="343190" y="1411454"/>
                </a:lnTo>
                <a:lnTo>
                  <a:pt x="322539" y="1491840"/>
                </a:lnTo>
                <a:lnTo>
                  <a:pt x="302492" y="1572386"/>
                </a:lnTo>
                <a:lnTo>
                  <a:pt x="283052" y="1653084"/>
                </a:lnTo>
                <a:lnTo>
                  <a:pt x="264222" y="1733928"/>
                </a:lnTo>
                <a:lnTo>
                  <a:pt x="246008" y="1814909"/>
                </a:lnTo>
                <a:lnTo>
                  <a:pt x="228412" y="1896022"/>
                </a:lnTo>
                <a:lnTo>
                  <a:pt x="211438" y="1977258"/>
                </a:lnTo>
                <a:lnTo>
                  <a:pt x="195090" y="2058610"/>
                </a:lnTo>
                <a:lnTo>
                  <a:pt x="179371" y="2140072"/>
                </a:lnTo>
                <a:lnTo>
                  <a:pt x="164285" y="2221636"/>
                </a:lnTo>
                <a:lnTo>
                  <a:pt x="149836" y="2303294"/>
                </a:lnTo>
                <a:lnTo>
                  <a:pt x="136027" y="2385041"/>
                </a:lnTo>
                <a:lnTo>
                  <a:pt x="122862" y="2466867"/>
                </a:lnTo>
                <a:lnTo>
                  <a:pt x="110346" y="2548767"/>
                </a:lnTo>
                <a:lnTo>
                  <a:pt x="98480" y="2630733"/>
                </a:lnTo>
                <a:lnTo>
                  <a:pt x="87270" y="2712758"/>
                </a:lnTo>
                <a:lnTo>
                  <a:pt x="76718" y="2794835"/>
                </a:lnTo>
                <a:lnTo>
                  <a:pt x="66829" y="2876956"/>
                </a:lnTo>
                <a:lnTo>
                  <a:pt x="57606" y="2959114"/>
                </a:lnTo>
                <a:lnTo>
                  <a:pt x="49053" y="3041303"/>
                </a:lnTo>
                <a:lnTo>
                  <a:pt x="41174" y="3123514"/>
                </a:lnTo>
                <a:lnTo>
                  <a:pt x="33971" y="3205741"/>
                </a:lnTo>
                <a:lnTo>
                  <a:pt x="27450" y="3287976"/>
                </a:lnTo>
                <a:lnTo>
                  <a:pt x="21613" y="3370213"/>
                </a:lnTo>
                <a:lnTo>
                  <a:pt x="16464" y="3452444"/>
                </a:lnTo>
                <a:lnTo>
                  <a:pt x="12007" y="3534662"/>
                </a:lnTo>
                <a:lnTo>
                  <a:pt x="8245" y="3616859"/>
                </a:lnTo>
                <a:lnTo>
                  <a:pt x="5183" y="3699029"/>
                </a:lnTo>
                <a:cubicBezTo>
                  <a:pt x="4397" y="3726407"/>
                  <a:pt x="3610" y="3753786"/>
                  <a:pt x="2824" y="3781164"/>
                </a:cubicBezTo>
                <a:lnTo>
                  <a:pt x="1171" y="3863258"/>
                </a:lnTo>
                <a:cubicBezTo>
                  <a:pt x="857" y="3890606"/>
                  <a:pt x="542" y="3917954"/>
                  <a:pt x="228" y="3945302"/>
                </a:cubicBezTo>
                <a:lnTo>
                  <a:pt x="0" y="4027290"/>
                </a:lnTo>
                <a:cubicBezTo>
                  <a:pt x="163" y="4054598"/>
                  <a:pt x="325" y="4081907"/>
                  <a:pt x="488" y="4109215"/>
                </a:cubicBezTo>
                <a:cubicBezTo>
                  <a:pt x="892" y="4136500"/>
                  <a:pt x="1295" y="4163784"/>
                  <a:pt x="1699" y="4191069"/>
                </a:cubicBezTo>
                <a:lnTo>
                  <a:pt x="3634" y="4272845"/>
                </a:lnTo>
                <a:cubicBezTo>
                  <a:pt x="4522" y="4300075"/>
                  <a:pt x="5409" y="4327305"/>
                  <a:pt x="6297" y="4354535"/>
                </a:cubicBezTo>
                <a:lnTo>
                  <a:pt x="9693" y="4436134"/>
                </a:lnTo>
                <a:lnTo>
                  <a:pt x="13825" y="4517633"/>
                </a:lnTo>
                <a:lnTo>
                  <a:pt x="18697" y="4599026"/>
                </a:lnTo>
                <a:lnTo>
                  <a:pt x="24312" y="4680304"/>
                </a:lnTo>
                <a:lnTo>
                  <a:pt x="30674" y="4761462"/>
                </a:lnTo>
                <a:lnTo>
                  <a:pt x="37786" y="4842491"/>
                </a:lnTo>
                <a:lnTo>
                  <a:pt x="45653" y="4923385"/>
                </a:lnTo>
                <a:lnTo>
                  <a:pt x="54278" y="5004137"/>
                </a:lnTo>
                <a:lnTo>
                  <a:pt x="63665" y="5084738"/>
                </a:lnTo>
                <a:lnTo>
                  <a:pt x="73817" y="5165182"/>
                </a:lnTo>
                <a:lnTo>
                  <a:pt x="84738" y="5245462"/>
                </a:lnTo>
                <a:lnTo>
                  <a:pt x="96432" y="5325571"/>
                </a:lnTo>
              </a:path>
            </a:pathLst>
          </a:custGeom>
          <a:ln w="12700">
            <a:solidFill>
              <a:srgbClr val="7EB61C"/>
            </a:solidFill>
          </a:ln>
        </p:spPr>
        <p:txBody>
          <a:bodyPr wrap="square" lIns="0" tIns="0" rIns="0" bIns="0" rtlCol="0"/>
          <a:lstStyle/>
          <a:p>
            <a:pPr rtl="0"/>
            <a:endParaRPr lang="en-US" dirty="0"/>
          </a:p>
        </p:txBody>
      </p:sp>
      <p:sp>
        <p:nvSpPr>
          <p:cNvPr id="7" name="object 12">
            <a:extLst>
              <a:ext uri="{FF2B5EF4-FFF2-40B4-BE49-F238E27FC236}">
                <a16:creationId xmlns:a16="http://schemas.microsoft.com/office/drawing/2014/main" id="{7193E228-1A0F-DA4C-3AA2-48A26E81716E}"/>
              </a:ext>
            </a:extLst>
          </p:cNvPr>
          <p:cNvSpPr/>
          <p:nvPr userDrawn="1"/>
        </p:nvSpPr>
        <p:spPr>
          <a:xfrm rot="19554911" flipH="1">
            <a:off x="8358292" y="-560968"/>
            <a:ext cx="1399544" cy="7687090"/>
          </a:xfrm>
          <a:custGeom>
            <a:avLst/>
            <a:gdLst>
              <a:gd name="connsiteX0" fmla="*/ 467755 w 1245204"/>
              <a:gd name="connsiteY0" fmla="*/ 0 h 6788780"/>
              <a:gd name="connsiteX1" fmla="*/ 441009 w 1245204"/>
              <a:gd name="connsiteY1" fmla="*/ 57163 h 6788780"/>
              <a:gd name="connsiteX2" fmla="*/ 415418 w 1245204"/>
              <a:gd name="connsiteY2" fmla="*/ 114508 h 6788780"/>
              <a:gd name="connsiteX3" fmla="*/ 390995 w 1245204"/>
              <a:gd name="connsiteY3" fmla="*/ 172031 h 6788780"/>
              <a:gd name="connsiteX4" fmla="*/ 367750 w 1245204"/>
              <a:gd name="connsiteY4" fmla="*/ 229730 h 6788780"/>
              <a:gd name="connsiteX5" fmla="*/ 343698 w 1245204"/>
              <a:gd name="connsiteY5" fmla="*/ 292376 h 6788780"/>
              <a:gd name="connsiteX6" fmla="*/ 320488 w 1245204"/>
              <a:gd name="connsiteY6" fmla="*/ 355452 h 6788780"/>
              <a:gd name="connsiteX7" fmla="*/ 298119 w 1245204"/>
              <a:gd name="connsiteY7" fmla="*/ 418950 h 6788780"/>
              <a:gd name="connsiteX8" fmla="*/ 276587 w 1245204"/>
              <a:gd name="connsiteY8" fmla="*/ 482863 h 6788780"/>
              <a:gd name="connsiteX9" fmla="*/ 255888 w 1245204"/>
              <a:gd name="connsiteY9" fmla="*/ 547183 h 6788780"/>
              <a:gd name="connsiteX10" fmla="*/ 236020 w 1245204"/>
              <a:gd name="connsiteY10" fmla="*/ 611903 h 6788780"/>
              <a:gd name="connsiteX11" fmla="*/ 216979 w 1245204"/>
              <a:gd name="connsiteY11" fmla="*/ 677016 h 6788780"/>
              <a:gd name="connsiteX12" fmla="*/ 198763 w 1245204"/>
              <a:gd name="connsiteY12" fmla="*/ 742515 h 6788780"/>
              <a:gd name="connsiteX13" fmla="*/ 181367 w 1245204"/>
              <a:gd name="connsiteY13" fmla="*/ 808391 h 6788780"/>
              <a:gd name="connsiteX14" fmla="*/ 164790 w 1245204"/>
              <a:gd name="connsiteY14" fmla="*/ 874637 h 6788780"/>
              <a:gd name="connsiteX15" fmla="*/ 149027 w 1245204"/>
              <a:gd name="connsiteY15" fmla="*/ 941247 h 6788780"/>
              <a:gd name="connsiteX16" fmla="*/ 134076 w 1245204"/>
              <a:gd name="connsiteY16" fmla="*/ 1008213 h 6788780"/>
              <a:gd name="connsiteX17" fmla="*/ 119933 w 1245204"/>
              <a:gd name="connsiteY17" fmla="*/ 1075527 h 6788780"/>
              <a:gd name="connsiteX18" fmla="*/ 106596 w 1245204"/>
              <a:gd name="connsiteY18" fmla="*/ 1143182 h 6788780"/>
              <a:gd name="connsiteX19" fmla="*/ 94060 w 1245204"/>
              <a:gd name="connsiteY19" fmla="*/ 1211171 h 6788780"/>
              <a:gd name="connsiteX20" fmla="*/ 82324 w 1245204"/>
              <a:gd name="connsiteY20" fmla="*/ 1279486 h 6788780"/>
              <a:gd name="connsiteX21" fmla="*/ 71383 w 1245204"/>
              <a:gd name="connsiteY21" fmla="*/ 1348120 h 6788780"/>
              <a:gd name="connsiteX22" fmla="*/ 61235 w 1245204"/>
              <a:gd name="connsiteY22" fmla="*/ 1417065 h 6788780"/>
              <a:gd name="connsiteX23" fmla="*/ 51876 w 1245204"/>
              <a:gd name="connsiteY23" fmla="*/ 1486315 h 6788780"/>
              <a:gd name="connsiteX24" fmla="*/ 43304 w 1245204"/>
              <a:gd name="connsiteY24" fmla="*/ 1555861 h 6788780"/>
              <a:gd name="connsiteX25" fmla="*/ 35514 w 1245204"/>
              <a:gd name="connsiteY25" fmla="*/ 1625697 h 6788780"/>
              <a:gd name="connsiteX26" fmla="*/ 28505 w 1245204"/>
              <a:gd name="connsiteY26" fmla="*/ 1695815 h 6788780"/>
              <a:gd name="connsiteX27" fmla="*/ 22273 w 1245204"/>
              <a:gd name="connsiteY27" fmla="*/ 1766208 h 6788780"/>
              <a:gd name="connsiteX28" fmla="*/ 16814 w 1245204"/>
              <a:gd name="connsiteY28" fmla="*/ 1836868 h 6788780"/>
              <a:gd name="connsiteX29" fmla="*/ 12126 w 1245204"/>
              <a:gd name="connsiteY29" fmla="*/ 1907788 h 6788780"/>
              <a:gd name="connsiteX30" fmla="*/ 8205 w 1245204"/>
              <a:gd name="connsiteY30" fmla="*/ 1978960 h 6788780"/>
              <a:gd name="connsiteX31" fmla="*/ 5048 w 1245204"/>
              <a:gd name="connsiteY31" fmla="*/ 2050378 h 6788780"/>
              <a:gd name="connsiteX32" fmla="*/ 2652 w 1245204"/>
              <a:gd name="connsiteY32" fmla="*/ 2122033 h 6788780"/>
              <a:gd name="connsiteX33" fmla="*/ 1014 w 1245204"/>
              <a:gd name="connsiteY33" fmla="*/ 2193919 h 6788780"/>
              <a:gd name="connsiteX34" fmla="*/ 131 w 1245204"/>
              <a:gd name="connsiteY34" fmla="*/ 2266028 h 6788780"/>
              <a:gd name="connsiteX35" fmla="*/ 0 w 1245204"/>
              <a:gd name="connsiteY35" fmla="*/ 2338353 h 6788780"/>
              <a:gd name="connsiteX36" fmla="*/ 616 w 1245204"/>
              <a:gd name="connsiteY36" fmla="*/ 2410886 h 6788780"/>
              <a:gd name="connsiteX37" fmla="*/ 1978 w 1245204"/>
              <a:gd name="connsiteY37" fmla="*/ 2483620 h 6788780"/>
              <a:gd name="connsiteX38" fmla="*/ 4082 w 1245204"/>
              <a:gd name="connsiteY38" fmla="*/ 2556547 h 6788780"/>
              <a:gd name="connsiteX39" fmla="*/ 6925 w 1245204"/>
              <a:gd name="connsiteY39" fmla="*/ 2629661 h 6788780"/>
              <a:gd name="connsiteX40" fmla="*/ 10504 w 1245204"/>
              <a:gd name="connsiteY40" fmla="*/ 2702954 h 6788780"/>
              <a:gd name="connsiteX41" fmla="*/ 14815 w 1245204"/>
              <a:gd name="connsiteY41" fmla="*/ 2776418 h 6788780"/>
              <a:gd name="connsiteX42" fmla="*/ 19855 w 1245204"/>
              <a:gd name="connsiteY42" fmla="*/ 2850046 h 6788780"/>
              <a:gd name="connsiteX43" fmla="*/ 25622 w 1245204"/>
              <a:gd name="connsiteY43" fmla="*/ 2923831 h 6788780"/>
              <a:gd name="connsiteX44" fmla="*/ 32112 w 1245204"/>
              <a:gd name="connsiteY44" fmla="*/ 2997765 h 6788780"/>
              <a:gd name="connsiteX45" fmla="*/ 39322 w 1245204"/>
              <a:gd name="connsiteY45" fmla="*/ 3071841 h 6788780"/>
              <a:gd name="connsiteX46" fmla="*/ 47249 w 1245204"/>
              <a:gd name="connsiteY46" fmla="*/ 3146052 h 6788780"/>
              <a:gd name="connsiteX47" fmla="*/ 55889 w 1245204"/>
              <a:gd name="connsiteY47" fmla="*/ 3220390 h 6788780"/>
              <a:gd name="connsiteX48" fmla="*/ 65240 w 1245204"/>
              <a:gd name="connsiteY48" fmla="*/ 3294847 h 6788780"/>
              <a:gd name="connsiteX49" fmla="*/ 75298 w 1245204"/>
              <a:gd name="connsiteY49" fmla="*/ 3369418 h 6788780"/>
              <a:gd name="connsiteX50" fmla="*/ 86060 w 1245204"/>
              <a:gd name="connsiteY50" fmla="*/ 3444093 h 6788780"/>
              <a:gd name="connsiteX51" fmla="*/ 97523 w 1245204"/>
              <a:gd name="connsiteY51" fmla="*/ 3518866 h 6788780"/>
              <a:gd name="connsiteX52" fmla="*/ 109684 w 1245204"/>
              <a:gd name="connsiteY52" fmla="*/ 3593729 h 6788780"/>
              <a:gd name="connsiteX53" fmla="*/ 122539 w 1245204"/>
              <a:gd name="connsiteY53" fmla="*/ 3668676 h 6788780"/>
              <a:gd name="connsiteX54" fmla="*/ 136086 w 1245204"/>
              <a:gd name="connsiteY54" fmla="*/ 3743698 h 6788780"/>
              <a:gd name="connsiteX55" fmla="*/ 150322 w 1245204"/>
              <a:gd name="connsiteY55" fmla="*/ 3818788 h 6788780"/>
              <a:gd name="connsiteX56" fmla="*/ 165242 w 1245204"/>
              <a:gd name="connsiteY56" fmla="*/ 3893939 h 6788780"/>
              <a:gd name="connsiteX57" fmla="*/ 180845 w 1245204"/>
              <a:gd name="connsiteY57" fmla="*/ 3969144 h 6788780"/>
              <a:gd name="connsiteX58" fmla="*/ 197126 w 1245204"/>
              <a:gd name="connsiteY58" fmla="*/ 4044394 h 6788780"/>
              <a:gd name="connsiteX59" fmla="*/ 214083 w 1245204"/>
              <a:gd name="connsiteY59" fmla="*/ 4119684 h 6788780"/>
              <a:gd name="connsiteX60" fmla="*/ 231713 w 1245204"/>
              <a:gd name="connsiteY60" fmla="*/ 4195004 h 6788780"/>
              <a:gd name="connsiteX61" fmla="*/ 250012 w 1245204"/>
              <a:gd name="connsiteY61" fmla="*/ 4270349 h 6788780"/>
              <a:gd name="connsiteX62" fmla="*/ 268977 w 1245204"/>
              <a:gd name="connsiteY62" fmla="*/ 4345711 h 6788780"/>
              <a:gd name="connsiteX63" fmla="*/ 288606 w 1245204"/>
              <a:gd name="connsiteY63" fmla="*/ 4421081 h 6788780"/>
              <a:gd name="connsiteX64" fmla="*/ 308894 w 1245204"/>
              <a:gd name="connsiteY64" fmla="*/ 4496454 h 6788780"/>
              <a:gd name="connsiteX65" fmla="*/ 329839 w 1245204"/>
              <a:gd name="connsiteY65" fmla="*/ 4571821 h 6788780"/>
              <a:gd name="connsiteX66" fmla="*/ 351437 w 1245204"/>
              <a:gd name="connsiteY66" fmla="*/ 4647175 h 6788780"/>
              <a:gd name="connsiteX67" fmla="*/ 373686 w 1245204"/>
              <a:gd name="connsiteY67" fmla="*/ 4722509 h 6788780"/>
              <a:gd name="connsiteX68" fmla="*/ 396582 w 1245204"/>
              <a:gd name="connsiteY68" fmla="*/ 4797815 h 6788780"/>
              <a:gd name="connsiteX69" fmla="*/ 420122 w 1245204"/>
              <a:gd name="connsiteY69" fmla="*/ 4873086 h 6788780"/>
              <a:gd name="connsiteX70" fmla="*/ 444303 w 1245204"/>
              <a:gd name="connsiteY70" fmla="*/ 4948315 h 6788780"/>
              <a:gd name="connsiteX71" fmla="*/ 469122 w 1245204"/>
              <a:gd name="connsiteY71" fmla="*/ 5023494 h 6788780"/>
              <a:gd name="connsiteX72" fmla="*/ 494576 w 1245204"/>
              <a:gd name="connsiteY72" fmla="*/ 5098616 h 6788780"/>
              <a:gd name="connsiteX73" fmla="*/ 520661 w 1245204"/>
              <a:gd name="connsiteY73" fmla="*/ 5173673 h 6788780"/>
              <a:gd name="connsiteX74" fmla="*/ 547374 w 1245204"/>
              <a:gd name="connsiteY74" fmla="*/ 5248659 h 6788780"/>
              <a:gd name="connsiteX75" fmla="*/ 574712 w 1245204"/>
              <a:gd name="connsiteY75" fmla="*/ 5323565 h 6788780"/>
              <a:gd name="connsiteX76" fmla="*/ 602672 w 1245204"/>
              <a:gd name="connsiteY76" fmla="*/ 5398385 h 6788780"/>
              <a:gd name="connsiteX77" fmla="*/ 631252 w 1245204"/>
              <a:gd name="connsiteY77" fmla="*/ 5473111 h 6788780"/>
              <a:gd name="connsiteX78" fmla="*/ 660446 w 1245204"/>
              <a:gd name="connsiteY78" fmla="*/ 5547736 h 6788780"/>
              <a:gd name="connsiteX79" fmla="*/ 690254 w 1245204"/>
              <a:gd name="connsiteY79" fmla="*/ 5622251 h 6788780"/>
              <a:gd name="connsiteX80" fmla="*/ 720670 w 1245204"/>
              <a:gd name="connsiteY80" fmla="*/ 5696651 h 6788780"/>
              <a:gd name="connsiteX81" fmla="*/ 751693 w 1245204"/>
              <a:gd name="connsiteY81" fmla="*/ 5770927 h 6788780"/>
              <a:gd name="connsiteX82" fmla="*/ 783319 w 1245204"/>
              <a:gd name="connsiteY82" fmla="*/ 5845072 h 6788780"/>
              <a:gd name="connsiteX83" fmla="*/ 815544 w 1245204"/>
              <a:gd name="connsiteY83" fmla="*/ 5919079 h 6788780"/>
              <a:gd name="connsiteX84" fmla="*/ 848366 w 1245204"/>
              <a:gd name="connsiteY84" fmla="*/ 5992941 h 6788780"/>
              <a:gd name="connsiteX85" fmla="*/ 881782 w 1245204"/>
              <a:gd name="connsiteY85" fmla="*/ 6066649 h 6788780"/>
              <a:gd name="connsiteX86" fmla="*/ 915788 w 1245204"/>
              <a:gd name="connsiteY86" fmla="*/ 6140197 h 6788780"/>
              <a:gd name="connsiteX87" fmla="*/ 950382 w 1245204"/>
              <a:gd name="connsiteY87" fmla="*/ 6213578 h 6788780"/>
              <a:gd name="connsiteX88" fmla="*/ 985559 w 1245204"/>
              <a:gd name="connsiteY88" fmla="*/ 6286783 h 6788780"/>
              <a:gd name="connsiteX89" fmla="*/ 1021317 w 1245204"/>
              <a:gd name="connsiteY89" fmla="*/ 6359806 h 6788780"/>
              <a:gd name="connsiteX90" fmla="*/ 1057653 w 1245204"/>
              <a:gd name="connsiteY90" fmla="*/ 6432639 h 6788780"/>
              <a:gd name="connsiteX91" fmla="*/ 1094564 w 1245204"/>
              <a:gd name="connsiteY91" fmla="*/ 6505275 h 6788780"/>
              <a:gd name="connsiteX92" fmla="*/ 1132046 w 1245204"/>
              <a:gd name="connsiteY92" fmla="*/ 6577706 h 6788780"/>
              <a:gd name="connsiteX93" fmla="*/ 1170096 w 1245204"/>
              <a:gd name="connsiteY93" fmla="*/ 6649925 h 6788780"/>
              <a:gd name="connsiteX94" fmla="*/ 1208711 w 1245204"/>
              <a:gd name="connsiteY94" fmla="*/ 6721925 h 6788780"/>
              <a:gd name="connsiteX95" fmla="*/ 1245204 w 1245204"/>
              <a:gd name="connsiteY95" fmla="*/ 6788780 h 6788780"/>
              <a:gd name="connsiteX0" fmla="*/ 441009 w 1245204"/>
              <a:gd name="connsiteY0" fmla="*/ 0 h 6731617"/>
              <a:gd name="connsiteX1" fmla="*/ 415418 w 1245204"/>
              <a:gd name="connsiteY1" fmla="*/ 57345 h 6731617"/>
              <a:gd name="connsiteX2" fmla="*/ 390995 w 1245204"/>
              <a:gd name="connsiteY2" fmla="*/ 114868 h 6731617"/>
              <a:gd name="connsiteX3" fmla="*/ 367750 w 1245204"/>
              <a:gd name="connsiteY3" fmla="*/ 172567 h 6731617"/>
              <a:gd name="connsiteX4" fmla="*/ 343698 w 1245204"/>
              <a:gd name="connsiteY4" fmla="*/ 235213 h 6731617"/>
              <a:gd name="connsiteX5" fmla="*/ 320488 w 1245204"/>
              <a:gd name="connsiteY5" fmla="*/ 298289 h 6731617"/>
              <a:gd name="connsiteX6" fmla="*/ 298119 w 1245204"/>
              <a:gd name="connsiteY6" fmla="*/ 361787 h 6731617"/>
              <a:gd name="connsiteX7" fmla="*/ 276587 w 1245204"/>
              <a:gd name="connsiteY7" fmla="*/ 425700 h 6731617"/>
              <a:gd name="connsiteX8" fmla="*/ 255888 w 1245204"/>
              <a:gd name="connsiteY8" fmla="*/ 490020 h 6731617"/>
              <a:gd name="connsiteX9" fmla="*/ 236020 w 1245204"/>
              <a:gd name="connsiteY9" fmla="*/ 554740 h 6731617"/>
              <a:gd name="connsiteX10" fmla="*/ 216979 w 1245204"/>
              <a:gd name="connsiteY10" fmla="*/ 619853 h 6731617"/>
              <a:gd name="connsiteX11" fmla="*/ 198763 w 1245204"/>
              <a:gd name="connsiteY11" fmla="*/ 685352 h 6731617"/>
              <a:gd name="connsiteX12" fmla="*/ 181367 w 1245204"/>
              <a:gd name="connsiteY12" fmla="*/ 751228 h 6731617"/>
              <a:gd name="connsiteX13" fmla="*/ 164790 w 1245204"/>
              <a:gd name="connsiteY13" fmla="*/ 817474 h 6731617"/>
              <a:gd name="connsiteX14" fmla="*/ 149027 w 1245204"/>
              <a:gd name="connsiteY14" fmla="*/ 884084 h 6731617"/>
              <a:gd name="connsiteX15" fmla="*/ 134076 w 1245204"/>
              <a:gd name="connsiteY15" fmla="*/ 951050 h 6731617"/>
              <a:gd name="connsiteX16" fmla="*/ 119933 w 1245204"/>
              <a:gd name="connsiteY16" fmla="*/ 1018364 h 6731617"/>
              <a:gd name="connsiteX17" fmla="*/ 106596 w 1245204"/>
              <a:gd name="connsiteY17" fmla="*/ 1086019 h 6731617"/>
              <a:gd name="connsiteX18" fmla="*/ 94060 w 1245204"/>
              <a:gd name="connsiteY18" fmla="*/ 1154008 h 6731617"/>
              <a:gd name="connsiteX19" fmla="*/ 82324 w 1245204"/>
              <a:gd name="connsiteY19" fmla="*/ 1222323 h 6731617"/>
              <a:gd name="connsiteX20" fmla="*/ 71383 w 1245204"/>
              <a:gd name="connsiteY20" fmla="*/ 1290957 h 6731617"/>
              <a:gd name="connsiteX21" fmla="*/ 61235 w 1245204"/>
              <a:gd name="connsiteY21" fmla="*/ 1359902 h 6731617"/>
              <a:gd name="connsiteX22" fmla="*/ 51876 w 1245204"/>
              <a:gd name="connsiteY22" fmla="*/ 1429152 h 6731617"/>
              <a:gd name="connsiteX23" fmla="*/ 43304 w 1245204"/>
              <a:gd name="connsiteY23" fmla="*/ 1498698 h 6731617"/>
              <a:gd name="connsiteX24" fmla="*/ 35514 w 1245204"/>
              <a:gd name="connsiteY24" fmla="*/ 1568534 h 6731617"/>
              <a:gd name="connsiteX25" fmla="*/ 28505 w 1245204"/>
              <a:gd name="connsiteY25" fmla="*/ 1638652 h 6731617"/>
              <a:gd name="connsiteX26" fmla="*/ 22273 w 1245204"/>
              <a:gd name="connsiteY26" fmla="*/ 1709045 h 6731617"/>
              <a:gd name="connsiteX27" fmla="*/ 16814 w 1245204"/>
              <a:gd name="connsiteY27" fmla="*/ 1779705 h 6731617"/>
              <a:gd name="connsiteX28" fmla="*/ 12126 w 1245204"/>
              <a:gd name="connsiteY28" fmla="*/ 1850625 h 6731617"/>
              <a:gd name="connsiteX29" fmla="*/ 8205 w 1245204"/>
              <a:gd name="connsiteY29" fmla="*/ 1921797 h 6731617"/>
              <a:gd name="connsiteX30" fmla="*/ 5048 w 1245204"/>
              <a:gd name="connsiteY30" fmla="*/ 1993215 h 6731617"/>
              <a:gd name="connsiteX31" fmla="*/ 2652 w 1245204"/>
              <a:gd name="connsiteY31" fmla="*/ 2064870 h 6731617"/>
              <a:gd name="connsiteX32" fmla="*/ 1014 w 1245204"/>
              <a:gd name="connsiteY32" fmla="*/ 2136756 h 6731617"/>
              <a:gd name="connsiteX33" fmla="*/ 131 w 1245204"/>
              <a:gd name="connsiteY33" fmla="*/ 2208865 h 6731617"/>
              <a:gd name="connsiteX34" fmla="*/ 0 w 1245204"/>
              <a:gd name="connsiteY34" fmla="*/ 2281190 h 6731617"/>
              <a:gd name="connsiteX35" fmla="*/ 616 w 1245204"/>
              <a:gd name="connsiteY35" fmla="*/ 2353723 h 6731617"/>
              <a:gd name="connsiteX36" fmla="*/ 1978 w 1245204"/>
              <a:gd name="connsiteY36" fmla="*/ 2426457 h 6731617"/>
              <a:gd name="connsiteX37" fmla="*/ 4082 w 1245204"/>
              <a:gd name="connsiteY37" fmla="*/ 2499384 h 6731617"/>
              <a:gd name="connsiteX38" fmla="*/ 6925 w 1245204"/>
              <a:gd name="connsiteY38" fmla="*/ 2572498 h 6731617"/>
              <a:gd name="connsiteX39" fmla="*/ 10504 w 1245204"/>
              <a:gd name="connsiteY39" fmla="*/ 2645791 h 6731617"/>
              <a:gd name="connsiteX40" fmla="*/ 14815 w 1245204"/>
              <a:gd name="connsiteY40" fmla="*/ 2719255 h 6731617"/>
              <a:gd name="connsiteX41" fmla="*/ 19855 w 1245204"/>
              <a:gd name="connsiteY41" fmla="*/ 2792883 h 6731617"/>
              <a:gd name="connsiteX42" fmla="*/ 25622 w 1245204"/>
              <a:gd name="connsiteY42" fmla="*/ 2866668 h 6731617"/>
              <a:gd name="connsiteX43" fmla="*/ 32112 w 1245204"/>
              <a:gd name="connsiteY43" fmla="*/ 2940602 h 6731617"/>
              <a:gd name="connsiteX44" fmla="*/ 39322 w 1245204"/>
              <a:gd name="connsiteY44" fmla="*/ 3014678 h 6731617"/>
              <a:gd name="connsiteX45" fmla="*/ 47249 w 1245204"/>
              <a:gd name="connsiteY45" fmla="*/ 3088889 h 6731617"/>
              <a:gd name="connsiteX46" fmla="*/ 55889 w 1245204"/>
              <a:gd name="connsiteY46" fmla="*/ 3163227 h 6731617"/>
              <a:gd name="connsiteX47" fmla="*/ 65240 w 1245204"/>
              <a:gd name="connsiteY47" fmla="*/ 3237684 h 6731617"/>
              <a:gd name="connsiteX48" fmla="*/ 75298 w 1245204"/>
              <a:gd name="connsiteY48" fmla="*/ 3312255 h 6731617"/>
              <a:gd name="connsiteX49" fmla="*/ 86060 w 1245204"/>
              <a:gd name="connsiteY49" fmla="*/ 3386930 h 6731617"/>
              <a:gd name="connsiteX50" fmla="*/ 97523 w 1245204"/>
              <a:gd name="connsiteY50" fmla="*/ 3461703 h 6731617"/>
              <a:gd name="connsiteX51" fmla="*/ 109684 w 1245204"/>
              <a:gd name="connsiteY51" fmla="*/ 3536566 h 6731617"/>
              <a:gd name="connsiteX52" fmla="*/ 122539 w 1245204"/>
              <a:gd name="connsiteY52" fmla="*/ 3611513 h 6731617"/>
              <a:gd name="connsiteX53" fmla="*/ 136086 w 1245204"/>
              <a:gd name="connsiteY53" fmla="*/ 3686535 h 6731617"/>
              <a:gd name="connsiteX54" fmla="*/ 150322 w 1245204"/>
              <a:gd name="connsiteY54" fmla="*/ 3761625 h 6731617"/>
              <a:gd name="connsiteX55" fmla="*/ 165242 w 1245204"/>
              <a:gd name="connsiteY55" fmla="*/ 3836776 h 6731617"/>
              <a:gd name="connsiteX56" fmla="*/ 180845 w 1245204"/>
              <a:gd name="connsiteY56" fmla="*/ 3911981 h 6731617"/>
              <a:gd name="connsiteX57" fmla="*/ 197126 w 1245204"/>
              <a:gd name="connsiteY57" fmla="*/ 3987231 h 6731617"/>
              <a:gd name="connsiteX58" fmla="*/ 214083 w 1245204"/>
              <a:gd name="connsiteY58" fmla="*/ 4062521 h 6731617"/>
              <a:gd name="connsiteX59" fmla="*/ 231713 w 1245204"/>
              <a:gd name="connsiteY59" fmla="*/ 4137841 h 6731617"/>
              <a:gd name="connsiteX60" fmla="*/ 250012 w 1245204"/>
              <a:gd name="connsiteY60" fmla="*/ 4213186 h 6731617"/>
              <a:gd name="connsiteX61" fmla="*/ 268977 w 1245204"/>
              <a:gd name="connsiteY61" fmla="*/ 4288548 h 6731617"/>
              <a:gd name="connsiteX62" fmla="*/ 288606 w 1245204"/>
              <a:gd name="connsiteY62" fmla="*/ 4363918 h 6731617"/>
              <a:gd name="connsiteX63" fmla="*/ 308894 w 1245204"/>
              <a:gd name="connsiteY63" fmla="*/ 4439291 h 6731617"/>
              <a:gd name="connsiteX64" fmla="*/ 329839 w 1245204"/>
              <a:gd name="connsiteY64" fmla="*/ 4514658 h 6731617"/>
              <a:gd name="connsiteX65" fmla="*/ 351437 w 1245204"/>
              <a:gd name="connsiteY65" fmla="*/ 4590012 h 6731617"/>
              <a:gd name="connsiteX66" fmla="*/ 373686 w 1245204"/>
              <a:gd name="connsiteY66" fmla="*/ 4665346 h 6731617"/>
              <a:gd name="connsiteX67" fmla="*/ 396582 w 1245204"/>
              <a:gd name="connsiteY67" fmla="*/ 4740652 h 6731617"/>
              <a:gd name="connsiteX68" fmla="*/ 420122 w 1245204"/>
              <a:gd name="connsiteY68" fmla="*/ 4815923 h 6731617"/>
              <a:gd name="connsiteX69" fmla="*/ 444303 w 1245204"/>
              <a:gd name="connsiteY69" fmla="*/ 4891152 h 6731617"/>
              <a:gd name="connsiteX70" fmla="*/ 469122 w 1245204"/>
              <a:gd name="connsiteY70" fmla="*/ 4966331 h 6731617"/>
              <a:gd name="connsiteX71" fmla="*/ 494576 w 1245204"/>
              <a:gd name="connsiteY71" fmla="*/ 5041453 h 6731617"/>
              <a:gd name="connsiteX72" fmla="*/ 520661 w 1245204"/>
              <a:gd name="connsiteY72" fmla="*/ 5116510 h 6731617"/>
              <a:gd name="connsiteX73" fmla="*/ 547374 w 1245204"/>
              <a:gd name="connsiteY73" fmla="*/ 5191496 h 6731617"/>
              <a:gd name="connsiteX74" fmla="*/ 574712 w 1245204"/>
              <a:gd name="connsiteY74" fmla="*/ 5266402 h 6731617"/>
              <a:gd name="connsiteX75" fmla="*/ 602672 w 1245204"/>
              <a:gd name="connsiteY75" fmla="*/ 5341222 h 6731617"/>
              <a:gd name="connsiteX76" fmla="*/ 631252 w 1245204"/>
              <a:gd name="connsiteY76" fmla="*/ 5415948 h 6731617"/>
              <a:gd name="connsiteX77" fmla="*/ 660446 w 1245204"/>
              <a:gd name="connsiteY77" fmla="*/ 5490573 h 6731617"/>
              <a:gd name="connsiteX78" fmla="*/ 690254 w 1245204"/>
              <a:gd name="connsiteY78" fmla="*/ 5565088 h 6731617"/>
              <a:gd name="connsiteX79" fmla="*/ 720670 w 1245204"/>
              <a:gd name="connsiteY79" fmla="*/ 5639488 h 6731617"/>
              <a:gd name="connsiteX80" fmla="*/ 751693 w 1245204"/>
              <a:gd name="connsiteY80" fmla="*/ 5713764 h 6731617"/>
              <a:gd name="connsiteX81" fmla="*/ 783319 w 1245204"/>
              <a:gd name="connsiteY81" fmla="*/ 5787909 h 6731617"/>
              <a:gd name="connsiteX82" fmla="*/ 815544 w 1245204"/>
              <a:gd name="connsiteY82" fmla="*/ 5861916 h 6731617"/>
              <a:gd name="connsiteX83" fmla="*/ 848366 w 1245204"/>
              <a:gd name="connsiteY83" fmla="*/ 5935778 h 6731617"/>
              <a:gd name="connsiteX84" fmla="*/ 881782 w 1245204"/>
              <a:gd name="connsiteY84" fmla="*/ 6009486 h 6731617"/>
              <a:gd name="connsiteX85" fmla="*/ 915788 w 1245204"/>
              <a:gd name="connsiteY85" fmla="*/ 6083034 h 6731617"/>
              <a:gd name="connsiteX86" fmla="*/ 950382 w 1245204"/>
              <a:gd name="connsiteY86" fmla="*/ 6156415 h 6731617"/>
              <a:gd name="connsiteX87" fmla="*/ 985559 w 1245204"/>
              <a:gd name="connsiteY87" fmla="*/ 6229620 h 6731617"/>
              <a:gd name="connsiteX88" fmla="*/ 1021317 w 1245204"/>
              <a:gd name="connsiteY88" fmla="*/ 6302643 h 6731617"/>
              <a:gd name="connsiteX89" fmla="*/ 1057653 w 1245204"/>
              <a:gd name="connsiteY89" fmla="*/ 6375476 h 6731617"/>
              <a:gd name="connsiteX90" fmla="*/ 1094564 w 1245204"/>
              <a:gd name="connsiteY90" fmla="*/ 6448112 h 6731617"/>
              <a:gd name="connsiteX91" fmla="*/ 1132046 w 1245204"/>
              <a:gd name="connsiteY91" fmla="*/ 6520543 h 6731617"/>
              <a:gd name="connsiteX92" fmla="*/ 1170096 w 1245204"/>
              <a:gd name="connsiteY92" fmla="*/ 6592762 h 6731617"/>
              <a:gd name="connsiteX93" fmla="*/ 1208711 w 1245204"/>
              <a:gd name="connsiteY93" fmla="*/ 6664762 h 6731617"/>
              <a:gd name="connsiteX94" fmla="*/ 1245204 w 1245204"/>
              <a:gd name="connsiteY94" fmla="*/ 6731617 h 6731617"/>
              <a:gd name="connsiteX0" fmla="*/ 441009 w 1208711"/>
              <a:gd name="connsiteY0" fmla="*/ 0 h 6664762"/>
              <a:gd name="connsiteX1" fmla="*/ 415418 w 1208711"/>
              <a:gd name="connsiteY1" fmla="*/ 57345 h 6664762"/>
              <a:gd name="connsiteX2" fmla="*/ 390995 w 1208711"/>
              <a:gd name="connsiteY2" fmla="*/ 114868 h 6664762"/>
              <a:gd name="connsiteX3" fmla="*/ 367750 w 1208711"/>
              <a:gd name="connsiteY3" fmla="*/ 172567 h 6664762"/>
              <a:gd name="connsiteX4" fmla="*/ 343698 w 1208711"/>
              <a:gd name="connsiteY4" fmla="*/ 235213 h 6664762"/>
              <a:gd name="connsiteX5" fmla="*/ 320488 w 1208711"/>
              <a:gd name="connsiteY5" fmla="*/ 298289 h 6664762"/>
              <a:gd name="connsiteX6" fmla="*/ 298119 w 1208711"/>
              <a:gd name="connsiteY6" fmla="*/ 361787 h 6664762"/>
              <a:gd name="connsiteX7" fmla="*/ 276587 w 1208711"/>
              <a:gd name="connsiteY7" fmla="*/ 425700 h 6664762"/>
              <a:gd name="connsiteX8" fmla="*/ 255888 w 1208711"/>
              <a:gd name="connsiteY8" fmla="*/ 490020 h 6664762"/>
              <a:gd name="connsiteX9" fmla="*/ 236020 w 1208711"/>
              <a:gd name="connsiteY9" fmla="*/ 554740 h 6664762"/>
              <a:gd name="connsiteX10" fmla="*/ 216979 w 1208711"/>
              <a:gd name="connsiteY10" fmla="*/ 619853 h 6664762"/>
              <a:gd name="connsiteX11" fmla="*/ 198763 w 1208711"/>
              <a:gd name="connsiteY11" fmla="*/ 685352 h 6664762"/>
              <a:gd name="connsiteX12" fmla="*/ 181367 w 1208711"/>
              <a:gd name="connsiteY12" fmla="*/ 751228 h 6664762"/>
              <a:gd name="connsiteX13" fmla="*/ 164790 w 1208711"/>
              <a:gd name="connsiteY13" fmla="*/ 817474 h 6664762"/>
              <a:gd name="connsiteX14" fmla="*/ 149027 w 1208711"/>
              <a:gd name="connsiteY14" fmla="*/ 884084 h 6664762"/>
              <a:gd name="connsiteX15" fmla="*/ 134076 w 1208711"/>
              <a:gd name="connsiteY15" fmla="*/ 951050 h 6664762"/>
              <a:gd name="connsiteX16" fmla="*/ 119933 w 1208711"/>
              <a:gd name="connsiteY16" fmla="*/ 1018364 h 6664762"/>
              <a:gd name="connsiteX17" fmla="*/ 106596 w 1208711"/>
              <a:gd name="connsiteY17" fmla="*/ 1086019 h 6664762"/>
              <a:gd name="connsiteX18" fmla="*/ 94060 w 1208711"/>
              <a:gd name="connsiteY18" fmla="*/ 1154008 h 6664762"/>
              <a:gd name="connsiteX19" fmla="*/ 82324 w 1208711"/>
              <a:gd name="connsiteY19" fmla="*/ 1222323 h 6664762"/>
              <a:gd name="connsiteX20" fmla="*/ 71383 w 1208711"/>
              <a:gd name="connsiteY20" fmla="*/ 1290957 h 6664762"/>
              <a:gd name="connsiteX21" fmla="*/ 61235 w 1208711"/>
              <a:gd name="connsiteY21" fmla="*/ 1359902 h 6664762"/>
              <a:gd name="connsiteX22" fmla="*/ 51876 w 1208711"/>
              <a:gd name="connsiteY22" fmla="*/ 1429152 h 6664762"/>
              <a:gd name="connsiteX23" fmla="*/ 43304 w 1208711"/>
              <a:gd name="connsiteY23" fmla="*/ 1498698 h 6664762"/>
              <a:gd name="connsiteX24" fmla="*/ 35514 w 1208711"/>
              <a:gd name="connsiteY24" fmla="*/ 1568534 h 6664762"/>
              <a:gd name="connsiteX25" fmla="*/ 28505 w 1208711"/>
              <a:gd name="connsiteY25" fmla="*/ 1638652 h 6664762"/>
              <a:gd name="connsiteX26" fmla="*/ 22273 w 1208711"/>
              <a:gd name="connsiteY26" fmla="*/ 1709045 h 6664762"/>
              <a:gd name="connsiteX27" fmla="*/ 16814 w 1208711"/>
              <a:gd name="connsiteY27" fmla="*/ 1779705 h 6664762"/>
              <a:gd name="connsiteX28" fmla="*/ 12126 w 1208711"/>
              <a:gd name="connsiteY28" fmla="*/ 1850625 h 6664762"/>
              <a:gd name="connsiteX29" fmla="*/ 8205 w 1208711"/>
              <a:gd name="connsiteY29" fmla="*/ 1921797 h 6664762"/>
              <a:gd name="connsiteX30" fmla="*/ 5048 w 1208711"/>
              <a:gd name="connsiteY30" fmla="*/ 1993215 h 6664762"/>
              <a:gd name="connsiteX31" fmla="*/ 2652 w 1208711"/>
              <a:gd name="connsiteY31" fmla="*/ 2064870 h 6664762"/>
              <a:gd name="connsiteX32" fmla="*/ 1014 w 1208711"/>
              <a:gd name="connsiteY32" fmla="*/ 2136756 h 6664762"/>
              <a:gd name="connsiteX33" fmla="*/ 131 w 1208711"/>
              <a:gd name="connsiteY33" fmla="*/ 2208865 h 6664762"/>
              <a:gd name="connsiteX34" fmla="*/ 0 w 1208711"/>
              <a:gd name="connsiteY34" fmla="*/ 2281190 h 6664762"/>
              <a:gd name="connsiteX35" fmla="*/ 616 w 1208711"/>
              <a:gd name="connsiteY35" fmla="*/ 2353723 h 6664762"/>
              <a:gd name="connsiteX36" fmla="*/ 1978 w 1208711"/>
              <a:gd name="connsiteY36" fmla="*/ 2426457 h 6664762"/>
              <a:gd name="connsiteX37" fmla="*/ 4082 w 1208711"/>
              <a:gd name="connsiteY37" fmla="*/ 2499384 h 6664762"/>
              <a:gd name="connsiteX38" fmla="*/ 6925 w 1208711"/>
              <a:gd name="connsiteY38" fmla="*/ 2572498 h 6664762"/>
              <a:gd name="connsiteX39" fmla="*/ 10504 w 1208711"/>
              <a:gd name="connsiteY39" fmla="*/ 2645791 h 6664762"/>
              <a:gd name="connsiteX40" fmla="*/ 14815 w 1208711"/>
              <a:gd name="connsiteY40" fmla="*/ 2719255 h 6664762"/>
              <a:gd name="connsiteX41" fmla="*/ 19855 w 1208711"/>
              <a:gd name="connsiteY41" fmla="*/ 2792883 h 6664762"/>
              <a:gd name="connsiteX42" fmla="*/ 25622 w 1208711"/>
              <a:gd name="connsiteY42" fmla="*/ 2866668 h 6664762"/>
              <a:gd name="connsiteX43" fmla="*/ 32112 w 1208711"/>
              <a:gd name="connsiteY43" fmla="*/ 2940602 h 6664762"/>
              <a:gd name="connsiteX44" fmla="*/ 39322 w 1208711"/>
              <a:gd name="connsiteY44" fmla="*/ 3014678 h 6664762"/>
              <a:gd name="connsiteX45" fmla="*/ 47249 w 1208711"/>
              <a:gd name="connsiteY45" fmla="*/ 3088889 h 6664762"/>
              <a:gd name="connsiteX46" fmla="*/ 55889 w 1208711"/>
              <a:gd name="connsiteY46" fmla="*/ 3163227 h 6664762"/>
              <a:gd name="connsiteX47" fmla="*/ 65240 w 1208711"/>
              <a:gd name="connsiteY47" fmla="*/ 3237684 h 6664762"/>
              <a:gd name="connsiteX48" fmla="*/ 75298 w 1208711"/>
              <a:gd name="connsiteY48" fmla="*/ 3312255 h 6664762"/>
              <a:gd name="connsiteX49" fmla="*/ 86060 w 1208711"/>
              <a:gd name="connsiteY49" fmla="*/ 3386930 h 6664762"/>
              <a:gd name="connsiteX50" fmla="*/ 97523 w 1208711"/>
              <a:gd name="connsiteY50" fmla="*/ 3461703 h 6664762"/>
              <a:gd name="connsiteX51" fmla="*/ 109684 w 1208711"/>
              <a:gd name="connsiteY51" fmla="*/ 3536566 h 6664762"/>
              <a:gd name="connsiteX52" fmla="*/ 122539 w 1208711"/>
              <a:gd name="connsiteY52" fmla="*/ 3611513 h 6664762"/>
              <a:gd name="connsiteX53" fmla="*/ 136086 w 1208711"/>
              <a:gd name="connsiteY53" fmla="*/ 3686535 h 6664762"/>
              <a:gd name="connsiteX54" fmla="*/ 150322 w 1208711"/>
              <a:gd name="connsiteY54" fmla="*/ 3761625 h 6664762"/>
              <a:gd name="connsiteX55" fmla="*/ 165242 w 1208711"/>
              <a:gd name="connsiteY55" fmla="*/ 3836776 h 6664762"/>
              <a:gd name="connsiteX56" fmla="*/ 180845 w 1208711"/>
              <a:gd name="connsiteY56" fmla="*/ 3911981 h 6664762"/>
              <a:gd name="connsiteX57" fmla="*/ 197126 w 1208711"/>
              <a:gd name="connsiteY57" fmla="*/ 3987231 h 6664762"/>
              <a:gd name="connsiteX58" fmla="*/ 214083 w 1208711"/>
              <a:gd name="connsiteY58" fmla="*/ 4062521 h 6664762"/>
              <a:gd name="connsiteX59" fmla="*/ 231713 w 1208711"/>
              <a:gd name="connsiteY59" fmla="*/ 4137841 h 6664762"/>
              <a:gd name="connsiteX60" fmla="*/ 250012 w 1208711"/>
              <a:gd name="connsiteY60" fmla="*/ 4213186 h 6664762"/>
              <a:gd name="connsiteX61" fmla="*/ 268977 w 1208711"/>
              <a:gd name="connsiteY61" fmla="*/ 4288548 h 6664762"/>
              <a:gd name="connsiteX62" fmla="*/ 288606 w 1208711"/>
              <a:gd name="connsiteY62" fmla="*/ 4363918 h 6664762"/>
              <a:gd name="connsiteX63" fmla="*/ 308894 w 1208711"/>
              <a:gd name="connsiteY63" fmla="*/ 4439291 h 6664762"/>
              <a:gd name="connsiteX64" fmla="*/ 329839 w 1208711"/>
              <a:gd name="connsiteY64" fmla="*/ 4514658 h 6664762"/>
              <a:gd name="connsiteX65" fmla="*/ 351437 w 1208711"/>
              <a:gd name="connsiteY65" fmla="*/ 4590012 h 6664762"/>
              <a:gd name="connsiteX66" fmla="*/ 373686 w 1208711"/>
              <a:gd name="connsiteY66" fmla="*/ 4665346 h 6664762"/>
              <a:gd name="connsiteX67" fmla="*/ 396582 w 1208711"/>
              <a:gd name="connsiteY67" fmla="*/ 4740652 h 6664762"/>
              <a:gd name="connsiteX68" fmla="*/ 420122 w 1208711"/>
              <a:gd name="connsiteY68" fmla="*/ 4815923 h 6664762"/>
              <a:gd name="connsiteX69" fmla="*/ 444303 w 1208711"/>
              <a:gd name="connsiteY69" fmla="*/ 4891152 h 6664762"/>
              <a:gd name="connsiteX70" fmla="*/ 469122 w 1208711"/>
              <a:gd name="connsiteY70" fmla="*/ 4966331 h 6664762"/>
              <a:gd name="connsiteX71" fmla="*/ 494576 w 1208711"/>
              <a:gd name="connsiteY71" fmla="*/ 5041453 h 6664762"/>
              <a:gd name="connsiteX72" fmla="*/ 520661 w 1208711"/>
              <a:gd name="connsiteY72" fmla="*/ 5116510 h 6664762"/>
              <a:gd name="connsiteX73" fmla="*/ 547374 w 1208711"/>
              <a:gd name="connsiteY73" fmla="*/ 5191496 h 6664762"/>
              <a:gd name="connsiteX74" fmla="*/ 574712 w 1208711"/>
              <a:gd name="connsiteY74" fmla="*/ 5266402 h 6664762"/>
              <a:gd name="connsiteX75" fmla="*/ 602672 w 1208711"/>
              <a:gd name="connsiteY75" fmla="*/ 5341222 h 6664762"/>
              <a:gd name="connsiteX76" fmla="*/ 631252 w 1208711"/>
              <a:gd name="connsiteY76" fmla="*/ 5415948 h 6664762"/>
              <a:gd name="connsiteX77" fmla="*/ 660446 w 1208711"/>
              <a:gd name="connsiteY77" fmla="*/ 5490573 h 6664762"/>
              <a:gd name="connsiteX78" fmla="*/ 690254 w 1208711"/>
              <a:gd name="connsiteY78" fmla="*/ 5565088 h 6664762"/>
              <a:gd name="connsiteX79" fmla="*/ 720670 w 1208711"/>
              <a:gd name="connsiteY79" fmla="*/ 5639488 h 6664762"/>
              <a:gd name="connsiteX80" fmla="*/ 751693 w 1208711"/>
              <a:gd name="connsiteY80" fmla="*/ 5713764 h 6664762"/>
              <a:gd name="connsiteX81" fmla="*/ 783319 w 1208711"/>
              <a:gd name="connsiteY81" fmla="*/ 5787909 h 6664762"/>
              <a:gd name="connsiteX82" fmla="*/ 815544 w 1208711"/>
              <a:gd name="connsiteY82" fmla="*/ 5861916 h 6664762"/>
              <a:gd name="connsiteX83" fmla="*/ 848366 w 1208711"/>
              <a:gd name="connsiteY83" fmla="*/ 5935778 h 6664762"/>
              <a:gd name="connsiteX84" fmla="*/ 881782 w 1208711"/>
              <a:gd name="connsiteY84" fmla="*/ 6009486 h 6664762"/>
              <a:gd name="connsiteX85" fmla="*/ 915788 w 1208711"/>
              <a:gd name="connsiteY85" fmla="*/ 6083034 h 6664762"/>
              <a:gd name="connsiteX86" fmla="*/ 950382 w 1208711"/>
              <a:gd name="connsiteY86" fmla="*/ 6156415 h 6664762"/>
              <a:gd name="connsiteX87" fmla="*/ 985559 w 1208711"/>
              <a:gd name="connsiteY87" fmla="*/ 6229620 h 6664762"/>
              <a:gd name="connsiteX88" fmla="*/ 1021317 w 1208711"/>
              <a:gd name="connsiteY88" fmla="*/ 6302643 h 6664762"/>
              <a:gd name="connsiteX89" fmla="*/ 1057653 w 1208711"/>
              <a:gd name="connsiteY89" fmla="*/ 6375476 h 6664762"/>
              <a:gd name="connsiteX90" fmla="*/ 1094564 w 1208711"/>
              <a:gd name="connsiteY90" fmla="*/ 6448112 h 6664762"/>
              <a:gd name="connsiteX91" fmla="*/ 1132046 w 1208711"/>
              <a:gd name="connsiteY91" fmla="*/ 6520543 h 6664762"/>
              <a:gd name="connsiteX92" fmla="*/ 1170096 w 1208711"/>
              <a:gd name="connsiteY92" fmla="*/ 6592762 h 6664762"/>
              <a:gd name="connsiteX93" fmla="*/ 1208711 w 1208711"/>
              <a:gd name="connsiteY93" fmla="*/ 6664762 h 666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208711" h="6664762">
                <a:moveTo>
                  <a:pt x="441009" y="0"/>
                </a:moveTo>
                <a:lnTo>
                  <a:pt x="415418" y="57345"/>
                </a:lnTo>
                <a:lnTo>
                  <a:pt x="390995" y="114868"/>
                </a:lnTo>
                <a:lnTo>
                  <a:pt x="367750" y="172567"/>
                </a:lnTo>
                <a:lnTo>
                  <a:pt x="343698" y="235213"/>
                </a:lnTo>
                <a:lnTo>
                  <a:pt x="320488" y="298289"/>
                </a:lnTo>
                <a:lnTo>
                  <a:pt x="298119" y="361787"/>
                </a:lnTo>
                <a:lnTo>
                  <a:pt x="276587" y="425700"/>
                </a:lnTo>
                <a:lnTo>
                  <a:pt x="255888" y="490020"/>
                </a:lnTo>
                <a:lnTo>
                  <a:pt x="236020" y="554740"/>
                </a:lnTo>
                <a:lnTo>
                  <a:pt x="216979" y="619853"/>
                </a:lnTo>
                <a:lnTo>
                  <a:pt x="198763" y="685352"/>
                </a:lnTo>
                <a:lnTo>
                  <a:pt x="181367" y="751228"/>
                </a:lnTo>
                <a:lnTo>
                  <a:pt x="164790" y="817474"/>
                </a:lnTo>
                <a:lnTo>
                  <a:pt x="149027" y="884084"/>
                </a:lnTo>
                <a:lnTo>
                  <a:pt x="134076" y="951050"/>
                </a:lnTo>
                <a:lnTo>
                  <a:pt x="119933" y="1018364"/>
                </a:lnTo>
                <a:lnTo>
                  <a:pt x="106596" y="1086019"/>
                </a:lnTo>
                <a:lnTo>
                  <a:pt x="94060" y="1154008"/>
                </a:lnTo>
                <a:lnTo>
                  <a:pt x="82324" y="1222323"/>
                </a:lnTo>
                <a:lnTo>
                  <a:pt x="71383" y="1290957"/>
                </a:lnTo>
                <a:lnTo>
                  <a:pt x="61235" y="1359902"/>
                </a:lnTo>
                <a:lnTo>
                  <a:pt x="51876" y="1429152"/>
                </a:lnTo>
                <a:lnTo>
                  <a:pt x="43304" y="1498698"/>
                </a:lnTo>
                <a:lnTo>
                  <a:pt x="35514" y="1568534"/>
                </a:lnTo>
                <a:lnTo>
                  <a:pt x="28505" y="1638652"/>
                </a:lnTo>
                <a:lnTo>
                  <a:pt x="22273" y="1709045"/>
                </a:lnTo>
                <a:lnTo>
                  <a:pt x="16814" y="1779705"/>
                </a:lnTo>
                <a:lnTo>
                  <a:pt x="12126" y="1850625"/>
                </a:lnTo>
                <a:lnTo>
                  <a:pt x="8205" y="1921797"/>
                </a:lnTo>
                <a:lnTo>
                  <a:pt x="5048" y="1993215"/>
                </a:lnTo>
                <a:cubicBezTo>
                  <a:pt x="4249" y="2017100"/>
                  <a:pt x="3451" y="2040985"/>
                  <a:pt x="2652" y="2064870"/>
                </a:cubicBezTo>
                <a:lnTo>
                  <a:pt x="1014" y="2136756"/>
                </a:lnTo>
                <a:cubicBezTo>
                  <a:pt x="720" y="2160792"/>
                  <a:pt x="425" y="2184829"/>
                  <a:pt x="131" y="2208865"/>
                </a:cubicBezTo>
                <a:cubicBezTo>
                  <a:pt x="87" y="2232973"/>
                  <a:pt x="44" y="2257082"/>
                  <a:pt x="0" y="2281190"/>
                </a:cubicBezTo>
                <a:cubicBezTo>
                  <a:pt x="205" y="2305368"/>
                  <a:pt x="411" y="2329545"/>
                  <a:pt x="616" y="2353723"/>
                </a:cubicBezTo>
                <a:lnTo>
                  <a:pt x="1978" y="2426457"/>
                </a:lnTo>
                <a:cubicBezTo>
                  <a:pt x="2679" y="2450766"/>
                  <a:pt x="3381" y="2475075"/>
                  <a:pt x="4082" y="2499384"/>
                </a:cubicBezTo>
                <a:lnTo>
                  <a:pt x="6925" y="2572498"/>
                </a:lnTo>
                <a:lnTo>
                  <a:pt x="10504" y="2645791"/>
                </a:lnTo>
                <a:lnTo>
                  <a:pt x="14815" y="2719255"/>
                </a:lnTo>
                <a:lnTo>
                  <a:pt x="19855" y="2792883"/>
                </a:lnTo>
                <a:lnTo>
                  <a:pt x="25622" y="2866668"/>
                </a:lnTo>
                <a:lnTo>
                  <a:pt x="32112" y="2940602"/>
                </a:lnTo>
                <a:lnTo>
                  <a:pt x="39322" y="3014678"/>
                </a:lnTo>
                <a:lnTo>
                  <a:pt x="47249" y="3088889"/>
                </a:lnTo>
                <a:lnTo>
                  <a:pt x="55889" y="3163227"/>
                </a:lnTo>
                <a:lnTo>
                  <a:pt x="65240" y="3237684"/>
                </a:lnTo>
                <a:lnTo>
                  <a:pt x="75298" y="3312255"/>
                </a:lnTo>
                <a:lnTo>
                  <a:pt x="86060" y="3386930"/>
                </a:lnTo>
                <a:lnTo>
                  <a:pt x="97523" y="3461703"/>
                </a:lnTo>
                <a:lnTo>
                  <a:pt x="109684" y="3536566"/>
                </a:lnTo>
                <a:lnTo>
                  <a:pt x="122539" y="3611513"/>
                </a:lnTo>
                <a:lnTo>
                  <a:pt x="136086" y="3686535"/>
                </a:lnTo>
                <a:lnTo>
                  <a:pt x="150322" y="3761625"/>
                </a:lnTo>
                <a:lnTo>
                  <a:pt x="165242" y="3836776"/>
                </a:lnTo>
                <a:lnTo>
                  <a:pt x="180845" y="3911981"/>
                </a:lnTo>
                <a:lnTo>
                  <a:pt x="197126" y="3987231"/>
                </a:lnTo>
                <a:lnTo>
                  <a:pt x="214083" y="4062521"/>
                </a:lnTo>
                <a:lnTo>
                  <a:pt x="231713" y="4137841"/>
                </a:lnTo>
                <a:lnTo>
                  <a:pt x="250012" y="4213186"/>
                </a:lnTo>
                <a:lnTo>
                  <a:pt x="268977" y="4288548"/>
                </a:lnTo>
                <a:lnTo>
                  <a:pt x="288606" y="4363918"/>
                </a:lnTo>
                <a:lnTo>
                  <a:pt x="308894" y="4439291"/>
                </a:lnTo>
                <a:lnTo>
                  <a:pt x="329839" y="4514658"/>
                </a:lnTo>
                <a:lnTo>
                  <a:pt x="351437" y="4590012"/>
                </a:lnTo>
                <a:lnTo>
                  <a:pt x="373686" y="4665346"/>
                </a:lnTo>
                <a:lnTo>
                  <a:pt x="396582" y="4740652"/>
                </a:lnTo>
                <a:lnTo>
                  <a:pt x="420122" y="4815923"/>
                </a:lnTo>
                <a:lnTo>
                  <a:pt x="444303" y="4891152"/>
                </a:lnTo>
                <a:lnTo>
                  <a:pt x="469122" y="4966331"/>
                </a:lnTo>
                <a:lnTo>
                  <a:pt x="494576" y="5041453"/>
                </a:lnTo>
                <a:lnTo>
                  <a:pt x="520661" y="5116510"/>
                </a:lnTo>
                <a:lnTo>
                  <a:pt x="547374" y="5191496"/>
                </a:lnTo>
                <a:lnTo>
                  <a:pt x="574712" y="5266402"/>
                </a:lnTo>
                <a:lnTo>
                  <a:pt x="602672" y="5341222"/>
                </a:lnTo>
                <a:lnTo>
                  <a:pt x="631252" y="5415948"/>
                </a:lnTo>
                <a:lnTo>
                  <a:pt x="660446" y="5490573"/>
                </a:lnTo>
                <a:lnTo>
                  <a:pt x="690254" y="5565088"/>
                </a:lnTo>
                <a:lnTo>
                  <a:pt x="720670" y="5639488"/>
                </a:lnTo>
                <a:lnTo>
                  <a:pt x="751693" y="5713764"/>
                </a:lnTo>
                <a:lnTo>
                  <a:pt x="783319" y="5787909"/>
                </a:lnTo>
                <a:lnTo>
                  <a:pt x="815544" y="5861916"/>
                </a:lnTo>
                <a:lnTo>
                  <a:pt x="848366" y="5935778"/>
                </a:lnTo>
                <a:lnTo>
                  <a:pt x="881782" y="6009486"/>
                </a:lnTo>
                <a:lnTo>
                  <a:pt x="915788" y="6083034"/>
                </a:lnTo>
                <a:lnTo>
                  <a:pt x="950382" y="6156415"/>
                </a:lnTo>
                <a:lnTo>
                  <a:pt x="985559" y="6229620"/>
                </a:lnTo>
                <a:lnTo>
                  <a:pt x="1021317" y="6302643"/>
                </a:lnTo>
                <a:lnTo>
                  <a:pt x="1057653" y="6375476"/>
                </a:lnTo>
                <a:lnTo>
                  <a:pt x="1094564" y="6448112"/>
                </a:lnTo>
                <a:lnTo>
                  <a:pt x="1132046" y="6520543"/>
                </a:lnTo>
                <a:lnTo>
                  <a:pt x="1170096" y="6592762"/>
                </a:lnTo>
                <a:lnTo>
                  <a:pt x="1208711" y="6664762"/>
                </a:lnTo>
              </a:path>
            </a:pathLst>
          </a:custGeom>
          <a:ln w="12700">
            <a:solidFill>
              <a:srgbClr val="004F9F"/>
            </a:solidFill>
          </a:ln>
        </p:spPr>
        <p:txBody>
          <a:bodyPr wrap="square" lIns="0" tIns="0" rIns="0" bIns="0" rtlCol="0"/>
          <a:lstStyle/>
          <a:p>
            <a:pPr rtl="0"/>
            <a:endParaRPr lang="en-US" dirty="0"/>
          </a:p>
        </p:txBody>
      </p:sp>
      <p:sp>
        <p:nvSpPr>
          <p:cNvPr id="8" name="object 13">
            <a:extLst>
              <a:ext uri="{FF2B5EF4-FFF2-40B4-BE49-F238E27FC236}">
                <a16:creationId xmlns:a16="http://schemas.microsoft.com/office/drawing/2014/main" id="{290F4D5F-DECC-CEA2-65CC-BBF748767748}"/>
              </a:ext>
            </a:extLst>
          </p:cNvPr>
          <p:cNvSpPr/>
          <p:nvPr userDrawn="1"/>
        </p:nvSpPr>
        <p:spPr>
          <a:xfrm rot="19846213" flipH="1">
            <a:off x="8093162" y="-41492"/>
            <a:ext cx="2010893" cy="6852373"/>
          </a:xfrm>
          <a:custGeom>
            <a:avLst/>
            <a:gdLst>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370802 w 1825397"/>
              <a:gd name="connsiteY7" fmla="*/ 450161 h 6858000"/>
              <a:gd name="connsiteX8" fmla="*/ 340430 w 1825397"/>
              <a:gd name="connsiteY8" fmla="*/ 519697 h 6858000"/>
              <a:gd name="connsiteX9" fmla="*/ 311382 w 1825397"/>
              <a:gd name="connsiteY9" fmla="*/ 589682 h 6858000"/>
              <a:gd name="connsiteX10" fmla="*/ 283671 w 1825397"/>
              <a:gd name="connsiteY10" fmla="*/ 660113 h 6858000"/>
              <a:gd name="connsiteX11" fmla="*/ 257306 w 1825397"/>
              <a:gd name="connsiteY11" fmla="*/ 730910 h 6858000"/>
              <a:gd name="connsiteX12" fmla="*/ 232285 w 1825397"/>
              <a:gd name="connsiteY12" fmla="*/ 801993 h 6858000"/>
              <a:gd name="connsiteX13" fmla="*/ 22682 w 1825397"/>
              <a:gd name="connsiteY13" fmla="*/ 845416 h 6858000"/>
              <a:gd name="connsiteX14" fmla="*/ 186238 w 1825397"/>
              <a:gd name="connsiteY14" fmla="*/ 944985 h 6858000"/>
              <a:gd name="connsiteX15" fmla="*/ 165194 w 1825397"/>
              <a:gd name="connsiteY15" fmla="*/ 1016880 h 6858000"/>
              <a:gd name="connsiteX16" fmla="*/ 145456 w 1825397"/>
              <a:gd name="connsiteY16" fmla="*/ 1089032 h 6858000"/>
              <a:gd name="connsiteX17" fmla="*/ 127017 w 1825397"/>
              <a:gd name="connsiteY17" fmla="*/ 1161435 h 6858000"/>
              <a:gd name="connsiteX18" fmla="*/ 109867 w 1825397"/>
              <a:gd name="connsiteY18" fmla="*/ 1234080 h 6858000"/>
              <a:gd name="connsiteX19" fmla="*/ 93997 w 1825397"/>
              <a:gd name="connsiteY19" fmla="*/ 1306961 h 6858000"/>
              <a:gd name="connsiteX20" fmla="*/ 79397 w 1825397"/>
              <a:gd name="connsiteY20" fmla="*/ 1380071 h 6858000"/>
              <a:gd name="connsiteX21" fmla="*/ 66059 w 1825397"/>
              <a:gd name="connsiteY21" fmla="*/ 1453404 h 6858000"/>
              <a:gd name="connsiteX22" fmla="*/ 53973 w 1825397"/>
              <a:gd name="connsiteY22" fmla="*/ 1526951 h 6858000"/>
              <a:gd name="connsiteX23" fmla="*/ 43131 w 1825397"/>
              <a:gd name="connsiteY23" fmla="*/ 1600707 h 6858000"/>
              <a:gd name="connsiteX24" fmla="*/ 33523 w 1825397"/>
              <a:gd name="connsiteY24" fmla="*/ 1674663 h 6858000"/>
              <a:gd name="connsiteX25" fmla="*/ 25141 w 1825397"/>
              <a:gd name="connsiteY25" fmla="*/ 1748814 h 6858000"/>
              <a:gd name="connsiteX26" fmla="*/ 17974 w 1825397"/>
              <a:gd name="connsiteY26" fmla="*/ 1823152 h 6858000"/>
              <a:gd name="connsiteX27" fmla="*/ 12014 w 1825397"/>
              <a:gd name="connsiteY27" fmla="*/ 1897670 h 6858000"/>
              <a:gd name="connsiteX28" fmla="*/ 7252 w 1825397"/>
              <a:gd name="connsiteY28" fmla="*/ 1972362 h 6858000"/>
              <a:gd name="connsiteX29" fmla="*/ 3679 w 1825397"/>
              <a:gd name="connsiteY29" fmla="*/ 2047219 h 6858000"/>
              <a:gd name="connsiteX30" fmla="*/ 1285 w 1825397"/>
              <a:gd name="connsiteY30" fmla="*/ 2122236 h 6858000"/>
              <a:gd name="connsiteX31" fmla="*/ 62 w 1825397"/>
              <a:gd name="connsiteY31" fmla="*/ 2197405 h 6858000"/>
              <a:gd name="connsiteX32" fmla="*/ 0 w 1825397"/>
              <a:gd name="connsiteY32" fmla="*/ 2272719 h 6858000"/>
              <a:gd name="connsiteX33" fmla="*/ 1090 w 1825397"/>
              <a:gd name="connsiteY33" fmla="*/ 2348171 h 6858000"/>
              <a:gd name="connsiteX34" fmla="*/ 3323 w 1825397"/>
              <a:gd name="connsiteY34" fmla="*/ 2423755 h 6858000"/>
              <a:gd name="connsiteX35" fmla="*/ 6690 w 1825397"/>
              <a:gd name="connsiteY35" fmla="*/ 2499463 h 6858000"/>
              <a:gd name="connsiteX36" fmla="*/ 11182 w 1825397"/>
              <a:gd name="connsiteY36" fmla="*/ 2575289 h 6858000"/>
              <a:gd name="connsiteX37" fmla="*/ 16790 w 1825397"/>
              <a:gd name="connsiteY37" fmla="*/ 2651225 h 6858000"/>
              <a:gd name="connsiteX38" fmla="*/ 23504 w 1825397"/>
              <a:gd name="connsiteY38" fmla="*/ 2727264 h 6858000"/>
              <a:gd name="connsiteX39" fmla="*/ 31316 w 1825397"/>
              <a:gd name="connsiteY39" fmla="*/ 2803399 h 6858000"/>
              <a:gd name="connsiteX40" fmla="*/ 40216 w 1825397"/>
              <a:gd name="connsiteY40" fmla="*/ 2879624 h 6858000"/>
              <a:gd name="connsiteX41" fmla="*/ 50195 w 1825397"/>
              <a:gd name="connsiteY41" fmla="*/ 2955931 h 6858000"/>
              <a:gd name="connsiteX42" fmla="*/ 61245 w 1825397"/>
              <a:gd name="connsiteY42" fmla="*/ 3032314 h 6858000"/>
              <a:gd name="connsiteX43" fmla="*/ 73356 w 1825397"/>
              <a:gd name="connsiteY43" fmla="*/ 3108766 h 6858000"/>
              <a:gd name="connsiteX44" fmla="*/ 86518 w 1825397"/>
              <a:gd name="connsiteY44" fmla="*/ 3185278 h 6858000"/>
              <a:gd name="connsiteX45" fmla="*/ 100723 w 1825397"/>
              <a:gd name="connsiteY45" fmla="*/ 3261845 h 6858000"/>
              <a:gd name="connsiteX46" fmla="*/ 115962 w 1825397"/>
              <a:gd name="connsiteY46" fmla="*/ 3338460 h 6858000"/>
              <a:gd name="connsiteX47" fmla="*/ 132226 w 1825397"/>
              <a:gd name="connsiteY47" fmla="*/ 3415115 h 6858000"/>
              <a:gd name="connsiteX48" fmla="*/ 149504 w 1825397"/>
              <a:gd name="connsiteY48" fmla="*/ 3491804 h 6858000"/>
              <a:gd name="connsiteX49" fmla="*/ 167790 w 1825397"/>
              <a:gd name="connsiteY49" fmla="*/ 3568519 h 6858000"/>
              <a:gd name="connsiteX50" fmla="*/ 187072 w 1825397"/>
              <a:gd name="connsiteY50" fmla="*/ 3645254 h 6858000"/>
              <a:gd name="connsiteX51" fmla="*/ 207342 w 1825397"/>
              <a:gd name="connsiteY51" fmla="*/ 3722002 h 6858000"/>
              <a:gd name="connsiteX52" fmla="*/ 228592 w 1825397"/>
              <a:gd name="connsiteY52" fmla="*/ 3798755 h 6858000"/>
              <a:gd name="connsiteX53" fmla="*/ 250811 w 1825397"/>
              <a:gd name="connsiteY53" fmla="*/ 3875507 h 6858000"/>
              <a:gd name="connsiteX54" fmla="*/ 273991 w 1825397"/>
              <a:gd name="connsiteY54" fmla="*/ 3952250 h 6858000"/>
              <a:gd name="connsiteX55" fmla="*/ 298122 w 1825397"/>
              <a:gd name="connsiteY55" fmla="*/ 4028978 h 6858000"/>
              <a:gd name="connsiteX56" fmla="*/ 323196 w 1825397"/>
              <a:gd name="connsiteY56" fmla="*/ 4105684 h 6858000"/>
              <a:gd name="connsiteX57" fmla="*/ 349203 w 1825397"/>
              <a:gd name="connsiteY57" fmla="*/ 4182361 h 6858000"/>
              <a:gd name="connsiteX58" fmla="*/ 376135 w 1825397"/>
              <a:gd name="connsiteY58" fmla="*/ 4259001 h 6858000"/>
              <a:gd name="connsiteX59" fmla="*/ 403981 w 1825397"/>
              <a:gd name="connsiteY59" fmla="*/ 4335598 h 6858000"/>
              <a:gd name="connsiteX60" fmla="*/ 432734 w 1825397"/>
              <a:gd name="connsiteY60" fmla="*/ 4412145 h 6858000"/>
              <a:gd name="connsiteX61" fmla="*/ 462383 w 1825397"/>
              <a:gd name="connsiteY61" fmla="*/ 4488634 h 6858000"/>
              <a:gd name="connsiteX62" fmla="*/ 492921 w 1825397"/>
              <a:gd name="connsiteY62" fmla="*/ 4565059 h 6858000"/>
              <a:gd name="connsiteX63" fmla="*/ 524337 w 1825397"/>
              <a:gd name="connsiteY63" fmla="*/ 4641414 h 6858000"/>
              <a:gd name="connsiteX64" fmla="*/ 556622 w 1825397"/>
              <a:gd name="connsiteY64" fmla="*/ 4717690 h 6858000"/>
              <a:gd name="connsiteX65" fmla="*/ 589768 w 1825397"/>
              <a:gd name="connsiteY65" fmla="*/ 4793880 h 6858000"/>
              <a:gd name="connsiteX66" fmla="*/ 623765 w 1825397"/>
              <a:gd name="connsiteY66" fmla="*/ 4869979 h 6858000"/>
              <a:gd name="connsiteX67" fmla="*/ 658604 w 1825397"/>
              <a:gd name="connsiteY67" fmla="*/ 4945979 h 6858000"/>
              <a:gd name="connsiteX68" fmla="*/ 694277 w 1825397"/>
              <a:gd name="connsiteY68" fmla="*/ 5021872 h 6858000"/>
              <a:gd name="connsiteX69" fmla="*/ 730773 w 1825397"/>
              <a:gd name="connsiteY69" fmla="*/ 5097653 h 6858000"/>
              <a:gd name="connsiteX70" fmla="*/ 768084 w 1825397"/>
              <a:gd name="connsiteY70" fmla="*/ 5173313 h 6858000"/>
              <a:gd name="connsiteX71" fmla="*/ 806201 w 1825397"/>
              <a:gd name="connsiteY71" fmla="*/ 5248846 h 6858000"/>
              <a:gd name="connsiteX72" fmla="*/ 845114 w 1825397"/>
              <a:gd name="connsiteY72" fmla="*/ 5324245 h 6858000"/>
              <a:gd name="connsiteX73" fmla="*/ 884815 w 1825397"/>
              <a:gd name="connsiteY73" fmla="*/ 5399504 h 6858000"/>
              <a:gd name="connsiteX74" fmla="*/ 925294 w 1825397"/>
              <a:gd name="connsiteY74" fmla="*/ 5474614 h 6858000"/>
              <a:gd name="connsiteX75" fmla="*/ 966542 w 1825397"/>
              <a:gd name="connsiteY75" fmla="*/ 5549569 h 6858000"/>
              <a:gd name="connsiteX76" fmla="*/ 1008551 w 1825397"/>
              <a:gd name="connsiteY76" fmla="*/ 5624363 h 6858000"/>
              <a:gd name="connsiteX77" fmla="*/ 1051310 w 1825397"/>
              <a:gd name="connsiteY77" fmla="*/ 5698987 h 6858000"/>
              <a:gd name="connsiteX78" fmla="*/ 1094812 w 1825397"/>
              <a:gd name="connsiteY78" fmla="*/ 5773436 h 6858000"/>
              <a:gd name="connsiteX79" fmla="*/ 1139046 w 1825397"/>
              <a:gd name="connsiteY79" fmla="*/ 5847701 h 6858000"/>
              <a:gd name="connsiteX80" fmla="*/ 1184003 w 1825397"/>
              <a:gd name="connsiteY80" fmla="*/ 5921777 h 6858000"/>
              <a:gd name="connsiteX81" fmla="*/ 1229676 w 1825397"/>
              <a:gd name="connsiteY81" fmla="*/ 5995656 h 6858000"/>
              <a:gd name="connsiteX82" fmla="*/ 1276053 w 1825397"/>
              <a:gd name="connsiteY82" fmla="*/ 6069331 h 6858000"/>
              <a:gd name="connsiteX83" fmla="*/ 1323127 w 1825397"/>
              <a:gd name="connsiteY83" fmla="*/ 6142795 h 6858000"/>
              <a:gd name="connsiteX84" fmla="*/ 1370888 w 1825397"/>
              <a:gd name="connsiteY84" fmla="*/ 6216042 h 6858000"/>
              <a:gd name="connsiteX85" fmla="*/ 1419327 w 1825397"/>
              <a:gd name="connsiteY85" fmla="*/ 6289063 h 6858000"/>
              <a:gd name="connsiteX86" fmla="*/ 1468435 w 1825397"/>
              <a:gd name="connsiteY86" fmla="*/ 6361853 h 6858000"/>
              <a:gd name="connsiteX87" fmla="*/ 1518203 w 1825397"/>
              <a:gd name="connsiteY87" fmla="*/ 6434404 h 6858000"/>
              <a:gd name="connsiteX88" fmla="*/ 1568621 w 1825397"/>
              <a:gd name="connsiteY88" fmla="*/ 6506710 h 6858000"/>
              <a:gd name="connsiteX89" fmla="*/ 1619681 w 1825397"/>
              <a:gd name="connsiteY89" fmla="*/ 6578763 h 6858000"/>
              <a:gd name="connsiteX90" fmla="*/ 1671374 w 1825397"/>
              <a:gd name="connsiteY90" fmla="*/ 6650555 h 6858000"/>
              <a:gd name="connsiteX91" fmla="*/ 1723690 w 1825397"/>
              <a:gd name="connsiteY91" fmla="*/ 6722082 h 6858000"/>
              <a:gd name="connsiteX92" fmla="*/ 1776620 w 1825397"/>
              <a:gd name="connsiteY92" fmla="*/ 6793334 h 6858000"/>
              <a:gd name="connsiteX93" fmla="*/ 1825397 w 1825397"/>
              <a:gd name="connsiteY93"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370802 w 1825397"/>
              <a:gd name="connsiteY7" fmla="*/ 450161 h 6858000"/>
              <a:gd name="connsiteX8" fmla="*/ 340430 w 1825397"/>
              <a:gd name="connsiteY8" fmla="*/ 519697 h 6858000"/>
              <a:gd name="connsiteX9" fmla="*/ 311382 w 1825397"/>
              <a:gd name="connsiteY9" fmla="*/ 589682 h 6858000"/>
              <a:gd name="connsiteX10" fmla="*/ 283671 w 1825397"/>
              <a:gd name="connsiteY10" fmla="*/ 660113 h 6858000"/>
              <a:gd name="connsiteX11" fmla="*/ 257306 w 1825397"/>
              <a:gd name="connsiteY11" fmla="*/ 730910 h 6858000"/>
              <a:gd name="connsiteX12" fmla="*/ 232285 w 1825397"/>
              <a:gd name="connsiteY12" fmla="*/ 801993 h 6858000"/>
              <a:gd name="connsiteX13" fmla="*/ 186238 w 1825397"/>
              <a:gd name="connsiteY13" fmla="*/ 944985 h 6858000"/>
              <a:gd name="connsiteX14" fmla="*/ 165194 w 1825397"/>
              <a:gd name="connsiteY14" fmla="*/ 1016880 h 6858000"/>
              <a:gd name="connsiteX15" fmla="*/ 145456 w 1825397"/>
              <a:gd name="connsiteY15" fmla="*/ 1089032 h 6858000"/>
              <a:gd name="connsiteX16" fmla="*/ 127017 w 1825397"/>
              <a:gd name="connsiteY16" fmla="*/ 1161435 h 6858000"/>
              <a:gd name="connsiteX17" fmla="*/ 109867 w 1825397"/>
              <a:gd name="connsiteY17" fmla="*/ 1234080 h 6858000"/>
              <a:gd name="connsiteX18" fmla="*/ 93997 w 1825397"/>
              <a:gd name="connsiteY18" fmla="*/ 1306961 h 6858000"/>
              <a:gd name="connsiteX19" fmla="*/ 79397 w 1825397"/>
              <a:gd name="connsiteY19" fmla="*/ 1380071 h 6858000"/>
              <a:gd name="connsiteX20" fmla="*/ 66059 w 1825397"/>
              <a:gd name="connsiteY20" fmla="*/ 1453404 h 6858000"/>
              <a:gd name="connsiteX21" fmla="*/ 53973 w 1825397"/>
              <a:gd name="connsiteY21" fmla="*/ 1526951 h 6858000"/>
              <a:gd name="connsiteX22" fmla="*/ 43131 w 1825397"/>
              <a:gd name="connsiteY22" fmla="*/ 1600707 h 6858000"/>
              <a:gd name="connsiteX23" fmla="*/ 33523 w 1825397"/>
              <a:gd name="connsiteY23" fmla="*/ 1674663 h 6858000"/>
              <a:gd name="connsiteX24" fmla="*/ 25141 w 1825397"/>
              <a:gd name="connsiteY24" fmla="*/ 1748814 h 6858000"/>
              <a:gd name="connsiteX25" fmla="*/ 17974 w 1825397"/>
              <a:gd name="connsiteY25" fmla="*/ 1823152 h 6858000"/>
              <a:gd name="connsiteX26" fmla="*/ 12014 w 1825397"/>
              <a:gd name="connsiteY26" fmla="*/ 1897670 h 6858000"/>
              <a:gd name="connsiteX27" fmla="*/ 7252 w 1825397"/>
              <a:gd name="connsiteY27" fmla="*/ 1972362 h 6858000"/>
              <a:gd name="connsiteX28" fmla="*/ 3679 w 1825397"/>
              <a:gd name="connsiteY28" fmla="*/ 2047219 h 6858000"/>
              <a:gd name="connsiteX29" fmla="*/ 1285 w 1825397"/>
              <a:gd name="connsiteY29" fmla="*/ 2122236 h 6858000"/>
              <a:gd name="connsiteX30" fmla="*/ 62 w 1825397"/>
              <a:gd name="connsiteY30" fmla="*/ 2197405 h 6858000"/>
              <a:gd name="connsiteX31" fmla="*/ 0 w 1825397"/>
              <a:gd name="connsiteY31" fmla="*/ 2272719 h 6858000"/>
              <a:gd name="connsiteX32" fmla="*/ 1090 w 1825397"/>
              <a:gd name="connsiteY32" fmla="*/ 2348171 h 6858000"/>
              <a:gd name="connsiteX33" fmla="*/ 3323 w 1825397"/>
              <a:gd name="connsiteY33" fmla="*/ 2423755 h 6858000"/>
              <a:gd name="connsiteX34" fmla="*/ 6690 w 1825397"/>
              <a:gd name="connsiteY34" fmla="*/ 2499463 h 6858000"/>
              <a:gd name="connsiteX35" fmla="*/ 11182 w 1825397"/>
              <a:gd name="connsiteY35" fmla="*/ 2575289 h 6858000"/>
              <a:gd name="connsiteX36" fmla="*/ 16790 w 1825397"/>
              <a:gd name="connsiteY36" fmla="*/ 2651225 h 6858000"/>
              <a:gd name="connsiteX37" fmla="*/ 23504 w 1825397"/>
              <a:gd name="connsiteY37" fmla="*/ 2727264 h 6858000"/>
              <a:gd name="connsiteX38" fmla="*/ 31316 w 1825397"/>
              <a:gd name="connsiteY38" fmla="*/ 2803399 h 6858000"/>
              <a:gd name="connsiteX39" fmla="*/ 40216 w 1825397"/>
              <a:gd name="connsiteY39" fmla="*/ 2879624 h 6858000"/>
              <a:gd name="connsiteX40" fmla="*/ 50195 w 1825397"/>
              <a:gd name="connsiteY40" fmla="*/ 2955931 h 6858000"/>
              <a:gd name="connsiteX41" fmla="*/ 61245 w 1825397"/>
              <a:gd name="connsiteY41" fmla="*/ 3032314 h 6858000"/>
              <a:gd name="connsiteX42" fmla="*/ 73356 w 1825397"/>
              <a:gd name="connsiteY42" fmla="*/ 3108766 h 6858000"/>
              <a:gd name="connsiteX43" fmla="*/ 86518 w 1825397"/>
              <a:gd name="connsiteY43" fmla="*/ 3185278 h 6858000"/>
              <a:gd name="connsiteX44" fmla="*/ 100723 w 1825397"/>
              <a:gd name="connsiteY44" fmla="*/ 3261845 h 6858000"/>
              <a:gd name="connsiteX45" fmla="*/ 115962 w 1825397"/>
              <a:gd name="connsiteY45" fmla="*/ 3338460 h 6858000"/>
              <a:gd name="connsiteX46" fmla="*/ 132226 w 1825397"/>
              <a:gd name="connsiteY46" fmla="*/ 3415115 h 6858000"/>
              <a:gd name="connsiteX47" fmla="*/ 149504 w 1825397"/>
              <a:gd name="connsiteY47" fmla="*/ 3491804 h 6858000"/>
              <a:gd name="connsiteX48" fmla="*/ 167790 w 1825397"/>
              <a:gd name="connsiteY48" fmla="*/ 3568519 h 6858000"/>
              <a:gd name="connsiteX49" fmla="*/ 187072 w 1825397"/>
              <a:gd name="connsiteY49" fmla="*/ 3645254 h 6858000"/>
              <a:gd name="connsiteX50" fmla="*/ 207342 w 1825397"/>
              <a:gd name="connsiteY50" fmla="*/ 3722002 h 6858000"/>
              <a:gd name="connsiteX51" fmla="*/ 228592 w 1825397"/>
              <a:gd name="connsiteY51" fmla="*/ 3798755 h 6858000"/>
              <a:gd name="connsiteX52" fmla="*/ 250811 w 1825397"/>
              <a:gd name="connsiteY52" fmla="*/ 3875507 h 6858000"/>
              <a:gd name="connsiteX53" fmla="*/ 273991 w 1825397"/>
              <a:gd name="connsiteY53" fmla="*/ 3952250 h 6858000"/>
              <a:gd name="connsiteX54" fmla="*/ 298122 w 1825397"/>
              <a:gd name="connsiteY54" fmla="*/ 4028978 h 6858000"/>
              <a:gd name="connsiteX55" fmla="*/ 323196 w 1825397"/>
              <a:gd name="connsiteY55" fmla="*/ 4105684 h 6858000"/>
              <a:gd name="connsiteX56" fmla="*/ 349203 w 1825397"/>
              <a:gd name="connsiteY56" fmla="*/ 4182361 h 6858000"/>
              <a:gd name="connsiteX57" fmla="*/ 376135 w 1825397"/>
              <a:gd name="connsiteY57" fmla="*/ 4259001 h 6858000"/>
              <a:gd name="connsiteX58" fmla="*/ 403981 w 1825397"/>
              <a:gd name="connsiteY58" fmla="*/ 4335598 h 6858000"/>
              <a:gd name="connsiteX59" fmla="*/ 432734 w 1825397"/>
              <a:gd name="connsiteY59" fmla="*/ 4412145 h 6858000"/>
              <a:gd name="connsiteX60" fmla="*/ 462383 w 1825397"/>
              <a:gd name="connsiteY60" fmla="*/ 4488634 h 6858000"/>
              <a:gd name="connsiteX61" fmla="*/ 492921 w 1825397"/>
              <a:gd name="connsiteY61" fmla="*/ 4565059 h 6858000"/>
              <a:gd name="connsiteX62" fmla="*/ 524337 w 1825397"/>
              <a:gd name="connsiteY62" fmla="*/ 4641414 h 6858000"/>
              <a:gd name="connsiteX63" fmla="*/ 556622 w 1825397"/>
              <a:gd name="connsiteY63" fmla="*/ 4717690 h 6858000"/>
              <a:gd name="connsiteX64" fmla="*/ 589768 w 1825397"/>
              <a:gd name="connsiteY64" fmla="*/ 4793880 h 6858000"/>
              <a:gd name="connsiteX65" fmla="*/ 623765 w 1825397"/>
              <a:gd name="connsiteY65" fmla="*/ 4869979 h 6858000"/>
              <a:gd name="connsiteX66" fmla="*/ 658604 w 1825397"/>
              <a:gd name="connsiteY66" fmla="*/ 4945979 h 6858000"/>
              <a:gd name="connsiteX67" fmla="*/ 694277 w 1825397"/>
              <a:gd name="connsiteY67" fmla="*/ 5021872 h 6858000"/>
              <a:gd name="connsiteX68" fmla="*/ 730773 w 1825397"/>
              <a:gd name="connsiteY68" fmla="*/ 5097653 h 6858000"/>
              <a:gd name="connsiteX69" fmla="*/ 768084 w 1825397"/>
              <a:gd name="connsiteY69" fmla="*/ 5173313 h 6858000"/>
              <a:gd name="connsiteX70" fmla="*/ 806201 w 1825397"/>
              <a:gd name="connsiteY70" fmla="*/ 5248846 h 6858000"/>
              <a:gd name="connsiteX71" fmla="*/ 845114 w 1825397"/>
              <a:gd name="connsiteY71" fmla="*/ 5324245 h 6858000"/>
              <a:gd name="connsiteX72" fmla="*/ 884815 w 1825397"/>
              <a:gd name="connsiteY72" fmla="*/ 5399504 h 6858000"/>
              <a:gd name="connsiteX73" fmla="*/ 925294 w 1825397"/>
              <a:gd name="connsiteY73" fmla="*/ 5474614 h 6858000"/>
              <a:gd name="connsiteX74" fmla="*/ 966542 w 1825397"/>
              <a:gd name="connsiteY74" fmla="*/ 5549569 h 6858000"/>
              <a:gd name="connsiteX75" fmla="*/ 1008551 w 1825397"/>
              <a:gd name="connsiteY75" fmla="*/ 5624363 h 6858000"/>
              <a:gd name="connsiteX76" fmla="*/ 1051310 w 1825397"/>
              <a:gd name="connsiteY76" fmla="*/ 5698987 h 6858000"/>
              <a:gd name="connsiteX77" fmla="*/ 1094812 w 1825397"/>
              <a:gd name="connsiteY77" fmla="*/ 5773436 h 6858000"/>
              <a:gd name="connsiteX78" fmla="*/ 1139046 w 1825397"/>
              <a:gd name="connsiteY78" fmla="*/ 5847701 h 6858000"/>
              <a:gd name="connsiteX79" fmla="*/ 1184003 w 1825397"/>
              <a:gd name="connsiteY79" fmla="*/ 5921777 h 6858000"/>
              <a:gd name="connsiteX80" fmla="*/ 1229676 w 1825397"/>
              <a:gd name="connsiteY80" fmla="*/ 5995656 h 6858000"/>
              <a:gd name="connsiteX81" fmla="*/ 1276053 w 1825397"/>
              <a:gd name="connsiteY81" fmla="*/ 6069331 h 6858000"/>
              <a:gd name="connsiteX82" fmla="*/ 1323127 w 1825397"/>
              <a:gd name="connsiteY82" fmla="*/ 6142795 h 6858000"/>
              <a:gd name="connsiteX83" fmla="*/ 1370888 w 1825397"/>
              <a:gd name="connsiteY83" fmla="*/ 6216042 h 6858000"/>
              <a:gd name="connsiteX84" fmla="*/ 1419327 w 1825397"/>
              <a:gd name="connsiteY84" fmla="*/ 6289063 h 6858000"/>
              <a:gd name="connsiteX85" fmla="*/ 1468435 w 1825397"/>
              <a:gd name="connsiteY85" fmla="*/ 6361853 h 6858000"/>
              <a:gd name="connsiteX86" fmla="*/ 1518203 w 1825397"/>
              <a:gd name="connsiteY86" fmla="*/ 6434404 h 6858000"/>
              <a:gd name="connsiteX87" fmla="*/ 1568621 w 1825397"/>
              <a:gd name="connsiteY87" fmla="*/ 6506710 h 6858000"/>
              <a:gd name="connsiteX88" fmla="*/ 1619681 w 1825397"/>
              <a:gd name="connsiteY88" fmla="*/ 6578763 h 6858000"/>
              <a:gd name="connsiteX89" fmla="*/ 1671374 w 1825397"/>
              <a:gd name="connsiteY89" fmla="*/ 6650555 h 6858000"/>
              <a:gd name="connsiteX90" fmla="*/ 1723690 w 1825397"/>
              <a:gd name="connsiteY90" fmla="*/ 6722082 h 6858000"/>
              <a:gd name="connsiteX91" fmla="*/ 1776620 w 1825397"/>
              <a:gd name="connsiteY91" fmla="*/ 6793334 h 6858000"/>
              <a:gd name="connsiteX92" fmla="*/ 1825397 w 1825397"/>
              <a:gd name="connsiteY92"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370802 w 1825397"/>
              <a:gd name="connsiteY7" fmla="*/ 450161 h 6858000"/>
              <a:gd name="connsiteX8" fmla="*/ 340430 w 1825397"/>
              <a:gd name="connsiteY8" fmla="*/ 519697 h 6858000"/>
              <a:gd name="connsiteX9" fmla="*/ 311382 w 1825397"/>
              <a:gd name="connsiteY9" fmla="*/ 589682 h 6858000"/>
              <a:gd name="connsiteX10" fmla="*/ 283671 w 1825397"/>
              <a:gd name="connsiteY10" fmla="*/ 660113 h 6858000"/>
              <a:gd name="connsiteX11" fmla="*/ 257306 w 1825397"/>
              <a:gd name="connsiteY11" fmla="*/ 730910 h 6858000"/>
              <a:gd name="connsiteX12" fmla="*/ 232285 w 1825397"/>
              <a:gd name="connsiteY12" fmla="*/ 801993 h 6858000"/>
              <a:gd name="connsiteX13" fmla="*/ 165194 w 1825397"/>
              <a:gd name="connsiteY13" fmla="*/ 1016880 h 6858000"/>
              <a:gd name="connsiteX14" fmla="*/ 145456 w 1825397"/>
              <a:gd name="connsiteY14" fmla="*/ 1089032 h 6858000"/>
              <a:gd name="connsiteX15" fmla="*/ 127017 w 1825397"/>
              <a:gd name="connsiteY15" fmla="*/ 1161435 h 6858000"/>
              <a:gd name="connsiteX16" fmla="*/ 109867 w 1825397"/>
              <a:gd name="connsiteY16" fmla="*/ 1234080 h 6858000"/>
              <a:gd name="connsiteX17" fmla="*/ 93997 w 1825397"/>
              <a:gd name="connsiteY17" fmla="*/ 1306961 h 6858000"/>
              <a:gd name="connsiteX18" fmla="*/ 79397 w 1825397"/>
              <a:gd name="connsiteY18" fmla="*/ 1380071 h 6858000"/>
              <a:gd name="connsiteX19" fmla="*/ 66059 w 1825397"/>
              <a:gd name="connsiteY19" fmla="*/ 1453404 h 6858000"/>
              <a:gd name="connsiteX20" fmla="*/ 53973 w 1825397"/>
              <a:gd name="connsiteY20" fmla="*/ 1526951 h 6858000"/>
              <a:gd name="connsiteX21" fmla="*/ 43131 w 1825397"/>
              <a:gd name="connsiteY21" fmla="*/ 1600707 h 6858000"/>
              <a:gd name="connsiteX22" fmla="*/ 33523 w 1825397"/>
              <a:gd name="connsiteY22" fmla="*/ 1674663 h 6858000"/>
              <a:gd name="connsiteX23" fmla="*/ 25141 w 1825397"/>
              <a:gd name="connsiteY23" fmla="*/ 1748814 h 6858000"/>
              <a:gd name="connsiteX24" fmla="*/ 17974 w 1825397"/>
              <a:gd name="connsiteY24" fmla="*/ 1823152 h 6858000"/>
              <a:gd name="connsiteX25" fmla="*/ 12014 w 1825397"/>
              <a:gd name="connsiteY25" fmla="*/ 1897670 h 6858000"/>
              <a:gd name="connsiteX26" fmla="*/ 7252 w 1825397"/>
              <a:gd name="connsiteY26" fmla="*/ 1972362 h 6858000"/>
              <a:gd name="connsiteX27" fmla="*/ 3679 w 1825397"/>
              <a:gd name="connsiteY27" fmla="*/ 2047219 h 6858000"/>
              <a:gd name="connsiteX28" fmla="*/ 1285 w 1825397"/>
              <a:gd name="connsiteY28" fmla="*/ 2122236 h 6858000"/>
              <a:gd name="connsiteX29" fmla="*/ 62 w 1825397"/>
              <a:gd name="connsiteY29" fmla="*/ 2197405 h 6858000"/>
              <a:gd name="connsiteX30" fmla="*/ 0 w 1825397"/>
              <a:gd name="connsiteY30" fmla="*/ 2272719 h 6858000"/>
              <a:gd name="connsiteX31" fmla="*/ 1090 w 1825397"/>
              <a:gd name="connsiteY31" fmla="*/ 2348171 h 6858000"/>
              <a:gd name="connsiteX32" fmla="*/ 3323 w 1825397"/>
              <a:gd name="connsiteY32" fmla="*/ 2423755 h 6858000"/>
              <a:gd name="connsiteX33" fmla="*/ 6690 w 1825397"/>
              <a:gd name="connsiteY33" fmla="*/ 2499463 h 6858000"/>
              <a:gd name="connsiteX34" fmla="*/ 11182 w 1825397"/>
              <a:gd name="connsiteY34" fmla="*/ 2575289 h 6858000"/>
              <a:gd name="connsiteX35" fmla="*/ 16790 w 1825397"/>
              <a:gd name="connsiteY35" fmla="*/ 2651225 h 6858000"/>
              <a:gd name="connsiteX36" fmla="*/ 23504 w 1825397"/>
              <a:gd name="connsiteY36" fmla="*/ 2727264 h 6858000"/>
              <a:gd name="connsiteX37" fmla="*/ 31316 w 1825397"/>
              <a:gd name="connsiteY37" fmla="*/ 2803399 h 6858000"/>
              <a:gd name="connsiteX38" fmla="*/ 40216 w 1825397"/>
              <a:gd name="connsiteY38" fmla="*/ 2879624 h 6858000"/>
              <a:gd name="connsiteX39" fmla="*/ 50195 w 1825397"/>
              <a:gd name="connsiteY39" fmla="*/ 2955931 h 6858000"/>
              <a:gd name="connsiteX40" fmla="*/ 61245 w 1825397"/>
              <a:gd name="connsiteY40" fmla="*/ 3032314 h 6858000"/>
              <a:gd name="connsiteX41" fmla="*/ 73356 w 1825397"/>
              <a:gd name="connsiteY41" fmla="*/ 3108766 h 6858000"/>
              <a:gd name="connsiteX42" fmla="*/ 86518 w 1825397"/>
              <a:gd name="connsiteY42" fmla="*/ 3185278 h 6858000"/>
              <a:gd name="connsiteX43" fmla="*/ 100723 w 1825397"/>
              <a:gd name="connsiteY43" fmla="*/ 3261845 h 6858000"/>
              <a:gd name="connsiteX44" fmla="*/ 115962 w 1825397"/>
              <a:gd name="connsiteY44" fmla="*/ 3338460 h 6858000"/>
              <a:gd name="connsiteX45" fmla="*/ 132226 w 1825397"/>
              <a:gd name="connsiteY45" fmla="*/ 3415115 h 6858000"/>
              <a:gd name="connsiteX46" fmla="*/ 149504 w 1825397"/>
              <a:gd name="connsiteY46" fmla="*/ 3491804 h 6858000"/>
              <a:gd name="connsiteX47" fmla="*/ 167790 w 1825397"/>
              <a:gd name="connsiteY47" fmla="*/ 3568519 h 6858000"/>
              <a:gd name="connsiteX48" fmla="*/ 187072 w 1825397"/>
              <a:gd name="connsiteY48" fmla="*/ 3645254 h 6858000"/>
              <a:gd name="connsiteX49" fmla="*/ 207342 w 1825397"/>
              <a:gd name="connsiteY49" fmla="*/ 3722002 h 6858000"/>
              <a:gd name="connsiteX50" fmla="*/ 228592 w 1825397"/>
              <a:gd name="connsiteY50" fmla="*/ 3798755 h 6858000"/>
              <a:gd name="connsiteX51" fmla="*/ 250811 w 1825397"/>
              <a:gd name="connsiteY51" fmla="*/ 3875507 h 6858000"/>
              <a:gd name="connsiteX52" fmla="*/ 273991 w 1825397"/>
              <a:gd name="connsiteY52" fmla="*/ 3952250 h 6858000"/>
              <a:gd name="connsiteX53" fmla="*/ 298122 w 1825397"/>
              <a:gd name="connsiteY53" fmla="*/ 4028978 h 6858000"/>
              <a:gd name="connsiteX54" fmla="*/ 323196 w 1825397"/>
              <a:gd name="connsiteY54" fmla="*/ 4105684 h 6858000"/>
              <a:gd name="connsiteX55" fmla="*/ 349203 w 1825397"/>
              <a:gd name="connsiteY55" fmla="*/ 4182361 h 6858000"/>
              <a:gd name="connsiteX56" fmla="*/ 376135 w 1825397"/>
              <a:gd name="connsiteY56" fmla="*/ 4259001 h 6858000"/>
              <a:gd name="connsiteX57" fmla="*/ 403981 w 1825397"/>
              <a:gd name="connsiteY57" fmla="*/ 4335598 h 6858000"/>
              <a:gd name="connsiteX58" fmla="*/ 432734 w 1825397"/>
              <a:gd name="connsiteY58" fmla="*/ 4412145 h 6858000"/>
              <a:gd name="connsiteX59" fmla="*/ 462383 w 1825397"/>
              <a:gd name="connsiteY59" fmla="*/ 4488634 h 6858000"/>
              <a:gd name="connsiteX60" fmla="*/ 492921 w 1825397"/>
              <a:gd name="connsiteY60" fmla="*/ 4565059 h 6858000"/>
              <a:gd name="connsiteX61" fmla="*/ 524337 w 1825397"/>
              <a:gd name="connsiteY61" fmla="*/ 4641414 h 6858000"/>
              <a:gd name="connsiteX62" fmla="*/ 556622 w 1825397"/>
              <a:gd name="connsiteY62" fmla="*/ 4717690 h 6858000"/>
              <a:gd name="connsiteX63" fmla="*/ 589768 w 1825397"/>
              <a:gd name="connsiteY63" fmla="*/ 4793880 h 6858000"/>
              <a:gd name="connsiteX64" fmla="*/ 623765 w 1825397"/>
              <a:gd name="connsiteY64" fmla="*/ 4869979 h 6858000"/>
              <a:gd name="connsiteX65" fmla="*/ 658604 w 1825397"/>
              <a:gd name="connsiteY65" fmla="*/ 4945979 h 6858000"/>
              <a:gd name="connsiteX66" fmla="*/ 694277 w 1825397"/>
              <a:gd name="connsiteY66" fmla="*/ 5021872 h 6858000"/>
              <a:gd name="connsiteX67" fmla="*/ 730773 w 1825397"/>
              <a:gd name="connsiteY67" fmla="*/ 5097653 h 6858000"/>
              <a:gd name="connsiteX68" fmla="*/ 768084 w 1825397"/>
              <a:gd name="connsiteY68" fmla="*/ 5173313 h 6858000"/>
              <a:gd name="connsiteX69" fmla="*/ 806201 w 1825397"/>
              <a:gd name="connsiteY69" fmla="*/ 5248846 h 6858000"/>
              <a:gd name="connsiteX70" fmla="*/ 845114 w 1825397"/>
              <a:gd name="connsiteY70" fmla="*/ 5324245 h 6858000"/>
              <a:gd name="connsiteX71" fmla="*/ 884815 w 1825397"/>
              <a:gd name="connsiteY71" fmla="*/ 5399504 h 6858000"/>
              <a:gd name="connsiteX72" fmla="*/ 925294 w 1825397"/>
              <a:gd name="connsiteY72" fmla="*/ 5474614 h 6858000"/>
              <a:gd name="connsiteX73" fmla="*/ 966542 w 1825397"/>
              <a:gd name="connsiteY73" fmla="*/ 5549569 h 6858000"/>
              <a:gd name="connsiteX74" fmla="*/ 1008551 w 1825397"/>
              <a:gd name="connsiteY74" fmla="*/ 5624363 h 6858000"/>
              <a:gd name="connsiteX75" fmla="*/ 1051310 w 1825397"/>
              <a:gd name="connsiteY75" fmla="*/ 5698987 h 6858000"/>
              <a:gd name="connsiteX76" fmla="*/ 1094812 w 1825397"/>
              <a:gd name="connsiteY76" fmla="*/ 5773436 h 6858000"/>
              <a:gd name="connsiteX77" fmla="*/ 1139046 w 1825397"/>
              <a:gd name="connsiteY77" fmla="*/ 5847701 h 6858000"/>
              <a:gd name="connsiteX78" fmla="*/ 1184003 w 1825397"/>
              <a:gd name="connsiteY78" fmla="*/ 5921777 h 6858000"/>
              <a:gd name="connsiteX79" fmla="*/ 1229676 w 1825397"/>
              <a:gd name="connsiteY79" fmla="*/ 5995656 h 6858000"/>
              <a:gd name="connsiteX80" fmla="*/ 1276053 w 1825397"/>
              <a:gd name="connsiteY80" fmla="*/ 6069331 h 6858000"/>
              <a:gd name="connsiteX81" fmla="*/ 1323127 w 1825397"/>
              <a:gd name="connsiteY81" fmla="*/ 6142795 h 6858000"/>
              <a:gd name="connsiteX82" fmla="*/ 1370888 w 1825397"/>
              <a:gd name="connsiteY82" fmla="*/ 6216042 h 6858000"/>
              <a:gd name="connsiteX83" fmla="*/ 1419327 w 1825397"/>
              <a:gd name="connsiteY83" fmla="*/ 6289063 h 6858000"/>
              <a:gd name="connsiteX84" fmla="*/ 1468435 w 1825397"/>
              <a:gd name="connsiteY84" fmla="*/ 6361853 h 6858000"/>
              <a:gd name="connsiteX85" fmla="*/ 1518203 w 1825397"/>
              <a:gd name="connsiteY85" fmla="*/ 6434404 h 6858000"/>
              <a:gd name="connsiteX86" fmla="*/ 1568621 w 1825397"/>
              <a:gd name="connsiteY86" fmla="*/ 6506710 h 6858000"/>
              <a:gd name="connsiteX87" fmla="*/ 1619681 w 1825397"/>
              <a:gd name="connsiteY87" fmla="*/ 6578763 h 6858000"/>
              <a:gd name="connsiteX88" fmla="*/ 1671374 w 1825397"/>
              <a:gd name="connsiteY88" fmla="*/ 6650555 h 6858000"/>
              <a:gd name="connsiteX89" fmla="*/ 1723690 w 1825397"/>
              <a:gd name="connsiteY89" fmla="*/ 6722082 h 6858000"/>
              <a:gd name="connsiteX90" fmla="*/ 1776620 w 1825397"/>
              <a:gd name="connsiteY90" fmla="*/ 6793334 h 6858000"/>
              <a:gd name="connsiteX91" fmla="*/ 1825397 w 1825397"/>
              <a:gd name="connsiteY91"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370802 w 1825397"/>
              <a:gd name="connsiteY7" fmla="*/ 450161 h 6858000"/>
              <a:gd name="connsiteX8" fmla="*/ 340430 w 1825397"/>
              <a:gd name="connsiteY8" fmla="*/ 519697 h 6858000"/>
              <a:gd name="connsiteX9" fmla="*/ 311382 w 1825397"/>
              <a:gd name="connsiteY9" fmla="*/ 589682 h 6858000"/>
              <a:gd name="connsiteX10" fmla="*/ 283671 w 1825397"/>
              <a:gd name="connsiteY10" fmla="*/ 660113 h 6858000"/>
              <a:gd name="connsiteX11" fmla="*/ 257306 w 1825397"/>
              <a:gd name="connsiteY11" fmla="*/ 730910 h 6858000"/>
              <a:gd name="connsiteX12" fmla="*/ 232285 w 1825397"/>
              <a:gd name="connsiteY12" fmla="*/ 801993 h 6858000"/>
              <a:gd name="connsiteX13" fmla="*/ 145456 w 1825397"/>
              <a:gd name="connsiteY13" fmla="*/ 1089032 h 6858000"/>
              <a:gd name="connsiteX14" fmla="*/ 127017 w 1825397"/>
              <a:gd name="connsiteY14" fmla="*/ 1161435 h 6858000"/>
              <a:gd name="connsiteX15" fmla="*/ 109867 w 1825397"/>
              <a:gd name="connsiteY15" fmla="*/ 1234080 h 6858000"/>
              <a:gd name="connsiteX16" fmla="*/ 93997 w 1825397"/>
              <a:gd name="connsiteY16" fmla="*/ 1306961 h 6858000"/>
              <a:gd name="connsiteX17" fmla="*/ 79397 w 1825397"/>
              <a:gd name="connsiteY17" fmla="*/ 1380071 h 6858000"/>
              <a:gd name="connsiteX18" fmla="*/ 66059 w 1825397"/>
              <a:gd name="connsiteY18" fmla="*/ 1453404 h 6858000"/>
              <a:gd name="connsiteX19" fmla="*/ 53973 w 1825397"/>
              <a:gd name="connsiteY19" fmla="*/ 1526951 h 6858000"/>
              <a:gd name="connsiteX20" fmla="*/ 43131 w 1825397"/>
              <a:gd name="connsiteY20" fmla="*/ 1600707 h 6858000"/>
              <a:gd name="connsiteX21" fmla="*/ 33523 w 1825397"/>
              <a:gd name="connsiteY21" fmla="*/ 1674663 h 6858000"/>
              <a:gd name="connsiteX22" fmla="*/ 25141 w 1825397"/>
              <a:gd name="connsiteY22" fmla="*/ 1748814 h 6858000"/>
              <a:gd name="connsiteX23" fmla="*/ 17974 w 1825397"/>
              <a:gd name="connsiteY23" fmla="*/ 1823152 h 6858000"/>
              <a:gd name="connsiteX24" fmla="*/ 12014 w 1825397"/>
              <a:gd name="connsiteY24" fmla="*/ 1897670 h 6858000"/>
              <a:gd name="connsiteX25" fmla="*/ 7252 w 1825397"/>
              <a:gd name="connsiteY25" fmla="*/ 1972362 h 6858000"/>
              <a:gd name="connsiteX26" fmla="*/ 3679 w 1825397"/>
              <a:gd name="connsiteY26" fmla="*/ 2047219 h 6858000"/>
              <a:gd name="connsiteX27" fmla="*/ 1285 w 1825397"/>
              <a:gd name="connsiteY27" fmla="*/ 2122236 h 6858000"/>
              <a:gd name="connsiteX28" fmla="*/ 62 w 1825397"/>
              <a:gd name="connsiteY28" fmla="*/ 2197405 h 6858000"/>
              <a:gd name="connsiteX29" fmla="*/ 0 w 1825397"/>
              <a:gd name="connsiteY29" fmla="*/ 2272719 h 6858000"/>
              <a:gd name="connsiteX30" fmla="*/ 1090 w 1825397"/>
              <a:gd name="connsiteY30" fmla="*/ 2348171 h 6858000"/>
              <a:gd name="connsiteX31" fmla="*/ 3323 w 1825397"/>
              <a:gd name="connsiteY31" fmla="*/ 2423755 h 6858000"/>
              <a:gd name="connsiteX32" fmla="*/ 6690 w 1825397"/>
              <a:gd name="connsiteY32" fmla="*/ 2499463 h 6858000"/>
              <a:gd name="connsiteX33" fmla="*/ 11182 w 1825397"/>
              <a:gd name="connsiteY33" fmla="*/ 2575289 h 6858000"/>
              <a:gd name="connsiteX34" fmla="*/ 16790 w 1825397"/>
              <a:gd name="connsiteY34" fmla="*/ 2651225 h 6858000"/>
              <a:gd name="connsiteX35" fmla="*/ 23504 w 1825397"/>
              <a:gd name="connsiteY35" fmla="*/ 2727264 h 6858000"/>
              <a:gd name="connsiteX36" fmla="*/ 31316 w 1825397"/>
              <a:gd name="connsiteY36" fmla="*/ 2803399 h 6858000"/>
              <a:gd name="connsiteX37" fmla="*/ 40216 w 1825397"/>
              <a:gd name="connsiteY37" fmla="*/ 2879624 h 6858000"/>
              <a:gd name="connsiteX38" fmla="*/ 50195 w 1825397"/>
              <a:gd name="connsiteY38" fmla="*/ 2955931 h 6858000"/>
              <a:gd name="connsiteX39" fmla="*/ 61245 w 1825397"/>
              <a:gd name="connsiteY39" fmla="*/ 3032314 h 6858000"/>
              <a:gd name="connsiteX40" fmla="*/ 73356 w 1825397"/>
              <a:gd name="connsiteY40" fmla="*/ 3108766 h 6858000"/>
              <a:gd name="connsiteX41" fmla="*/ 86518 w 1825397"/>
              <a:gd name="connsiteY41" fmla="*/ 3185278 h 6858000"/>
              <a:gd name="connsiteX42" fmla="*/ 100723 w 1825397"/>
              <a:gd name="connsiteY42" fmla="*/ 3261845 h 6858000"/>
              <a:gd name="connsiteX43" fmla="*/ 115962 w 1825397"/>
              <a:gd name="connsiteY43" fmla="*/ 3338460 h 6858000"/>
              <a:gd name="connsiteX44" fmla="*/ 132226 w 1825397"/>
              <a:gd name="connsiteY44" fmla="*/ 3415115 h 6858000"/>
              <a:gd name="connsiteX45" fmla="*/ 149504 w 1825397"/>
              <a:gd name="connsiteY45" fmla="*/ 3491804 h 6858000"/>
              <a:gd name="connsiteX46" fmla="*/ 167790 w 1825397"/>
              <a:gd name="connsiteY46" fmla="*/ 3568519 h 6858000"/>
              <a:gd name="connsiteX47" fmla="*/ 187072 w 1825397"/>
              <a:gd name="connsiteY47" fmla="*/ 3645254 h 6858000"/>
              <a:gd name="connsiteX48" fmla="*/ 207342 w 1825397"/>
              <a:gd name="connsiteY48" fmla="*/ 3722002 h 6858000"/>
              <a:gd name="connsiteX49" fmla="*/ 228592 w 1825397"/>
              <a:gd name="connsiteY49" fmla="*/ 3798755 h 6858000"/>
              <a:gd name="connsiteX50" fmla="*/ 250811 w 1825397"/>
              <a:gd name="connsiteY50" fmla="*/ 3875507 h 6858000"/>
              <a:gd name="connsiteX51" fmla="*/ 273991 w 1825397"/>
              <a:gd name="connsiteY51" fmla="*/ 3952250 h 6858000"/>
              <a:gd name="connsiteX52" fmla="*/ 298122 w 1825397"/>
              <a:gd name="connsiteY52" fmla="*/ 4028978 h 6858000"/>
              <a:gd name="connsiteX53" fmla="*/ 323196 w 1825397"/>
              <a:gd name="connsiteY53" fmla="*/ 4105684 h 6858000"/>
              <a:gd name="connsiteX54" fmla="*/ 349203 w 1825397"/>
              <a:gd name="connsiteY54" fmla="*/ 4182361 h 6858000"/>
              <a:gd name="connsiteX55" fmla="*/ 376135 w 1825397"/>
              <a:gd name="connsiteY55" fmla="*/ 4259001 h 6858000"/>
              <a:gd name="connsiteX56" fmla="*/ 403981 w 1825397"/>
              <a:gd name="connsiteY56" fmla="*/ 4335598 h 6858000"/>
              <a:gd name="connsiteX57" fmla="*/ 432734 w 1825397"/>
              <a:gd name="connsiteY57" fmla="*/ 4412145 h 6858000"/>
              <a:gd name="connsiteX58" fmla="*/ 462383 w 1825397"/>
              <a:gd name="connsiteY58" fmla="*/ 4488634 h 6858000"/>
              <a:gd name="connsiteX59" fmla="*/ 492921 w 1825397"/>
              <a:gd name="connsiteY59" fmla="*/ 4565059 h 6858000"/>
              <a:gd name="connsiteX60" fmla="*/ 524337 w 1825397"/>
              <a:gd name="connsiteY60" fmla="*/ 4641414 h 6858000"/>
              <a:gd name="connsiteX61" fmla="*/ 556622 w 1825397"/>
              <a:gd name="connsiteY61" fmla="*/ 4717690 h 6858000"/>
              <a:gd name="connsiteX62" fmla="*/ 589768 w 1825397"/>
              <a:gd name="connsiteY62" fmla="*/ 4793880 h 6858000"/>
              <a:gd name="connsiteX63" fmla="*/ 623765 w 1825397"/>
              <a:gd name="connsiteY63" fmla="*/ 4869979 h 6858000"/>
              <a:gd name="connsiteX64" fmla="*/ 658604 w 1825397"/>
              <a:gd name="connsiteY64" fmla="*/ 4945979 h 6858000"/>
              <a:gd name="connsiteX65" fmla="*/ 694277 w 1825397"/>
              <a:gd name="connsiteY65" fmla="*/ 5021872 h 6858000"/>
              <a:gd name="connsiteX66" fmla="*/ 730773 w 1825397"/>
              <a:gd name="connsiteY66" fmla="*/ 5097653 h 6858000"/>
              <a:gd name="connsiteX67" fmla="*/ 768084 w 1825397"/>
              <a:gd name="connsiteY67" fmla="*/ 5173313 h 6858000"/>
              <a:gd name="connsiteX68" fmla="*/ 806201 w 1825397"/>
              <a:gd name="connsiteY68" fmla="*/ 5248846 h 6858000"/>
              <a:gd name="connsiteX69" fmla="*/ 845114 w 1825397"/>
              <a:gd name="connsiteY69" fmla="*/ 5324245 h 6858000"/>
              <a:gd name="connsiteX70" fmla="*/ 884815 w 1825397"/>
              <a:gd name="connsiteY70" fmla="*/ 5399504 h 6858000"/>
              <a:gd name="connsiteX71" fmla="*/ 925294 w 1825397"/>
              <a:gd name="connsiteY71" fmla="*/ 5474614 h 6858000"/>
              <a:gd name="connsiteX72" fmla="*/ 966542 w 1825397"/>
              <a:gd name="connsiteY72" fmla="*/ 5549569 h 6858000"/>
              <a:gd name="connsiteX73" fmla="*/ 1008551 w 1825397"/>
              <a:gd name="connsiteY73" fmla="*/ 5624363 h 6858000"/>
              <a:gd name="connsiteX74" fmla="*/ 1051310 w 1825397"/>
              <a:gd name="connsiteY74" fmla="*/ 5698987 h 6858000"/>
              <a:gd name="connsiteX75" fmla="*/ 1094812 w 1825397"/>
              <a:gd name="connsiteY75" fmla="*/ 5773436 h 6858000"/>
              <a:gd name="connsiteX76" fmla="*/ 1139046 w 1825397"/>
              <a:gd name="connsiteY76" fmla="*/ 5847701 h 6858000"/>
              <a:gd name="connsiteX77" fmla="*/ 1184003 w 1825397"/>
              <a:gd name="connsiteY77" fmla="*/ 5921777 h 6858000"/>
              <a:gd name="connsiteX78" fmla="*/ 1229676 w 1825397"/>
              <a:gd name="connsiteY78" fmla="*/ 5995656 h 6858000"/>
              <a:gd name="connsiteX79" fmla="*/ 1276053 w 1825397"/>
              <a:gd name="connsiteY79" fmla="*/ 6069331 h 6858000"/>
              <a:gd name="connsiteX80" fmla="*/ 1323127 w 1825397"/>
              <a:gd name="connsiteY80" fmla="*/ 6142795 h 6858000"/>
              <a:gd name="connsiteX81" fmla="*/ 1370888 w 1825397"/>
              <a:gd name="connsiteY81" fmla="*/ 6216042 h 6858000"/>
              <a:gd name="connsiteX82" fmla="*/ 1419327 w 1825397"/>
              <a:gd name="connsiteY82" fmla="*/ 6289063 h 6858000"/>
              <a:gd name="connsiteX83" fmla="*/ 1468435 w 1825397"/>
              <a:gd name="connsiteY83" fmla="*/ 6361853 h 6858000"/>
              <a:gd name="connsiteX84" fmla="*/ 1518203 w 1825397"/>
              <a:gd name="connsiteY84" fmla="*/ 6434404 h 6858000"/>
              <a:gd name="connsiteX85" fmla="*/ 1568621 w 1825397"/>
              <a:gd name="connsiteY85" fmla="*/ 6506710 h 6858000"/>
              <a:gd name="connsiteX86" fmla="*/ 1619681 w 1825397"/>
              <a:gd name="connsiteY86" fmla="*/ 6578763 h 6858000"/>
              <a:gd name="connsiteX87" fmla="*/ 1671374 w 1825397"/>
              <a:gd name="connsiteY87" fmla="*/ 6650555 h 6858000"/>
              <a:gd name="connsiteX88" fmla="*/ 1723690 w 1825397"/>
              <a:gd name="connsiteY88" fmla="*/ 6722082 h 6858000"/>
              <a:gd name="connsiteX89" fmla="*/ 1776620 w 1825397"/>
              <a:gd name="connsiteY89" fmla="*/ 6793334 h 6858000"/>
              <a:gd name="connsiteX90" fmla="*/ 1825397 w 1825397"/>
              <a:gd name="connsiteY90"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370802 w 1825397"/>
              <a:gd name="connsiteY7" fmla="*/ 450161 h 6858000"/>
              <a:gd name="connsiteX8" fmla="*/ 340430 w 1825397"/>
              <a:gd name="connsiteY8" fmla="*/ 519697 h 6858000"/>
              <a:gd name="connsiteX9" fmla="*/ 311382 w 1825397"/>
              <a:gd name="connsiteY9" fmla="*/ 589682 h 6858000"/>
              <a:gd name="connsiteX10" fmla="*/ 283671 w 1825397"/>
              <a:gd name="connsiteY10" fmla="*/ 660113 h 6858000"/>
              <a:gd name="connsiteX11" fmla="*/ 257306 w 1825397"/>
              <a:gd name="connsiteY11" fmla="*/ 730910 h 6858000"/>
              <a:gd name="connsiteX12" fmla="*/ 232285 w 1825397"/>
              <a:gd name="connsiteY12" fmla="*/ 801993 h 6858000"/>
              <a:gd name="connsiteX13" fmla="*/ 127017 w 1825397"/>
              <a:gd name="connsiteY13" fmla="*/ 1161435 h 6858000"/>
              <a:gd name="connsiteX14" fmla="*/ 109867 w 1825397"/>
              <a:gd name="connsiteY14" fmla="*/ 1234080 h 6858000"/>
              <a:gd name="connsiteX15" fmla="*/ 93997 w 1825397"/>
              <a:gd name="connsiteY15" fmla="*/ 1306961 h 6858000"/>
              <a:gd name="connsiteX16" fmla="*/ 79397 w 1825397"/>
              <a:gd name="connsiteY16" fmla="*/ 1380071 h 6858000"/>
              <a:gd name="connsiteX17" fmla="*/ 66059 w 1825397"/>
              <a:gd name="connsiteY17" fmla="*/ 1453404 h 6858000"/>
              <a:gd name="connsiteX18" fmla="*/ 53973 w 1825397"/>
              <a:gd name="connsiteY18" fmla="*/ 1526951 h 6858000"/>
              <a:gd name="connsiteX19" fmla="*/ 43131 w 1825397"/>
              <a:gd name="connsiteY19" fmla="*/ 1600707 h 6858000"/>
              <a:gd name="connsiteX20" fmla="*/ 33523 w 1825397"/>
              <a:gd name="connsiteY20" fmla="*/ 1674663 h 6858000"/>
              <a:gd name="connsiteX21" fmla="*/ 25141 w 1825397"/>
              <a:gd name="connsiteY21" fmla="*/ 1748814 h 6858000"/>
              <a:gd name="connsiteX22" fmla="*/ 17974 w 1825397"/>
              <a:gd name="connsiteY22" fmla="*/ 1823152 h 6858000"/>
              <a:gd name="connsiteX23" fmla="*/ 12014 w 1825397"/>
              <a:gd name="connsiteY23" fmla="*/ 1897670 h 6858000"/>
              <a:gd name="connsiteX24" fmla="*/ 7252 w 1825397"/>
              <a:gd name="connsiteY24" fmla="*/ 1972362 h 6858000"/>
              <a:gd name="connsiteX25" fmla="*/ 3679 w 1825397"/>
              <a:gd name="connsiteY25" fmla="*/ 2047219 h 6858000"/>
              <a:gd name="connsiteX26" fmla="*/ 1285 w 1825397"/>
              <a:gd name="connsiteY26" fmla="*/ 2122236 h 6858000"/>
              <a:gd name="connsiteX27" fmla="*/ 62 w 1825397"/>
              <a:gd name="connsiteY27" fmla="*/ 2197405 h 6858000"/>
              <a:gd name="connsiteX28" fmla="*/ 0 w 1825397"/>
              <a:gd name="connsiteY28" fmla="*/ 2272719 h 6858000"/>
              <a:gd name="connsiteX29" fmla="*/ 1090 w 1825397"/>
              <a:gd name="connsiteY29" fmla="*/ 2348171 h 6858000"/>
              <a:gd name="connsiteX30" fmla="*/ 3323 w 1825397"/>
              <a:gd name="connsiteY30" fmla="*/ 2423755 h 6858000"/>
              <a:gd name="connsiteX31" fmla="*/ 6690 w 1825397"/>
              <a:gd name="connsiteY31" fmla="*/ 2499463 h 6858000"/>
              <a:gd name="connsiteX32" fmla="*/ 11182 w 1825397"/>
              <a:gd name="connsiteY32" fmla="*/ 2575289 h 6858000"/>
              <a:gd name="connsiteX33" fmla="*/ 16790 w 1825397"/>
              <a:gd name="connsiteY33" fmla="*/ 2651225 h 6858000"/>
              <a:gd name="connsiteX34" fmla="*/ 23504 w 1825397"/>
              <a:gd name="connsiteY34" fmla="*/ 2727264 h 6858000"/>
              <a:gd name="connsiteX35" fmla="*/ 31316 w 1825397"/>
              <a:gd name="connsiteY35" fmla="*/ 2803399 h 6858000"/>
              <a:gd name="connsiteX36" fmla="*/ 40216 w 1825397"/>
              <a:gd name="connsiteY36" fmla="*/ 2879624 h 6858000"/>
              <a:gd name="connsiteX37" fmla="*/ 50195 w 1825397"/>
              <a:gd name="connsiteY37" fmla="*/ 2955931 h 6858000"/>
              <a:gd name="connsiteX38" fmla="*/ 61245 w 1825397"/>
              <a:gd name="connsiteY38" fmla="*/ 3032314 h 6858000"/>
              <a:gd name="connsiteX39" fmla="*/ 73356 w 1825397"/>
              <a:gd name="connsiteY39" fmla="*/ 3108766 h 6858000"/>
              <a:gd name="connsiteX40" fmla="*/ 86518 w 1825397"/>
              <a:gd name="connsiteY40" fmla="*/ 3185278 h 6858000"/>
              <a:gd name="connsiteX41" fmla="*/ 100723 w 1825397"/>
              <a:gd name="connsiteY41" fmla="*/ 3261845 h 6858000"/>
              <a:gd name="connsiteX42" fmla="*/ 115962 w 1825397"/>
              <a:gd name="connsiteY42" fmla="*/ 3338460 h 6858000"/>
              <a:gd name="connsiteX43" fmla="*/ 132226 w 1825397"/>
              <a:gd name="connsiteY43" fmla="*/ 3415115 h 6858000"/>
              <a:gd name="connsiteX44" fmla="*/ 149504 w 1825397"/>
              <a:gd name="connsiteY44" fmla="*/ 3491804 h 6858000"/>
              <a:gd name="connsiteX45" fmla="*/ 167790 w 1825397"/>
              <a:gd name="connsiteY45" fmla="*/ 3568519 h 6858000"/>
              <a:gd name="connsiteX46" fmla="*/ 187072 w 1825397"/>
              <a:gd name="connsiteY46" fmla="*/ 3645254 h 6858000"/>
              <a:gd name="connsiteX47" fmla="*/ 207342 w 1825397"/>
              <a:gd name="connsiteY47" fmla="*/ 3722002 h 6858000"/>
              <a:gd name="connsiteX48" fmla="*/ 228592 w 1825397"/>
              <a:gd name="connsiteY48" fmla="*/ 3798755 h 6858000"/>
              <a:gd name="connsiteX49" fmla="*/ 250811 w 1825397"/>
              <a:gd name="connsiteY49" fmla="*/ 3875507 h 6858000"/>
              <a:gd name="connsiteX50" fmla="*/ 273991 w 1825397"/>
              <a:gd name="connsiteY50" fmla="*/ 3952250 h 6858000"/>
              <a:gd name="connsiteX51" fmla="*/ 298122 w 1825397"/>
              <a:gd name="connsiteY51" fmla="*/ 4028978 h 6858000"/>
              <a:gd name="connsiteX52" fmla="*/ 323196 w 1825397"/>
              <a:gd name="connsiteY52" fmla="*/ 4105684 h 6858000"/>
              <a:gd name="connsiteX53" fmla="*/ 349203 w 1825397"/>
              <a:gd name="connsiteY53" fmla="*/ 4182361 h 6858000"/>
              <a:gd name="connsiteX54" fmla="*/ 376135 w 1825397"/>
              <a:gd name="connsiteY54" fmla="*/ 4259001 h 6858000"/>
              <a:gd name="connsiteX55" fmla="*/ 403981 w 1825397"/>
              <a:gd name="connsiteY55" fmla="*/ 4335598 h 6858000"/>
              <a:gd name="connsiteX56" fmla="*/ 432734 w 1825397"/>
              <a:gd name="connsiteY56" fmla="*/ 4412145 h 6858000"/>
              <a:gd name="connsiteX57" fmla="*/ 462383 w 1825397"/>
              <a:gd name="connsiteY57" fmla="*/ 4488634 h 6858000"/>
              <a:gd name="connsiteX58" fmla="*/ 492921 w 1825397"/>
              <a:gd name="connsiteY58" fmla="*/ 4565059 h 6858000"/>
              <a:gd name="connsiteX59" fmla="*/ 524337 w 1825397"/>
              <a:gd name="connsiteY59" fmla="*/ 4641414 h 6858000"/>
              <a:gd name="connsiteX60" fmla="*/ 556622 w 1825397"/>
              <a:gd name="connsiteY60" fmla="*/ 4717690 h 6858000"/>
              <a:gd name="connsiteX61" fmla="*/ 589768 w 1825397"/>
              <a:gd name="connsiteY61" fmla="*/ 4793880 h 6858000"/>
              <a:gd name="connsiteX62" fmla="*/ 623765 w 1825397"/>
              <a:gd name="connsiteY62" fmla="*/ 4869979 h 6858000"/>
              <a:gd name="connsiteX63" fmla="*/ 658604 w 1825397"/>
              <a:gd name="connsiteY63" fmla="*/ 4945979 h 6858000"/>
              <a:gd name="connsiteX64" fmla="*/ 694277 w 1825397"/>
              <a:gd name="connsiteY64" fmla="*/ 5021872 h 6858000"/>
              <a:gd name="connsiteX65" fmla="*/ 730773 w 1825397"/>
              <a:gd name="connsiteY65" fmla="*/ 5097653 h 6858000"/>
              <a:gd name="connsiteX66" fmla="*/ 768084 w 1825397"/>
              <a:gd name="connsiteY66" fmla="*/ 5173313 h 6858000"/>
              <a:gd name="connsiteX67" fmla="*/ 806201 w 1825397"/>
              <a:gd name="connsiteY67" fmla="*/ 5248846 h 6858000"/>
              <a:gd name="connsiteX68" fmla="*/ 845114 w 1825397"/>
              <a:gd name="connsiteY68" fmla="*/ 5324245 h 6858000"/>
              <a:gd name="connsiteX69" fmla="*/ 884815 w 1825397"/>
              <a:gd name="connsiteY69" fmla="*/ 5399504 h 6858000"/>
              <a:gd name="connsiteX70" fmla="*/ 925294 w 1825397"/>
              <a:gd name="connsiteY70" fmla="*/ 5474614 h 6858000"/>
              <a:gd name="connsiteX71" fmla="*/ 966542 w 1825397"/>
              <a:gd name="connsiteY71" fmla="*/ 5549569 h 6858000"/>
              <a:gd name="connsiteX72" fmla="*/ 1008551 w 1825397"/>
              <a:gd name="connsiteY72" fmla="*/ 5624363 h 6858000"/>
              <a:gd name="connsiteX73" fmla="*/ 1051310 w 1825397"/>
              <a:gd name="connsiteY73" fmla="*/ 5698987 h 6858000"/>
              <a:gd name="connsiteX74" fmla="*/ 1094812 w 1825397"/>
              <a:gd name="connsiteY74" fmla="*/ 5773436 h 6858000"/>
              <a:gd name="connsiteX75" fmla="*/ 1139046 w 1825397"/>
              <a:gd name="connsiteY75" fmla="*/ 5847701 h 6858000"/>
              <a:gd name="connsiteX76" fmla="*/ 1184003 w 1825397"/>
              <a:gd name="connsiteY76" fmla="*/ 5921777 h 6858000"/>
              <a:gd name="connsiteX77" fmla="*/ 1229676 w 1825397"/>
              <a:gd name="connsiteY77" fmla="*/ 5995656 h 6858000"/>
              <a:gd name="connsiteX78" fmla="*/ 1276053 w 1825397"/>
              <a:gd name="connsiteY78" fmla="*/ 6069331 h 6858000"/>
              <a:gd name="connsiteX79" fmla="*/ 1323127 w 1825397"/>
              <a:gd name="connsiteY79" fmla="*/ 6142795 h 6858000"/>
              <a:gd name="connsiteX80" fmla="*/ 1370888 w 1825397"/>
              <a:gd name="connsiteY80" fmla="*/ 6216042 h 6858000"/>
              <a:gd name="connsiteX81" fmla="*/ 1419327 w 1825397"/>
              <a:gd name="connsiteY81" fmla="*/ 6289063 h 6858000"/>
              <a:gd name="connsiteX82" fmla="*/ 1468435 w 1825397"/>
              <a:gd name="connsiteY82" fmla="*/ 6361853 h 6858000"/>
              <a:gd name="connsiteX83" fmla="*/ 1518203 w 1825397"/>
              <a:gd name="connsiteY83" fmla="*/ 6434404 h 6858000"/>
              <a:gd name="connsiteX84" fmla="*/ 1568621 w 1825397"/>
              <a:gd name="connsiteY84" fmla="*/ 6506710 h 6858000"/>
              <a:gd name="connsiteX85" fmla="*/ 1619681 w 1825397"/>
              <a:gd name="connsiteY85" fmla="*/ 6578763 h 6858000"/>
              <a:gd name="connsiteX86" fmla="*/ 1671374 w 1825397"/>
              <a:gd name="connsiteY86" fmla="*/ 6650555 h 6858000"/>
              <a:gd name="connsiteX87" fmla="*/ 1723690 w 1825397"/>
              <a:gd name="connsiteY87" fmla="*/ 6722082 h 6858000"/>
              <a:gd name="connsiteX88" fmla="*/ 1776620 w 1825397"/>
              <a:gd name="connsiteY88" fmla="*/ 6793334 h 6858000"/>
              <a:gd name="connsiteX89" fmla="*/ 1825397 w 1825397"/>
              <a:gd name="connsiteY89"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370802 w 1825397"/>
              <a:gd name="connsiteY7" fmla="*/ 450161 h 6858000"/>
              <a:gd name="connsiteX8" fmla="*/ 340430 w 1825397"/>
              <a:gd name="connsiteY8" fmla="*/ 519697 h 6858000"/>
              <a:gd name="connsiteX9" fmla="*/ 311382 w 1825397"/>
              <a:gd name="connsiteY9" fmla="*/ 589682 h 6858000"/>
              <a:gd name="connsiteX10" fmla="*/ 283671 w 1825397"/>
              <a:gd name="connsiteY10" fmla="*/ 660113 h 6858000"/>
              <a:gd name="connsiteX11" fmla="*/ 257306 w 1825397"/>
              <a:gd name="connsiteY11" fmla="*/ 730910 h 6858000"/>
              <a:gd name="connsiteX12" fmla="*/ 127017 w 1825397"/>
              <a:gd name="connsiteY12" fmla="*/ 1161435 h 6858000"/>
              <a:gd name="connsiteX13" fmla="*/ 109867 w 1825397"/>
              <a:gd name="connsiteY13" fmla="*/ 1234080 h 6858000"/>
              <a:gd name="connsiteX14" fmla="*/ 93997 w 1825397"/>
              <a:gd name="connsiteY14" fmla="*/ 1306961 h 6858000"/>
              <a:gd name="connsiteX15" fmla="*/ 79397 w 1825397"/>
              <a:gd name="connsiteY15" fmla="*/ 1380071 h 6858000"/>
              <a:gd name="connsiteX16" fmla="*/ 66059 w 1825397"/>
              <a:gd name="connsiteY16" fmla="*/ 1453404 h 6858000"/>
              <a:gd name="connsiteX17" fmla="*/ 53973 w 1825397"/>
              <a:gd name="connsiteY17" fmla="*/ 1526951 h 6858000"/>
              <a:gd name="connsiteX18" fmla="*/ 43131 w 1825397"/>
              <a:gd name="connsiteY18" fmla="*/ 1600707 h 6858000"/>
              <a:gd name="connsiteX19" fmla="*/ 33523 w 1825397"/>
              <a:gd name="connsiteY19" fmla="*/ 1674663 h 6858000"/>
              <a:gd name="connsiteX20" fmla="*/ 25141 w 1825397"/>
              <a:gd name="connsiteY20" fmla="*/ 1748814 h 6858000"/>
              <a:gd name="connsiteX21" fmla="*/ 17974 w 1825397"/>
              <a:gd name="connsiteY21" fmla="*/ 1823152 h 6858000"/>
              <a:gd name="connsiteX22" fmla="*/ 12014 w 1825397"/>
              <a:gd name="connsiteY22" fmla="*/ 1897670 h 6858000"/>
              <a:gd name="connsiteX23" fmla="*/ 7252 w 1825397"/>
              <a:gd name="connsiteY23" fmla="*/ 1972362 h 6858000"/>
              <a:gd name="connsiteX24" fmla="*/ 3679 w 1825397"/>
              <a:gd name="connsiteY24" fmla="*/ 2047219 h 6858000"/>
              <a:gd name="connsiteX25" fmla="*/ 1285 w 1825397"/>
              <a:gd name="connsiteY25" fmla="*/ 2122236 h 6858000"/>
              <a:gd name="connsiteX26" fmla="*/ 62 w 1825397"/>
              <a:gd name="connsiteY26" fmla="*/ 2197405 h 6858000"/>
              <a:gd name="connsiteX27" fmla="*/ 0 w 1825397"/>
              <a:gd name="connsiteY27" fmla="*/ 2272719 h 6858000"/>
              <a:gd name="connsiteX28" fmla="*/ 1090 w 1825397"/>
              <a:gd name="connsiteY28" fmla="*/ 2348171 h 6858000"/>
              <a:gd name="connsiteX29" fmla="*/ 3323 w 1825397"/>
              <a:gd name="connsiteY29" fmla="*/ 2423755 h 6858000"/>
              <a:gd name="connsiteX30" fmla="*/ 6690 w 1825397"/>
              <a:gd name="connsiteY30" fmla="*/ 2499463 h 6858000"/>
              <a:gd name="connsiteX31" fmla="*/ 11182 w 1825397"/>
              <a:gd name="connsiteY31" fmla="*/ 2575289 h 6858000"/>
              <a:gd name="connsiteX32" fmla="*/ 16790 w 1825397"/>
              <a:gd name="connsiteY32" fmla="*/ 2651225 h 6858000"/>
              <a:gd name="connsiteX33" fmla="*/ 23504 w 1825397"/>
              <a:gd name="connsiteY33" fmla="*/ 2727264 h 6858000"/>
              <a:gd name="connsiteX34" fmla="*/ 31316 w 1825397"/>
              <a:gd name="connsiteY34" fmla="*/ 2803399 h 6858000"/>
              <a:gd name="connsiteX35" fmla="*/ 40216 w 1825397"/>
              <a:gd name="connsiteY35" fmla="*/ 2879624 h 6858000"/>
              <a:gd name="connsiteX36" fmla="*/ 50195 w 1825397"/>
              <a:gd name="connsiteY36" fmla="*/ 2955931 h 6858000"/>
              <a:gd name="connsiteX37" fmla="*/ 61245 w 1825397"/>
              <a:gd name="connsiteY37" fmla="*/ 3032314 h 6858000"/>
              <a:gd name="connsiteX38" fmla="*/ 73356 w 1825397"/>
              <a:gd name="connsiteY38" fmla="*/ 3108766 h 6858000"/>
              <a:gd name="connsiteX39" fmla="*/ 86518 w 1825397"/>
              <a:gd name="connsiteY39" fmla="*/ 3185278 h 6858000"/>
              <a:gd name="connsiteX40" fmla="*/ 100723 w 1825397"/>
              <a:gd name="connsiteY40" fmla="*/ 3261845 h 6858000"/>
              <a:gd name="connsiteX41" fmla="*/ 115962 w 1825397"/>
              <a:gd name="connsiteY41" fmla="*/ 3338460 h 6858000"/>
              <a:gd name="connsiteX42" fmla="*/ 132226 w 1825397"/>
              <a:gd name="connsiteY42" fmla="*/ 3415115 h 6858000"/>
              <a:gd name="connsiteX43" fmla="*/ 149504 w 1825397"/>
              <a:gd name="connsiteY43" fmla="*/ 3491804 h 6858000"/>
              <a:gd name="connsiteX44" fmla="*/ 167790 w 1825397"/>
              <a:gd name="connsiteY44" fmla="*/ 3568519 h 6858000"/>
              <a:gd name="connsiteX45" fmla="*/ 187072 w 1825397"/>
              <a:gd name="connsiteY45" fmla="*/ 3645254 h 6858000"/>
              <a:gd name="connsiteX46" fmla="*/ 207342 w 1825397"/>
              <a:gd name="connsiteY46" fmla="*/ 3722002 h 6858000"/>
              <a:gd name="connsiteX47" fmla="*/ 228592 w 1825397"/>
              <a:gd name="connsiteY47" fmla="*/ 3798755 h 6858000"/>
              <a:gd name="connsiteX48" fmla="*/ 250811 w 1825397"/>
              <a:gd name="connsiteY48" fmla="*/ 3875507 h 6858000"/>
              <a:gd name="connsiteX49" fmla="*/ 273991 w 1825397"/>
              <a:gd name="connsiteY49" fmla="*/ 3952250 h 6858000"/>
              <a:gd name="connsiteX50" fmla="*/ 298122 w 1825397"/>
              <a:gd name="connsiteY50" fmla="*/ 4028978 h 6858000"/>
              <a:gd name="connsiteX51" fmla="*/ 323196 w 1825397"/>
              <a:gd name="connsiteY51" fmla="*/ 4105684 h 6858000"/>
              <a:gd name="connsiteX52" fmla="*/ 349203 w 1825397"/>
              <a:gd name="connsiteY52" fmla="*/ 4182361 h 6858000"/>
              <a:gd name="connsiteX53" fmla="*/ 376135 w 1825397"/>
              <a:gd name="connsiteY53" fmla="*/ 4259001 h 6858000"/>
              <a:gd name="connsiteX54" fmla="*/ 403981 w 1825397"/>
              <a:gd name="connsiteY54" fmla="*/ 4335598 h 6858000"/>
              <a:gd name="connsiteX55" fmla="*/ 432734 w 1825397"/>
              <a:gd name="connsiteY55" fmla="*/ 4412145 h 6858000"/>
              <a:gd name="connsiteX56" fmla="*/ 462383 w 1825397"/>
              <a:gd name="connsiteY56" fmla="*/ 4488634 h 6858000"/>
              <a:gd name="connsiteX57" fmla="*/ 492921 w 1825397"/>
              <a:gd name="connsiteY57" fmla="*/ 4565059 h 6858000"/>
              <a:gd name="connsiteX58" fmla="*/ 524337 w 1825397"/>
              <a:gd name="connsiteY58" fmla="*/ 4641414 h 6858000"/>
              <a:gd name="connsiteX59" fmla="*/ 556622 w 1825397"/>
              <a:gd name="connsiteY59" fmla="*/ 4717690 h 6858000"/>
              <a:gd name="connsiteX60" fmla="*/ 589768 w 1825397"/>
              <a:gd name="connsiteY60" fmla="*/ 4793880 h 6858000"/>
              <a:gd name="connsiteX61" fmla="*/ 623765 w 1825397"/>
              <a:gd name="connsiteY61" fmla="*/ 4869979 h 6858000"/>
              <a:gd name="connsiteX62" fmla="*/ 658604 w 1825397"/>
              <a:gd name="connsiteY62" fmla="*/ 4945979 h 6858000"/>
              <a:gd name="connsiteX63" fmla="*/ 694277 w 1825397"/>
              <a:gd name="connsiteY63" fmla="*/ 5021872 h 6858000"/>
              <a:gd name="connsiteX64" fmla="*/ 730773 w 1825397"/>
              <a:gd name="connsiteY64" fmla="*/ 5097653 h 6858000"/>
              <a:gd name="connsiteX65" fmla="*/ 768084 w 1825397"/>
              <a:gd name="connsiteY65" fmla="*/ 5173313 h 6858000"/>
              <a:gd name="connsiteX66" fmla="*/ 806201 w 1825397"/>
              <a:gd name="connsiteY66" fmla="*/ 5248846 h 6858000"/>
              <a:gd name="connsiteX67" fmla="*/ 845114 w 1825397"/>
              <a:gd name="connsiteY67" fmla="*/ 5324245 h 6858000"/>
              <a:gd name="connsiteX68" fmla="*/ 884815 w 1825397"/>
              <a:gd name="connsiteY68" fmla="*/ 5399504 h 6858000"/>
              <a:gd name="connsiteX69" fmla="*/ 925294 w 1825397"/>
              <a:gd name="connsiteY69" fmla="*/ 5474614 h 6858000"/>
              <a:gd name="connsiteX70" fmla="*/ 966542 w 1825397"/>
              <a:gd name="connsiteY70" fmla="*/ 5549569 h 6858000"/>
              <a:gd name="connsiteX71" fmla="*/ 1008551 w 1825397"/>
              <a:gd name="connsiteY71" fmla="*/ 5624363 h 6858000"/>
              <a:gd name="connsiteX72" fmla="*/ 1051310 w 1825397"/>
              <a:gd name="connsiteY72" fmla="*/ 5698987 h 6858000"/>
              <a:gd name="connsiteX73" fmla="*/ 1094812 w 1825397"/>
              <a:gd name="connsiteY73" fmla="*/ 5773436 h 6858000"/>
              <a:gd name="connsiteX74" fmla="*/ 1139046 w 1825397"/>
              <a:gd name="connsiteY74" fmla="*/ 5847701 h 6858000"/>
              <a:gd name="connsiteX75" fmla="*/ 1184003 w 1825397"/>
              <a:gd name="connsiteY75" fmla="*/ 5921777 h 6858000"/>
              <a:gd name="connsiteX76" fmla="*/ 1229676 w 1825397"/>
              <a:gd name="connsiteY76" fmla="*/ 5995656 h 6858000"/>
              <a:gd name="connsiteX77" fmla="*/ 1276053 w 1825397"/>
              <a:gd name="connsiteY77" fmla="*/ 6069331 h 6858000"/>
              <a:gd name="connsiteX78" fmla="*/ 1323127 w 1825397"/>
              <a:gd name="connsiteY78" fmla="*/ 6142795 h 6858000"/>
              <a:gd name="connsiteX79" fmla="*/ 1370888 w 1825397"/>
              <a:gd name="connsiteY79" fmla="*/ 6216042 h 6858000"/>
              <a:gd name="connsiteX80" fmla="*/ 1419327 w 1825397"/>
              <a:gd name="connsiteY80" fmla="*/ 6289063 h 6858000"/>
              <a:gd name="connsiteX81" fmla="*/ 1468435 w 1825397"/>
              <a:gd name="connsiteY81" fmla="*/ 6361853 h 6858000"/>
              <a:gd name="connsiteX82" fmla="*/ 1518203 w 1825397"/>
              <a:gd name="connsiteY82" fmla="*/ 6434404 h 6858000"/>
              <a:gd name="connsiteX83" fmla="*/ 1568621 w 1825397"/>
              <a:gd name="connsiteY83" fmla="*/ 6506710 h 6858000"/>
              <a:gd name="connsiteX84" fmla="*/ 1619681 w 1825397"/>
              <a:gd name="connsiteY84" fmla="*/ 6578763 h 6858000"/>
              <a:gd name="connsiteX85" fmla="*/ 1671374 w 1825397"/>
              <a:gd name="connsiteY85" fmla="*/ 6650555 h 6858000"/>
              <a:gd name="connsiteX86" fmla="*/ 1723690 w 1825397"/>
              <a:gd name="connsiteY86" fmla="*/ 6722082 h 6858000"/>
              <a:gd name="connsiteX87" fmla="*/ 1776620 w 1825397"/>
              <a:gd name="connsiteY87" fmla="*/ 6793334 h 6858000"/>
              <a:gd name="connsiteX88" fmla="*/ 1825397 w 1825397"/>
              <a:gd name="connsiteY88"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370802 w 1825397"/>
              <a:gd name="connsiteY7" fmla="*/ 450161 h 6858000"/>
              <a:gd name="connsiteX8" fmla="*/ 340430 w 1825397"/>
              <a:gd name="connsiteY8" fmla="*/ 519697 h 6858000"/>
              <a:gd name="connsiteX9" fmla="*/ 311382 w 1825397"/>
              <a:gd name="connsiteY9" fmla="*/ 589682 h 6858000"/>
              <a:gd name="connsiteX10" fmla="*/ 283671 w 1825397"/>
              <a:gd name="connsiteY10" fmla="*/ 660113 h 6858000"/>
              <a:gd name="connsiteX11" fmla="*/ 127017 w 1825397"/>
              <a:gd name="connsiteY11" fmla="*/ 1161435 h 6858000"/>
              <a:gd name="connsiteX12" fmla="*/ 109867 w 1825397"/>
              <a:gd name="connsiteY12" fmla="*/ 1234080 h 6858000"/>
              <a:gd name="connsiteX13" fmla="*/ 93997 w 1825397"/>
              <a:gd name="connsiteY13" fmla="*/ 1306961 h 6858000"/>
              <a:gd name="connsiteX14" fmla="*/ 79397 w 1825397"/>
              <a:gd name="connsiteY14" fmla="*/ 1380071 h 6858000"/>
              <a:gd name="connsiteX15" fmla="*/ 66059 w 1825397"/>
              <a:gd name="connsiteY15" fmla="*/ 1453404 h 6858000"/>
              <a:gd name="connsiteX16" fmla="*/ 53973 w 1825397"/>
              <a:gd name="connsiteY16" fmla="*/ 1526951 h 6858000"/>
              <a:gd name="connsiteX17" fmla="*/ 43131 w 1825397"/>
              <a:gd name="connsiteY17" fmla="*/ 1600707 h 6858000"/>
              <a:gd name="connsiteX18" fmla="*/ 33523 w 1825397"/>
              <a:gd name="connsiteY18" fmla="*/ 1674663 h 6858000"/>
              <a:gd name="connsiteX19" fmla="*/ 25141 w 1825397"/>
              <a:gd name="connsiteY19" fmla="*/ 1748814 h 6858000"/>
              <a:gd name="connsiteX20" fmla="*/ 17974 w 1825397"/>
              <a:gd name="connsiteY20" fmla="*/ 1823152 h 6858000"/>
              <a:gd name="connsiteX21" fmla="*/ 12014 w 1825397"/>
              <a:gd name="connsiteY21" fmla="*/ 1897670 h 6858000"/>
              <a:gd name="connsiteX22" fmla="*/ 7252 w 1825397"/>
              <a:gd name="connsiteY22" fmla="*/ 1972362 h 6858000"/>
              <a:gd name="connsiteX23" fmla="*/ 3679 w 1825397"/>
              <a:gd name="connsiteY23" fmla="*/ 2047219 h 6858000"/>
              <a:gd name="connsiteX24" fmla="*/ 1285 w 1825397"/>
              <a:gd name="connsiteY24" fmla="*/ 2122236 h 6858000"/>
              <a:gd name="connsiteX25" fmla="*/ 62 w 1825397"/>
              <a:gd name="connsiteY25" fmla="*/ 2197405 h 6858000"/>
              <a:gd name="connsiteX26" fmla="*/ 0 w 1825397"/>
              <a:gd name="connsiteY26" fmla="*/ 2272719 h 6858000"/>
              <a:gd name="connsiteX27" fmla="*/ 1090 w 1825397"/>
              <a:gd name="connsiteY27" fmla="*/ 2348171 h 6858000"/>
              <a:gd name="connsiteX28" fmla="*/ 3323 w 1825397"/>
              <a:gd name="connsiteY28" fmla="*/ 2423755 h 6858000"/>
              <a:gd name="connsiteX29" fmla="*/ 6690 w 1825397"/>
              <a:gd name="connsiteY29" fmla="*/ 2499463 h 6858000"/>
              <a:gd name="connsiteX30" fmla="*/ 11182 w 1825397"/>
              <a:gd name="connsiteY30" fmla="*/ 2575289 h 6858000"/>
              <a:gd name="connsiteX31" fmla="*/ 16790 w 1825397"/>
              <a:gd name="connsiteY31" fmla="*/ 2651225 h 6858000"/>
              <a:gd name="connsiteX32" fmla="*/ 23504 w 1825397"/>
              <a:gd name="connsiteY32" fmla="*/ 2727264 h 6858000"/>
              <a:gd name="connsiteX33" fmla="*/ 31316 w 1825397"/>
              <a:gd name="connsiteY33" fmla="*/ 2803399 h 6858000"/>
              <a:gd name="connsiteX34" fmla="*/ 40216 w 1825397"/>
              <a:gd name="connsiteY34" fmla="*/ 2879624 h 6858000"/>
              <a:gd name="connsiteX35" fmla="*/ 50195 w 1825397"/>
              <a:gd name="connsiteY35" fmla="*/ 2955931 h 6858000"/>
              <a:gd name="connsiteX36" fmla="*/ 61245 w 1825397"/>
              <a:gd name="connsiteY36" fmla="*/ 3032314 h 6858000"/>
              <a:gd name="connsiteX37" fmla="*/ 73356 w 1825397"/>
              <a:gd name="connsiteY37" fmla="*/ 3108766 h 6858000"/>
              <a:gd name="connsiteX38" fmla="*/ 86518 w 1825397"/>
              <a:gd name="connsiteY38" fmla="*/ 3185278 h 6858000"/>
              <a:gd name="connsiteX39" fmla="*/ 100723 w 1825397"/>
              <a:gd name="connsiteY39" fmla="*/ 3261845 h 6858000"/>
              <a:gd name="connsiteX40" fmla="*/ 115962 w 1825397"/>
              <a:gd name="connsiteY40" fmla="*/ 3338460 h 6858000"/>
              <a:gd name="connsiteX41" fmla="*/ 132226 w 1825397"/>
              <a:gd name="connsiteY41" fmla="*/ 3415115 h 6858000"/>
              <a:gd name="connsiteX42" fmla="*/ 149504 w 1825397"/>
              <a:gd name="connsiteY42" fmla="*/ 3491804 h 6858000"/>
              <a:gd name="connsiteX43" fmla="*/ 167790 w 1825397"/>
              <a:gd name="connsiteY43" fmla="*/ 3568519 h 6858000"/>
              <a:gd name="connsiteX44" fmla="*/ 187072 w 1825397"/>
              <a:gd name="connsiteY44" fmla="*/ 3645254 h 6858000"/>
              <a:gd name="connsiteX45" fmla="*/ 207342 w 1825397"/>
              <a:gd name="connsiteY45" fmla="*/ 3722002 h 6858000"/>
              <a:gd name="connsiteX46" fmla="*/ 228592 w 1825397"/>
              <a:gd name="connsiteY46" fmla="*/ 3798755 h 6858000"/>
              <a:gd name="connsiteX47" fmla="*/ 250811 w 1825397"/>
              <a:gd name="connsiteY47" fmla="*/ 3875507 h 6858000"/>
              <a:gd name="connsiteX48" fmla="*/ 273991 w 1825397"/>
              <a:gd name="connsiteY48" fmla="*/ 3952250 h 6858000"/>
              <a:gd name="connsiteX49" fmla="*/ 298122 w 1825397"/>
              <a:gd name="connsiteY49" fmla="*/ 4028978 h 6858000"/>
              <a:gd name="connsiteX50" fmla="*/ 323196 w 1825397"/>
              <a:gd name="connsiteY50" fmla="*/ 4105684 h 6858000"/>
              <a:gd name="connsiteX51" fmla="*/ 349203 w 1825397"/>
              <a:gd name="connsiteY51" fmla="*/ 4182361 h 6858000"/>
              <a:gd name="connsiteX52" fmla="*/ 376135 w 1825397"/>
              <a:gd name="connsiteY52" fmla="*/ 4259001 h 6858000"/>
              <a:gd name="connsiteX53" fmla="*/ 403981 w 1825397"/>
              <a:gd name="connsiteY53" fmla="*/ 4335598 h 6858000"/>
              <a:gd name="connsiteX54" fmla="*/ 432734 w 1825397"/>
              <a:gd name="connsiteY54" fmla="*/ 4412145 h 6858000"/>
              <a:gd name="connsiteX55" fmla="*/ 462383 w 1825397"/>
              <a:gd name="connsiteY55" fmla="*/ 4488634 h 6858000"/>
              <a:gd name="connsiteX56" fmla="*/ 492921 w 1825397"/>
              <a:gd name="connsiteY56" fmla="*/ 4565059 h 6858000"/>
              <a:gd name="connsiteX57" fmla="*/ 524337 w 1825397"/>
              <a:gd name="connsiteY57" fmla="*/ 4641414 h 6858000"/>
              <a:gd name="connsiteX58" fmla="*/ 556622 w 1825397"/>
              <a:gd name="connsiteY58" fmla="*/ 4717690 h 6858000"/>
              <a:gd name="connsiteX59" fmla="*/ 589768 w 1825397"/>
              <a:gd name="connsiteY59" fmla="*/ 4793880 h 6858000"/>
              <a:gd name="connsiteX60" fmla="*/ 623765 w 1825397"/>
              <a:gd name="connsiteY60" fmla="*/ 4869979 h 6858000"/>
              <a:gd name="connsiteX61" fmla="*/ 658604 w 1825397"/>
              <a:gd name="connsiteY61" fmla="*/ 4945979 h 6858000"/>
              <a:gd name="connsiteX62" fmla="*/ 694277 w 1825397"/>
              <a:gd name="connsiteY62" fmla="*/ 5021872 h 6858000"/>
              <a:gd name="connsiteX63" fmla="*/ 730773 w 1825397"/>
              <a:gd name="connsiteY63" fmla="*/ 5097653 h 6858000"/>
              <a:gd name="connsiteX64" fmla="*/ 768084 w 1825397"/>
              <a:gd name="connsiteY64" fmla="*/ 5173313 h 6858000"/>
              <a:gd name="connsiteX65" fmla="*/ 806201 w 1825397"/>
              <a:gd name="connsiteY65" fmla="*/ 5248846 h 6858000"/>
              <a:gd name="connsiteX66" fmla="*/ 845114 w 1825397"/>
              <a:gd name="connsiteY66" fmla="*/ 5324245 h 6858000"/>
              <a:gd name="connsiteX67" fmla="*/ 884815 w 1825397"/>
              <a:gd name="connsiteY67" fmla="*/ 5399504 h 6858000"/>
              <a:gd name="connsiteX68" fmla="*/ 925294 w 1825397"/>
              <a:gd name="connsiteY68" fmla="*/ 5474614 h 6858000"/>
              <a:gd name="connsiteX69" fmla="*/ 966542 w 1825397"/>
              <a:gd name="connsiteY69" fmla="*/ 5549569 h 6858000"/>
              <a:gd name="connsiteX70" fmla="*/ 1008551 w 1825397"/>
              <a:gd name="connsiteY70" fmla="*/ 5624363 h 6858000"/>
              <a:gd name="connsiteX71" fmla="*/ 1051310 w 1825397"/>
              <a:gd name="connsiteY71" fmla="*/ 5698987 h 6858000"/>
              <a:gd name="connsiteX72" fmla="*/ 1094812 w 1825397"/>
              <a:gd name="connsiteY72" fmla="*/ 5773436 h 6858000"/>
              <a:gd name="connsiteX73" fmla="*/ 1139046 w 1825397"/>
              <a:gd name="connsiteY73" fmla="*/ 5847701 h 6858000"/>
              <a:gd name="connsiteX74" fmla="*/ 1184003 w 1825397"/>
              <a:gd name="connsiteY74" fmla="*/ 5921777 h 6858000"/>
              <a:gd name="connsiteX75" fmla="*/ 1229676 w 1825397"/>
              <a:gd name="connsiteY75" fmla="*/ 5995656 h 6858000"/>
              <a:gd name="connsiteX76" fmla="*/ 1276053 w 1825397"/>
              <a:gd name="connsiteY76" fmla="*/ 6069331 h 6858000"/>
              <a:gd name="connsiteX77" fmla="*/ 1323127 w 1825397"/>
              <a:gd name="connsiteY77" fmla="*/ 6142795 h 6858000"/>
              <a:gd name="connsiteX78" fmla="*/ 1370888 w 1825397"/>
              <a:gd name="connsiteY78" fmla="*/ 6216042 h 6858000"/>
              <a:gd name="connsiteX79" fmla="*/ 1419327 w 1825397"/>
              <a:gd name="connsiteY79" fmla="*/ 6289063 h 6858000"/>
              <a:gd name="connsiteX80" fmla="*/ 1468435 w 1825397"/>
              <a:gd name="connsiteY80" fmla="*/ 6361853 h 6858000"/>
              <a:gd name="connsiteX81" fmla="*/ 1518203 w 1825397"/>
              <a:gd name="connsiteY81" fmla="*/ 6434404 h 6858000"/>
              <a:gd name="connsiteX82" fmla="*/ 1568621 w 1825397"/>
              <a:gd name="connsiteY82" fmla="*/ 6506710 h 6858000"/>
              <a:gd name="connsiteX83" fmla="*/ 1619681 w 1825397"/>
              <a:gd name="connsiteY83" fmla="*/ 6578763 h 6858000"/>
              <a:gd name="connsiteX84" fmla="*/ 1671374 w 1825397"/>
              <a:gd name="connsiteY84" fmla="*/ 6650555 h 6858000"/>
              <a:gd name="connsiteX85" fmla="*/ 1723690 w 1825397"/>
              <a:gd name="connsiteY85" fmla="*/ 6722082 h 6858000"/>
              <a:gd name="connsiteX86" fmla="*/ 1776620 w 1825397"/>
              <a:gd name="connsiteY86" fmla="*/ 6793334 h 6858000"/>
              <a:gd name="connsiteX87" fmla="*/ 1825397 w 1825397"/>
              <a:gd name="connsiteY87"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370802 w 1825397"/>
              <a:gd name="connsiteY7" fmla="*/ 450161 h 6858000"/>
              <a:gd name="connsiteX8" fmla="*/ 340430 w 1825397"/>
              <a:gd name="connsiteY8" fmla="*/ 519697 h 6858000"/>
              <a:gd name="connsiteX9" fmla="*/ 311382 w 1825397"/>
              <a:gd name="connsiteY9" fmla="*/ 589682 h 6858000"/>
              <a:gd name="connsiteX10" fmla="*/ 127017 w 1825397"/>
              <a:gd name="connsiteY10" fmla="*/ 1161435 h 6858000"/>
              <a:gd name="connsiteX11" fmla="*/ 109867 w 1825397"/>
              <a:gd name="connsiteY11" fmla="*/ 1234080 h 6858000"/>
              <a:gd name="connsiteX12" fmla="*/ 93997 w 1825397"/>
              <a:gd name="connsiteY12" fmla="*/ 1306961 h 6858000"/>
              <a:gd name="connsiteX13" fmla="*/ 79397 w 1825397"/>
              <a:gd name="connsiteY13" fmla="*/ 1380071 h 6858000"/>
              <a:gd name="connsiteX14" fmla="*/ 66059 w 1825397"/>
              <a:gd name="connsiteY14" fmla="*/ 1453404 h 6858000"/>
              <a:gd name="connsiteX15" fmla="*/ 53973 w 1825397"/>
              <a:gd name="connsiteY15" fmla="*/ 1526951 h 6858000"/>
              <a:gd name="connsiteX16" fmla="*/ 43131 w 1825397"/>
              <a:gd name="connsiteY16" fmla="*/ 1600707 h 6858000"/>
              <a:gd name="connsiteX17" fmla="*/ 33523 w 1825397"/>
              <a:gd name="connsiteY17" fmla="*/ 1674663 h 6858000"/>
              <a:gd name="connsiteX18" fmla="*/ 25141 w 1825397"/>
              <a:gd name="connsiteY18" fmla="*/ 1748814 h 6858000"/>
              <a:gd name="connsiteX19" fmla="*/ 17974 w 1825397"/>
              <a:gd name="connsiteY19" fmla="*/ 1823152 h 6858000"/>
              <a:gd name="connsiteX20" fmla="*/ 12014 w 1825397"/>
              <a:gd name="connsiteY20" fmla="*/ 1897670 h 6858000"/>
              <a:gd name="connsiteX21" fmla="*/ 7252 w 1825397"/>
              <a:gd name="connsiteY21" fmla="*/ 1972362 h 6858000"/>
              <a:gd name="connsiteX22" fmla="*/ 3679 w 1825397"/>
              <a:gd name="connsiteY22" fmla="*/ 2047219 h 6858000"/>
              <a:gd name="connsiteX23" fmla="*/ 1285 w 1825397"/>
              <a:gd name="connsiteY23" fmla="*/ 2122236 h 6858000"/>
              <a:gd name="connsiteX24" fmla="*/ 62 w 1825397"/>
              <a:gd name="connsiteY24" fmla="*/ 2197405 h 6858000"/>
              <a:gd name="connsiteX25" fmla="*/ 0 w 1825397"/>
              <a:gd name="connsiteY25" fmla="*/ 2272719 h 6858000"/>
              <a:gd name="connsiteX26" fmla="*/ 1090 w 1825397"/>
              <a:gd name="connsiteY26" fmla="*/ 2348171 h 6858000"/>
              <a:gd name="connsiteX27" fmla="*/ 3323 w 1825397"/>
              <a:gd name="connsiteY27" fmla="*/ 2423755 h 6858000"/>
              <a:gd name="connsiteX28" fmla="*/ 6690 w 1825397"/>
              <a:gd name="connsiteY28" fmla="*/ 2499463 h 6858000"/>
              <a:gd name="connsiteX29" fmla="*/ 11182 w 1825397"/>
              <a:gd name="connsiteY29" fmla="*/ 2575289 h 6858000"/>
              <a:gd name="connsiteX30" fmla="*/ 16790 w 1825397"/>
              <a:gd name="connsiteY30" fmla="*/ 2651225 h 6858000"/>
              <a:gd name="connsiteX31" fmla="*/ 23504 w 1825397"/>
              <a:gd name="connsiteY31" fmla="*/ 2727264 h 6858000"/>
              <a:gd name="connsiteX32" fmla="*/ 31316 w 1825397"/>
              <a:gd name="connsiteY32" fmla="*/ 2803399 h 6858000"/>
              <a:gd name="connsiteX33" fmla="*/ 40216 w 1825397"/>
              <a:gd name="connsiteY33" fmla="*/ 2879624 h 6858000"/>
              <a:gd name="connsiteX34" fmla="*/ 50195 w 1825397"/>
              <a:gd name="connsiteY34" fmla="*/ 2955931 h 6858000"/>
              <a:gd name="connsiteX35" fmla="*/ 61245 w 1825397"/>
              <a:gd name="connsiteY35" fmla="*/ 3032314 h 6858000"/>
              <a:gd name="connsiteX36" fmla="*/ 73356 w 1825397"/>
              <a:gd name="connsiteY36" fmla="*/ 3108766 h 6858000"/>
              <a:gd name="connsiteX37" fmla="*/ 86518 w 1825397"/>
              <a:gd name="connsiteY37" fmla="*/ 3185278 h 6858000"/>
              <a:gd name="connsiteX38" fmla="*/ 100723 w 1825397"/>
              <a:gd name="connsiteY38" fmla="*/ 3261845 h 6858000"/>
              <a:gd name="connsiteX39" fmla="*/ 115962 w 1825397"/>
              <a:gd name="connsiteY39" fmla="*/ 3338460 h 6858000"/>
              <a:gd name="connsiteX40" fmla="*/ 132226 w 1825397"/>
              <a:gd name="connsiteY40" fmla="*/ 3415115 h 6858000"/>
              <a:gd name="connsiteX41" fmla="*/ 149504 w 1825397"/>
              <a:gd name="connsiteY41" fmla="*/ 3491804 h 6858000"/>
              <a:gd name="connsiteX42" fmla="*/ 167790 w 1825397"/>
              <a:gd name="connsiteY42" fmla="*/ 3568519 h 6858000"/>
              <a:gd name="connsiteX43" fmla="*/ 187072 w 1825397"/>
              <a:gd name="connsiteY43" fmla="*/ 3645254 h 6858000"/>
              <a:gd name="connsiteX44" fmla="*/ 207342 w 1825397"/>
              <a:gd name="connsiteY44" fmla="*/ 3722002 h 6858000"/>
              <a:gd name="connsiteX45" fmla="*/ 228592 w 1825397"/>
              <a:gd name="connsiteY45" fmla="*/ 3798755 h 6858000"/>
              <a:gd name="connsiteX46" fmla="*/ 250811 w 1825397"/>
              <a:gd name="connsiteY46" fmla="*/ 3875507 h 6858000"/>
              <a:gd name="connsiteX47" fmla="*/ 273991 w 1825397"/>
              <a:gd name="connsiteY47" fmla="*/ 3952250 h 6858000"/>
              <a:gd name="connsiteX48" fmla="*/ 298122 w 1825397"/>
              <a:gd name="connsiteY48" fmla="*/ 4028978 h 6858000"/>
              <a:gd name="connsiteX49" fmla="*/ 323196 w 1825397"/>
              <a:gd name="connsiteY49" fmla="*/ 4105684 h 6858000"/>
              <a:gd name="connsiteX50" fmla="*/ 349203 w 1825397"/>
              <a:gd name="connsiteY50" fmla="*/ 4182361 h 6858000"/>
              <a:gd name="connsiteX51" fmla="*/ 376135 w 1825397"/>
              <a:gd name="connsiteY51" fmla="*/ 4259001 h 6858000"/>
              <a:gd name="connsiteX52" fmla="*/ 403981 w 1825397"/>
              <a:gd name="connsiteY52" fmla="*/ 4335598 h 6858000"/>
              <a:gd name="connsiteX53" fmla="*/ 432734 w 1825397"/>
              <a:gd name="connsiteY53" fmla="*/ 4412145 h 6858000"/>
              <a:gd name="connsiteX54" fmla="*/ 462383 w 1825397"/>
              <a:gd name="connsiteY54" fmla="*/ 4488634 h 6858000"/>
              <a:gd name="connsiteX55" fmla="*/ 492921 w 1825397"/>
              <a:gd name="connsiteY55" fmla="*/ 4565059 h 6858000"/>
              <a:gd name="connsiteX56" fmla="*/ 524337 w 1825397"/>
              <a:gd name="connsiteY56" fmla="*/ 4641414 h 6858000"/>
              <a:gd name="connsiteX57" fmla="*/ 556622 w 1825397"/>
              <a:gd name="connsiteY57" fmla="*/ 4717690 h 6858000"/>
              <a:gd name="connsiteX58" fmla="*/ 589768 w 1825397"/>
              <a:gd name="connsiteY58" fmla="*/ 4793880 h 6858000"/>
              <a:gd name="connsiteX59" fmla="*/ 623765 w 1825397"/>
              <a:gd name="connsiteY59" fmla="*/ 4869979 h 6858000"/>
              <a:gd name="connsiteX60" fmla="*/ 658604 w 1825397"/>
              <a:gd name="connsiteY60" fmla="*/ 4945979 h 6858000"/>
              <a:gd name="connsiteX61" fmla="*/ 694277 w 1825397"/>
              <a:gd name="connsiteY61" fmla="*/ 5021872 h 6858000"/>
              <a:gd name="connsiteX62" fmla="*/ 730773 w 1825397"/>
              <a:gd name="connsiteY62" fmla="*/ 5097653 h 6858000"/>
              <a:gd name="connsiteX63" fmla="*/ 768084 w 1825397"/>
              <a:gd name="connsiteY63" fmla="*/ 5173313 h 6858000"/>
              <a:gd name="connsiteX64" fmla="*/ 806201 w 1825397"/>
              <a:gd name="connsiteY64" fmla="*/ 5248846 h 6858000"/>
              <a:gd name="connsiteX65" fmla="*/ 845114 w 1825397"/>
              <a:gd name="connsiteY65" fmla="*/ 5324245 h 6858000"/>
              <a:gd name="connsiteX66" fmla="*/ 884815 w 1825397"/>
              <a:gd name="connsiteY66" fmla="*/ 5399504 h 6858000"/>
              <a:gd name="connsiteX67" fmla="*/ 925294 w 1825397"/>
              <a:gd name="connsiteY67" fmla="*/ 5474614 h 6858000"/>
              <a:gd name="connsiteX68" fmla="*/ 966542 w 1825397"/>
              <a:gd name="connsiteY68" fmla="*/ 5549569 h 6858000"/>
              <a:gd name="connsiteX69" fmla="*/ 1008551 w 1825397"/>
              <a:gd name="connsiteY69" fmla="*/ 5624363 h 6858000"/>
              <a:gd name="connsiteX70" fmla="*/ 1051310 w 1825397"/>
              <a:gd name="connsiteY70" fmla="*/ 5698987 h 6858000"/>
              <a:gd name="connsiteX71" fmla="*/ 1094812 w 1825397"/>
              <a:gd name="connsiteY71" fmla="*/ 5773436 h 6858000"/>
              <a:gd name="connsiteX72" fmla="*/ 1139046 w 1825397"/>
              <a:gd name="connsiteY72" fmla="*/ 5847701 h 6858000"/>
              <a:gd name="connsiteX73" fmla="*/ 1184003 w 1825397"/>
              <a:gd name="connsiteY73" fmla="*/ 5921777 h 6858000"/>
              <a:gd name="connsiteX74" fmla="*/ 1229676 w 1825397"/>
              <a:gd name="connsiteY74" fmla="*/ 5995656 h 6858000"/>
              <a:gd name="connsiteX75" fmla="*/ 1276053 w 1825397"/>
              <a:gd name="connsiteY75" fmla="*/ 6069331 h 6858000"/>
              <a:gd name="connsiteX76" fmla="*/ 1323127 w 1825397"/>
              <a:gd name="connsiteY76" fmla="*/ 6142795 h 6858000"/>
              <a:gd name="connsiteX77" fmla="*/ 1370888 w 1825397"/>
              <a:gd name="connsiteY77" fmla="*/ 6216042 h 6858000"/>
              <a:gd name="connsiteX78" fmla="*/ 1419327 w 1825397"/>
              <a:gd name="connsiteY78" fmla="*/ 6289063 h 6858000"/>
              <a:gd name="connsiteX79" fmla="*/ 1468435 w 1825397"/>
              <a:gd name="connsiteY79" fmla="*/ 6361853 h 6858000"/>
              <a:gd name="connsiteX80" fmla="*/ 1518203 w 1825397"/>
              <a:gd name="connsiteY80" fmla="*/ 6434404 h 6858000"/>
              <a:gd name="connsiteX81" fmla="*/ 1568621 w 1825397"/>
              <a:gd name="connsiteY81" fmla="*/ 6506710 h 6858000"/>
              <a:gd name="connsiteX82" fmla="*/ 1619681 w 1825397"/>
              <a:gd name="connsiteY82" fmla="*/ 6578763 h 6858000"/>
              <a:gd name="connsiteX83" fmla="*/ 1671374 w 1825397"/>
              <a:gd name="connsiteY83" fmla="*/ 6650555 h 6858000"/>
              <a:gd name="connsiteX84" fmla="*/ 1723690 w 1825397"/>
              <a:gd name="connsiteY84" fmla="*/ 6722082 h 6858000"/>
              <a:gd name="connsiteX85" fmla="*/ 1776620 w 1825397"/>
              <a:gd name="connsiteY85" fmla="*/ 6793334 h 6858000"/>
              <a:gd name="connsiteX86" fmla="*/ 1825397 w 1825397"/>
              <a:gd name="connsiteY86"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370802 w 1825397"/>
              <a:gd name="connsiteY7" fmla="*/ 450161 h 6858000"/>
              <a:gd name="connsiteX8" fmla="*/ 340430 w 1825397"/>
              <a:gd name="connsiteY8" fmla="*/ 519697 h 6858000"/>
              <a:gd name="connsiteX9" fmla="*/ 127017 w 1825397"/>
              <a:gd name="connsiteY9" fmla="*/ 1161435 h 6858000"/>
              <a:gd name="connsiteX10" fmla="*/ 109867 w 1825397"/>
              <a:gd name="connsiteY10" fmla="*/ 1234080 h 6858000"/>
              <a:gd name="connsiteX11" fmla="*/ 93997 w 1825397"/>
              <a:gd name="connsiteY11" fmla="*/ 1306961 h 6858000"/>
              <a:gd name="connsiteX12" fmla="*/ 79397 w 1825397"/>
              <a:gd name="connsiteY12" fmla="*/ 1380071 h 6858000"/>
              <a:gd name="connsiteX13" fmla="*/ 66059 w 1825397"/>
              <a:gd name="connsiteY13" fmla="*/ 1453404 h 6858000"/>
              <a:gd name="connsiteX14" fmla="*/ 53973 w 1825397"/>
              <a:gd name="connsiteY14" fmla="*/ 1526951 h 6858000"/>
              <a:gd name="connsiteX15" fmla="*/ 43131 w 1825397"/>
              <a:gd name="connsiteY15" fmla="*/ 1600707 h 6858000"/>
              <a:gd name="connsiteX16" fmla="*/ 33523 w 1825397"/>
              <a:gd name="connsiteY16" fmla="*/ 1674663 h 6858000"/>
              <a:gd name="connsiteX17" fmla="*/ 25141 w 1825397"/>
              <a:gd name="connsiteY17" fmla="*/ 1748814 h 6858000"/>
              <a:gd name="connsiteX18" fmla="*/ 17974 w 1825397"/>
              <a:gd name="connsiteY18" fmla="*/ 1823152 h 6858000"/>
              <a:gd name="connsiteX19" fmla="*/ 12014 w 1825397"/>
              <a:gd name="connsiteY19" fmla="*/ 1897670 h 6858000"/>
              <a:gd name="connsiteX20" fmla="*/ 7252 w 1825397"/>
              <a:gd name="connsiteY20" fmla="*/ 1972362 h 6858000"/>
              <a:gd name="connsiteX21" fmla="*/ 3679 w 1825397"/>
              <a:gd name="connsiteY21" fmla="*/ 2047219 h 6858000"/>
              <a:gd name="connsiteX22" fmla="*/ 1285 w 1825397"/>
              <a:gd name="connsiteY22" fmla="*/ 2122236 h 6858000"/>
              <a:gd name="connsiteX23" fmla="*/ 62 w 1825397"/>
              <a:gd name="connsiteY23" fmla="*/ 2197405 h 6858000"/>
              <a:gd name="connsiteX24" fmla="*/ 0 w 1825397"/>
              <a:gd name="connsiteY24" fmla="*/ 2272719 h 6858000"/>
              <a:gd name="connsiteX25" fmla="*/ 1090 w 1825397"/>
              <a:gd name="connsiteY25" fmla="*/ 2348171 h 6858000"/>
              <a:gd name="connsiteX26" fmla="*/ 3323 w 1825397"/>
              <a:gd name="connsiteY26" fmla="*/ 2423755 h 6858000"/>
              <a:gd name="connsiteX27" fmla="*/ 6690 w 1825397"/>
              <a:gd name="connsiteY27" fmla="*/ 2499463 h 6858000"/>
              <a:gd name="connsiteX28" fmla="*/ 11182 w 1825397"/>
              <a:gd name="connsiteY28" fmla="*/ 2575289 h 6858000"/>
              <a:gd name="connsiteX29" fmla="*/ 16790 w 1825397"/>
              <a:gd name="connsiteY29" fmla="*/ 2651225 h 6858000"/>
              <a:gd name="connsiteX30" fmla="*/ 23504 w 1825397"/>
              <a:gd name="connsiteY30" fmla="*/ 2727264 h 6858000"/>
              <a:gd name="connsiteX31" fmla="*/ 31316 w 1825397"/>
              <a:gd name="connsiteY31" fmla="*/ 2803399 h 6858000"/>
              <a:gd name="connsiteX32" fmla="*/ 40216 w 1825397"/>
              <a:gd name="connsiteY32" fmla="*/ 2879624 h 6858000"/>
              <a:gd name="connsiteX33" fmla="*/ 50195 w 1825397"/>
              <a:gd name="connsiteY33" fmla="*/ 2955931 h 6858000"/>
              <a:gd name="connsiteX34" fmla="*/ 61245 w 1825397"/>
              <a:gd name="connsiteY34" fmla="*/ 3032314 h 6858000"/>
              <a:gd name="connsiteX35" fmla="*/ 73356 w 1825397"/>
              <a:gd name="connsiteY35" fmla="*/ 3108766 h 6858000"/>
              <a:gd name="connsiteX36" fmla="*/ 86518 w 1825397"/>
              <a:gd name="connsiteY36" fmla="*/ 3185278 h 6858000"/>
              <a:gd name="connsiteX37" fmla="*/ 100723 w 1825397"/>
              <a:gd name="connsiteY37" fmla="*/ 3261845 h 6858000"/>
              <a:gd name="connsiteX38" fmla="*/ 115962 w 1825397"/>
              <a:gd name="connsiteY38" fmla="*/ 3338460 h 6858000"/>
              <a:gd name="connsiteX39" fmla="*/ 132226 w 1825397"/>
              <a:gd name="connsiteY39" fmla="*/ 3415115 h 6858000"/>
              <a:gd name="connsiteX40" fmla="*/ 149504 w 1825397"/>
              <a:gd name="connsiteY40" fmla="*/ 3491804 h 6858000"/>
              <a:gd name="connsiteX41" fmla="*/ 167790 w 1825397"/>
              <a:gd name="connsiteY41" fmla="*/ 3568519 h 6858000"/>
              <a:gd name="connsiteX42" fmla="*/ 187072 w 1825397"/>
              <a:gd name="connsiteY42" fmla="*/ 3645254 h 6858000"/>
              <a:gd name="connsiteX43" fmla="*/ 207342 w 1825397"/>
              <a:gd name="connsiteY43" fmla="*/ 3722002 h 6858000"/>
              <a:gd name="connsiteX44" fmla="*/ 228592 w 1825397"/>
              <a:gd name="connsiteY44" fmla="*/ 3798755 h 6858000"/>
              <a:gd name="connsiteX45" fmla="*/ 250811 w 1825397"/>
              <a:gd name="connsiteY45" fmla="*/ 3875507 h 6858000"/>
              <a:gd name="connsiteX46" fmla="*/ 273991 w 1825397"/>
              <a:gd name="connsiteY46" fmla="*/ 3952250 h 6858000"/>
              <a:gd name="connsiteX47" fmla="*/ 298122 w 1825397"/>
              <a:gd name="connsiteY47" fmla="*/ 4028978 h 6858000"/>
              <a:gd name="connsiteX48" fmla="*/ 323196 w 1825397"/>
              <a:gd name="connsiteY48" fmla="*/ 4105684 h 6858000"/>
              <a:gd name="connsiteX49" fmla="*/ 349203 w 1825397"/>
              <a:gd name="connsiteY49" fmla="*/ 4182361 h 6858000"/>
              <a:gd name="connsiteX50" fmla="*/ 376135 w 1825397"/>
              <a:gd name="connsiteY50" fmla="*/ 4259001 h 6858000"/>
              <a:gd name="connsiteX51" fmla="*/ 403981 w 1825397"/>
              <a:gd name="connsiteY51" fmla="*/ 4335598 h 6858000"/>
              <a:gd name="connsiteX52" fmla="*/ 432734 w 1825397"/>
              <a:gd name="connsiteY52" fmla="*/ 4412145 h 6858000"/>
              <a:gd name="connsiteX53" fmla="*/ 462383 w 1825397"/>
              <a:gd name="connsiteY53" fmla="*/ 4488634 h 6858000"/>
              <a:gd name="connsiteX54" fmla="*/ 492921 w 1825397"/>
              <a:gd name="connsiteY54" fmla="*/ 4565059 h 6858000"/>
              <a:gd name="connsiteX55" fmla="*/ 524337 w 1825397"/>
              <a:gd name="connsiteY55" fmla="*/ 4641414 h 6858000"/>
              <a:gd name="connsiteX56" fmla="*/ 556622 w 1825397"/>
              <a:gd name="connsiteY56" fmla="*/ 4717690 h 6858000"/>
              <a:gd name="connsiteX57" fmla="*/ 589768 w 1825397"/>
              <a:gd name="connsiteY57" fmla="*/ 4793880 h 6858000"/>
              <a:gd name="connsiteX58" fmla="*/ 623765 w 1825397"/>
              <a:gd name="connsiteY58" fmla="*/ 4869979 h 6858000"/>
              <a:gd name="connsiteX59" fmla="*/ 658604 w 1825397"/>
              <a:gd name="connsiteY59" fmla="*/ 4945979 h 6858000"/>
              <a:gd name="connsiteX60" fmla="*/ 694277 w 1825397"/>
              <a:gd name="connsiteY60" fmla="*/ 5021872 h 6858000"/>
              <a:gd name="connsiteX61" fmla="*/ 730773 w 1825397"/>
              <a:gd name="connsiteY61" fmla="*/ 5097653 h 6858000"/>
              <a:gd name="connsiteX62" fmla="*/ 768084 w 1825397"/>
              <a:gd name="connsiteY62" fmla="*/ 5173313 h 6858000"/>
              <a:gd name="connsiteX63" fmla="*/ 806201 w 1825397"/>
              <a:gd name="connsiteY63" fmla="*/ 5248846 h 6858000"/>
              <a:gd name="connsiteX64" fmla="*/ 845114 w 1825397"/>
              <a:gd name="connsiteY64" fmla="*/ 5324245 h 6858000"/>
              <a:gd name="connsiteX65" fmla="*/ 884815 w 1825397"/>
              <a:gd name="connsiteY65" fmla="*/ 5399504 h 6858000"/>
              <a:gd name="connsiteX66" fmla="*/ 925294 w 1825397"/>
              <a:gd name="connsiteY66" fmla="*/ 5474614 h 6858000"/>
              <a:gd name="connsiteX67" fmla="*/ 966542 w 1825397"/>
              <a:gd name="connsiteY67" fmla="*/ 5549569 h 6858000"/>
              <a:gd name="connsiteX68" fmla="*/ 1008551 w 1825397"/>
              <a:gd name="connsiteY68" fmla="*/ 5624363 h 6858000"/>
              <a:gd name="connsiteX69" fmla="*/ 1051310 w 1825397"/>
              <a:gd name="connsiteY69" fmla="*/ 5698987 h 6858000"/>
              <a:gd name="connsiteX70" fmla="*/ 1094812 w 1825397"/>
              <a:gd name="connsiteY70" fmla="*/ 5773436 h 6858000"/>
              <a:gd name="connsiteX71" fmla="*/ 1139046 w 1825397"/>
              <a:gd name="connsiteY71" fmla="*/ 5847701 h 6858000"/>
              <a:gd name="connsiteX72" fmla="*/ 1184003 w 1825397"/>
              <a:gd name="connsiteY72" fmla="*/ 5921777 h 6858000"/>
              <a:gd name="connsiteX73" fmla="*/ 1229676 w 1825397"/>
              <a:gd name="connsiteY73" fmla="*/ 5995656 h 6858000"/>
              <a:gd name="connsiteX74" fmla="*/ 1276053 w 1825397"/>
              <a:gd name="connsiteY74" fmla="*/ 6069331 h 6858000"/>
              <a:gd name="connsiteX75" fmla="*/ 1323127 w 1825397"/>
              <a:gd name="connsiteY75" fmla="*/ 6142795 h 6858000"/>
              <a:gd name="connsiteX76" fmla="*/ 1370888 w 1825397"/>
              <a:gd name="connsiteY76" fmla="*/ 6216042 h 6858000"/>
              <a:gd name="connsiteX77" fmla="*/ 1419327 w 1825397"/>
              <a:gd name="connsiteY77" fmla="*/ 6289063 h 6858000"/>
              <a:gd name="connsiteX78" fmla="*/ 1468435 w 1825397"/>
              <a:gd name="connsiteY78" fmla="*/ 6361853 h 6858000"/>
              <a:gd name="connsiteX79" fmla="*/ 1518203 w 1825397"/>
              <a:gd name="connsiteY79" fmla="*/ 6434404 h 6858000"/>
              <a:gd name="connsiteX80" fmla="*/ 1568621 w 1825397"/>
              <a:gd name="connsiteY80" fmla="*/ 6506710 h 6858000"/>
              <a:gd name="connsiteX81" fmla="*/ 1619681 w 1825397"/>
              <a:gd name="connsiteY81" fmla="*/ 6578763 h 6858000"/>
              <a:gd name="connsiteX82" fmla="*/ 1671374 w 1825397"/>
              <a:gd name="connsiteY82" fmla="*/ 6650555 h 6858000"/>
              <a:gd name="connsiteX83" fmla="*/ 1723690 w 1825397"/>
              <a:gd name="connsiteY83" fmla="*/ 6722082 h 6858000"/>
              <a:gd name="connsiteX84" fmla="*/ 1776620 w 1825397"/>
              <a:gd name="connsiteY84" fmla="*/ 6793334 h 6858000"/>
              <a:gd name="connsiteX85" fmla="*/ 1825397 w 1825397"/>
              <a:gd name="connsiteY85"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370802 w 1825397"/>
              <a:gd name="connsiteY7" fmla="*/ 450161 h 6858000"/>
              <a:gd name="connsiteX8" fmla="*/ 127017 w 1825397"/>
              <a:gd name="connsiteY8" fmla="*/ 1161435 h 6858000"/>
              <a:gd name="connsiteX9" fmla="*/ 109867 w 1825397"/>
              <a:gd name="connsiteY9" fmla="*/ 1234080 h 6858000"/>
              <a:gd name="connsiteX10" fmla="*/ 93997 w 1825397"/>
              <a:gd name="connsiteY10" fmla="*/ 1306961 h 6858000"/>
              <a:gd name="connsiteX11" fmla="*/ 79397 w 1825397"/>
              <a:gd name="connsiteY11" fmla="*/ 1380071 h 6858000"/>
              <a:gd name="connsiteX12" fmla="*/ 66059 w 1825397"/>
              <a:gd name="connsiteY12" fmla="*/ 1453404 h 6858000"/>
              <a:gd name="connsiteX13" fmla="*/ 53973 w 1825397"/>
              <a:gd name="connsiteY13" fmla="*/ 1526951 h 6858000"/>
              <a:gd name="connsiteX14" fmla="*/ 43131 w 1825397"/>
              <a:gd name="connsiteY14" fmla="*/ 1600707 h 6858000"/>
              <a:gd name="connsiteX15" fmla="*/ 33523 w 1825397"/>
              <a:gd name="connsiteY15" fmla="*/ 1674663 h 6858000"/>
              <a:gd name="connsiteX16" fmla="*/ 25141 w 1825397"/>
              <a:gd name="connsiteY16" fmla="*/ 1748814 h 6858000"/>
              <a:gd name="connsiteX17" fmla="*/ 17974 w 1825397"/>
              <a:gd name="connsiteY17" fmla="*/ 1823152 h 6858000"/>
              <a:gd name="connsiteX18" fmla="*/ 12014 w 1825397"/>
              <a:gd name="connsiteY18" fmla="*/ 1897670 h 6858000"/>
              <a:gd name="connsiteX19" fmla="*/ 7252 w 1825397"/>
              <a:gd name="connsiteY19" fmla="*/ 1972362 h 6858000"/>
              <a:gd name="connsiteX20" fmla="*/ 3679 w 1825397"/>
              <a:gd name="connsiteY20" fmla="*/ 2047219 h 6858000"/>
              <a:gd name="connsiteX21" fmla="*/ 1285 w 1825397"/>
              <a:gd name="connsiteY21" fmla="*/ 2122236 h 6858000"/>
              <a:gd name="connsiteX22" fmla="*/ 62 w 1825397"/>
              <a:gd name="connsiteY22" fmla="*/ 2197405 h 6858000"/>
              <a:gd name="connsiteX23" fmla="*/ 0 w 1825397"/>
              <a:gd name="connsiteY23" fmla="*/ 2272719 h 6858000"/>
              <a:gd name="connsiteX24" fmla="*/ 1090 w 1825397"/>
              <a:gd name="connsiteY24" fmla="*/ 2348171 h 6858000"/>
              <a:gd name="connsiteX25" fmla="*/ 3323 w 1825397"/>
              <a:gd name="connsiteY25" fmla="*/ 2423755 h 6858000"/>
              <a:gd name="connsiteX26" fmla="*/ 6690 w 1825397"/>
              <a:gd name="connsiteY26" fmla="*/ 2499463 h 6858000"/>
              <a:gd name="connsiteX27" fmla="*/ 11182 w 1825397"/>
              <a:gd name="connsiteY27" fmla="*/ 2575289 h 6858000"/>
              <a:gd name="connsiteX28" fmla="*/ 16790 w 1825397"/>
              <a:gd name="connsiteY28" fmla="*/ 2651225 h 6858000"/>
              <a:gd name="connsiteX29" fmla="*/ 23504 w 1825397"/>
              <a:gd name="connsiteY29" fmla="*/ 2727264 h 6858000"/>
              <a:gd name="connsiteX30" fmla="*/ 31316 w 1825397"/>
              <a:gd name="connsiteY30" fmla="*/ 2803399 h 6858000"/>
              <a:gd name="connsiteX31" fmla="*/ 40216 w 1825397"/>
              <a:gd name="connsiteY31" fmla="*/ 2879624 h 6858000"/>
              <a:gd name="connsiteX32" fmla="*/ 50195 w 1825397"/>
              <a:gd name="connsiteY32" fmla="*/ 2955931 h 6858000"/>
              <a:gd name="connsiteX33" fmla="*/ 61245 w 1825397"/>
              <a:gd name="connsiteY33" fmla="*/ 3032314 h 6858000"/>
              <a:gd name="connsiteX34" fmla="*/ 73356 w 1825397"/>
              <a:gd name="connsiteY34" fmla="*/ 3108766 h 6858000"/>
              <a:gd name="connsiteX35" fmla="*/ 86518 w 1825397"/>
              <a:gd name="connsiteY35" fmla="*/ 3185278 h 6858000"/>
              <a:gd name="connsiteX36" fmla="*/ 100723 w 1825397"/>
              <a:gd name="connsiteY36" fmla="*/ 3261845 h 6858000"/>
              <a:gd name="connsiteX37" fmla="*/ 115962 w 1825397"/>
              <a:gd name="connsiteY37" fmla="*/ 3338460 h 6858000"/>
              <a:gd name="connsiteX38" fmla="*/ 132226 w 1825397"/>
              <a:gd name="connsiteY38" fmla="*/ 3415115 h 6858000"/>
              <a:gd name="connsiteX39" fmla="*/ 149504 w 1825397"/>
              <a:gd name="connsiteY39" fmla="*/ 3491804 h 6858000"/>
              <a:gd name="connsiteX40" fmla="*/ 167790 w 1825397"/>
              <a:gd name="connsiteY40" fmla="*/ 3568519 h 6858000"/>
              <a:gd name="connsiteX41" fmla="*/ 187072 w 1825397"/>
              <a:gd name="connsiteY41" fmla="*/ 3645254 h 6858000"/>
              <a:gd name="connsiteX42" fmla="*/ 207342 w 1825397"/>
              <a:gd name="connsiteY42" fmla="*/ 3722002 h 6858000"/>
              <a:gd name="connsiteX43" fmla="*/ 228592 w 1825397"/>
              <a:gd name="connsiteY43" fmla="*/ 3798755 h 6858000"/>
              <a:gd name="connsiteX44" fmla="*/ 250811 w 1825397"/>
              <a:gd name="connsiteY44" fmla="*/ 3875507 h 6858000"/>
              <a:gd name="connsiteX45" fmla="*/ 273991 w 1825397"/>
              <a:gd name="connsiteY45" fmla="*/ 3952250 h 6858000"/>
              <a:gd name="connsiteX46" fmla="*/ 298122 w 1825397"/>
              <a:gd name="connsiteY46" fmla="*/ 4028978 h 6858000"/>
              <a:gd name="connsiteX47" fmla="*/ 323196 w 1825397"/>
              <a:gd name="connsiteY47" fmla="*/ 4105684 h 6858000"/>
              <a:gd name="connsiteX48" fmla="*/ 349203 w 1825397"/>
              <a:gd name="connsiteY48" fmla="*/ 4182361 h 6858000"/>
              <a:gd name="connsiteX49" fmla="*/ 376135 w 1825397"/>
              <a:gd name="connsiteY49" fmla="*/ 4259001 h 6858000"/>
              <a:gd name="connsiteX50" fmla="*/ 403981 w 1825397"/>
              <a:gd name="connsiteY50" fmla="*/ 4335598 h 6858000"/>
              <a:gd name="connsiteX51" fmla="*/ 432734 w 1825397"/>
              <a:gd name="connsiteY51" fmla="*/ 4412145 h 6858000"/>
              <a:gd name="connsiteX52" fmla="*/ 462383 w 1825397"/>
              <a:gd name="connsiteY52" fmla="*/ 4488634 h 6858000"/>
              <a:gd name="connsiteX53" fmla="*/ 492921 w 1825397"/>
              <a:gd name="connsiteY53" fmla="*/ 4565059 h 6858000"/>
              <a:gd name="connsiteX54" fmla="*/ 524337 w 1825397"/>
              <a:gd name="connsiteY54" fmla="*/ 4641414 h 6858000"/>
              <a:gd name="connsiteX55" fmla="*/ 556622 w 1825397"/>
              <a:gd name="connsiteY55" fmla="*/ 4717690 h 6858000"/>
              <a:gd name="connsiteX56" fmla="*/ 589768 w 1825397"/>
              <a:gd name="connsiteY56" fmla="*/ 4793880 h 6858000"/>
              <a:gd name="connsiteX57" fmla="*/ 623765 w 1825397"/>
              <a:gd name="connsiteY57" fmla="*/ 4869979 h 6858000"/>
              <a:gd name="connsiteX58" fmla="*/ 658604 w 1825397"/>
              <a:gd name="connsiteY58" fmla="*/ 4945979 h 6858000"/>
              <a:gd name="connsiteX59" fmla="*/ 694277 w 1825397"/>
              <a:gd name="connsiteY59" fmla="*/ 5021872 h 6858000"/>
              <a:gd name="connsiteX60" fmla="*/ 730773 w 1825397"/>
              <a:gd name="connsiteY60" fmla="*/ 5097653 h 6858000"/>
              <a:gd name="connsiteX61" fmla="*/ 768084 w 1825397"/>
              <a:gd name="connsiteY61" fmla="*/ 5173313 h 6858000"/>
              <a:gd name="connsiteX62" fmla="*/ 806201 w 1825397"/>
              <a:gd name="connsiteY62" fmla="*/ 5248846 h 6858000"/>
              <a:gd name="connsiteX63" fmla="*/ 845114 w 1825397"/>
              <a:gd name="connsiteY63" fmla="*/ 5324245 h 6858000"/>
              <a:gd name="connsiteX64" fmla="*/ 884815 w 1825397"/>
              <a:gd name="connsiteY64" fmla="*/ 5399504 h 6858000"/>
              <a:gd name="connsiteX65" fmla="*/ 925294 w 1825397"/>
              <a:gd name="connsiteY65" fmla="*/ 5474614 h 6858000"/>
              <a:gd name="connsiteX66" fmla="*/ 966542 w 1825397"/>
              <a:gd name="connsiteY66" fmla="*/ 5549569 h 6858000"/>
              <a:gd name="connsiteX67" fmla="*/ 1008551 w 1825397"/>
              <a:gd name="connsiteY67" fmla="*/ 5624363 h 6858000"/>
              <a:gd name="connsiteX68" fmla="*/ 1051310 w 1825397"/>
              <a:gd name="connsiteY68" fmla="*/ 5698987 h 6858000"/>
              <a:gd name="connsiteX69" fmla="*/ 1094812 w 1825397"/>
              <a:gd name="connsiteY69" fmla="*/ 5773436 h 6858000"/>
              <a:gd name="connsiteX70" fmla="*/ 1139046 w 1825397"/>
              <a:gd name="connsiteY70" fmla="*/ 5847701 h 6858000"/>
              <a:gd name="connsiteX71" fmla="*/ 1184003 w 1825397"/>
              <a:gd name="connsiteY71" fmla="*/ 5921777 h 6858000"/>
              <a:gd name="connsiteX72" fmla="*/ 1229676 w 1825397"/>
              <a:gd name="connsiteY72" fmla="*/ 5995656 h 6858000"/>
              <a:gd name="connsiteX73" fmla="*/ 1276053 w 1825397"/>
              <a:gd name="connsiteY73" fmla="*/ 6069331 h 6858000"/>
              <a:gd name="connsiteX74" fmla="*/ 1323127 w 1825397"/>
              <a:gd name="connsiteY74" fmla="*/ 6142795 h 6858000"/>
              <a:gd name="connsiteX75" fmla="*/ 1370888 w 1825397"/>
              <a:gd name="connsiteY75" fmla="*/ 6216042 h 6858000"/>
              <a:gd name="connsiteX76" fmla="*/ 1419327 w 1825397"/>
              <a:gd name="connsiteY76" fmla="*/ 6289063 h 6858000"/>
              <a:gd name="connsiteX77" fmla="*/ 1468435 w 1825397"/>
              <a:gd name="connsiteY77" fmla="*/ 6361853 h 6858000"/>
              <a:gd name="connsiteX78" fmla="*/ 1518203 w 1825397"/>
              <a:gd name="connsiteY78" fmla="*/ 6434404 h 6858000"/>
              <a:gd name="connsiteX79" fmla="*/ 1568621 w 1825397"/>
              <a:gd name="connsiteY79" fmla="*/ 6506710 h 6858000"/>
              <a:gd name="connsiteX80" fmla="*/ 1619681 w 1825397"/>
              <a:gd name="connsiteY80" fmla="*/ 6578763 h 6858000"/>
              <a:gd name="connsiteX81" fmla="*/ 1671374 w 1825397"/>
              <a:gd name="connsiteY81" fmla="*/ 6650555 h 6858000"/>
              <a:gd name="connsiteX82" fmla="*/ 1723690 w 1825397"/>
              <a:gd name="connsiteY82" fmla="*/ 6722082 h 6858000"/>
              <a:gd name="connsiteX83" fmla="*/ 1776620 w 1825397"/>
              <a:gd name="connsiteY83" fmla="*/ 6793334 h 6858000"/>
              <a:gd name="connsiteX84" fmla="*/ 1825397 w 1825397"/>
              <a:gd name="connsiteY84"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402483 w 1825397"/>
              <a:gd name="connsiteY6" fmla="*/ 381075 h 6858000"/>
              <a:gd name="connsiteX7" fmla="*/ 127017 w 1825397"/>
              <a:gd name="connsiteY7" fmla="*/ 1161435 h 6858000"/>
              <a:gd name="connsiteX8" fmla="*/ 109867 w 1825397"/>
              <a:gd name="connsiteY8" fmla="*/ 1234080 h 6858000"/>
              <a:gd name="connsiteX9" fmla="*/ 93997 w 1825397"/>
              <a:gd name="connsiteY9" fmla="*/ 1306961 h 6858000"/>
              <a:gd name="connsiteX10" fmla="*/ 79397 w 1825397"/>
              <a:gd name="connsiteY10" fmla="*/ 1380071 h 6858000"/>
              <a:gd name="connsiteX11" fmla="*/ 66059 w 1825397"/>
              <a:gd name="connsiteY11" fmla="*/ 1453404 h 6858000"/>
              <a:gd name="connsiteX12" fmla="*/ 53973 w 1825397"/>
              <a:gd name="connsiteY12" fmla="*/ 1526951 h 6858000"/>
              <a:gd name="connsiteX13" fmla="*/ 43131 w 1825397"/>
              <a:gd name="connsiteY13" fmla="*/ 1600707 h 6858000"/>
              <a:gd name="connsiteX14" fmla="*/ 33523 w 1825397"/>
              <a:gd name="connsiteY14" fmla="*/ 1674663 h 6858000"/>
              <a:gd name="connsiteX15" fmla="*/ 25141 w 1825397"/>
              <a:gd name="connsiteY15" fmla="*/ 1748814 h 6858000"/>
              <a:gd name="connsiteX16" fmla="*/ 17974 w 1825397"/>
              <a:gd name="connsiteY16" fmla="*/ 1823152 h 6858000"/>
              <a:gd name="connsiteX17" fmla="*/ 12014 w 1825397"/>
              <a:gd name="connsiteY17" fmla="*/ 1897670 h 6858000"/>
              <a:gd name="connsiteX18" fmla="*/ 7252 w 1825397"/>
              <a:gd name="connsiteY18" fmla="*/ 1972362 h 6858000"/>
              <a:gd name="connsiteX19" fmla="*/ 3679 w 1825397"/>
              <a:gd name="connsiteY19" fmla="*/ 2047219 h 6858000"/>
              <a:gd name="connsiteX20" fmla="*/ 1285 w 1825397"/>
              <a:gd name="connsiteY20" fmla="*/ 2122236 h 6858000"/>
              <a:gd name="connsiteX21" fmla="*/ 62 w 1825397"/>
              <a:gd name="connsiteY21" fmla="*/ 2197405 h 6858000"/>
              <a:gd name="connsiteX22" fmla="*/ 0 w 1825397"/>
              <a:gd name="connsiteY22" fmla="*/ 2272719 h 6858000"/>
              <a:gd name="connsiteX23" fmla="*/ 1090 w 1825397"/>
              <a:gd name="connsiteY23" fmla="*/ 2348171 h 6858000"/>
              <a:gd name="connsiteX24" fmla="*/ 3323 w 1825397"/>
              <a:gd name="connsiteY24" fmla="*/ 2423755 h 6858000"/>
              <a:gd name="connsiteX25" fmla="*/ 6690 w 1825397"/>
              <a:gd name="connsiteY25" fmla="*/ 2499463 h 6858000"/>
              <a:gd name="connsiteX26" fmla="*/ 11182 w 1825397"/>
              <a:gd name="connsiteY26" fmla="*/ 2575289 h 6858000"/>
              <a:gd name="connsiteX27" fmla="*/ 16790 w 1825397"/>
              <a:gd name="connsiteY27" fmla="*/ 2651225 h 6858000"/>
              <a:gd name="connsiteX28" fmla="*/ 23504 w 1825397"/>
              <a:gd name="connsiteY28" fmla="*/ 2727264 h 6858000"/>
              <a:gd name="connsiteX29" fmla="*/ 31316 w 1825397"/>
              <a:gd name="connsiteY29" fmla="*/ 2803399 h 6858000"/>
              <a:gd name="connsiteX30" fmla="*/ 40216 w 1825397"/>
              <a:gd name="connsiteY30" fmla="*/ 2879624 h 6858000"/>
              <a:gd name="connsiteX31" fmla="*/ 50195 w 1825397"/>
              <a:gd name="connsiteY31" fmla="*/ 2955931 h 6858000"/>
              <a:gd name="connsiteX32" fmla="*/ 61245 w 1825397"/>
              <a:gd name="connsiteY32" fmla="*/ 3032314 h 6858000"/>
              <a:gd name="connsiteX33" fmla="*/ 73356 w 1825397"/>
              <a:gd name="connsiteY33" fmla="*/ 3108766 h 6858000"/>
              <a:gd name="connsiteX34" fmla="*/ 86518 w 1825397"/>
              <a:gd name="connsiteY34" fmla="*/ 3185278 h 6858000"/>
              <a:gd name="connsiteX35" fmla="*/ 100723 w 1825397"/>
              <a:gd name="connsiteY35" fmla="*/ 3261845 h 6858000"/>
              <a:gd name="connsiteX36" fmla="*/ 115962 w 1825397"/>
              <a:gd name="connsiteY36" fmla="*/ 3338460 h 6858000"/>
              <a:gd name="connsiteX37" fmla="*/ 132226 w 1825397"/>
              <a:gd name="connsiteY37" fmla="*/ 3415115 h 6858000"/>
              <a:gd name="connsiteX38" fmla="*/ 149504 w 1825397"/>
              <a:gd name="connsiteY38" fmla="*/ 3491804 h 6858000"/>
              <a:gd name="connsiteX39" fmla="*/ 167790 w 1825397"/>
              <a:gd name="connsiteY39" fmla="*/ 3568519 h 6858000"/>
              <a:gd name="connsiteX40" fmla="*/ 187072 w 1825397"/>
              <a:gd name="connsiteY40" fmla="*/ 3645254 h 6858000"/>
              <a:gd name="connsiteX41" fmla="*/ 207342 w 1825397"/>
              <a:gd name="connsiteY41" fmla="*/ 3722002 h 6858000"/>
              <a:gd name="connsiteX42" fmla="*/ 228592 w 1825397"/>
              <a:gd name="connsiteY42" fmla="*/ 3798755 h 6858000"/>
              <a:gd name="connsiteX43" fmla="*/ 250811 w 1825397"/>
              <a:gd name="connsiteY43" fmla="*/ 3875507 h 6858000"/>
              <a:gd name="connsiteX44" fmla="*/ 273991 w 1825397"/>
              <a:gd name="connsiteY44" fmla="*/ 3952250 h 6858000"/>
              <a:gd name="connsiteX45" fmla="*/ 298122 w 1825397"/>
              <a:gd name="connsiteY45" fmla="*/ 4028978 h 6858000"/>
              <a:gd name="connsiteX46" fmla="*/ 323196 w 1825397"/>
              <a:gd name="connsiteY46" fmla="*/ 4105684 h 6858000"/>
              <a:gd name="connsiteX47" fmla="*/ 349203 w 1825397"/>
              <a:gd name="connsiteY47" fmla="*/ 4182361 h 6858000"/>
              <a:gd name="connsiteX48" fmla="*/ 376135 w 1825397"/>
              <a:gd name="connsiteY48" fmla="*/ 4259001 h 6858000"/>
              <a:gd name="connsiteX49" fmla="*/ 403981 w 1825397"/>
              <a:gd name="connsiteY49" fmla="*/ 4335598 h 6858000"/>
              <a:gd name="connsiteX50" fmla="*/ 432734 w 1825397"/>
              <a:gd name="connsiteY50" fmla="*/ 4412145 h 6858000"/>
              <a:gd name="connsiteX51" fmla="*/ 462383 w 1825397"/>
              <a:gd name="connsiteY51" fmla="*/ 4488634 h 6858000"/>
              <a:gd name="connsiteX52" fmla="*/ 492921 w 1825397"/>
              <a:gd name="connsiteY52" fmla="*/ 4565059 h 6858000"/>
              <a:gd name="connsiteX53" fmla="*/ 524337 w 1825397"/>
              <a:gd name="connsiteY53" fmla="*/ 4641414 h 6858000"/>
              <a:gd name="connsiteX54" fmla="*/ 556622 w 1825397"/>
              <a:gd name="connsiteY54" fmla="*/ 4717690 h 6858000"/>
              <a:gd name="connsiteX55" fmla="*/ 589768 w 1825397"/>
              <a:gd name="connsiteY55" fmla="*/ 4793880 h 6858000"/>
              <a:gd name="connsiteX56" fmla="*/ 623765 w 1825397"/>
              <a:gd name="connsiteY56" fmla="*/ 4869979 h 6858000"/>
              <a:gd name="connsiteX57" fmla="*/ 658604 w 1825397"/>
              <a:gd name="connsiteY57" fmla="*/ 4945979 h 6858000"/>
              <a:gd name="connsiteX58" fmla="*/ 694277 w 1825397"/>
              <a:gd name="connsiteY58" fmla="*/ 5021872 h 6858000"/>
              <a:gd name="connsiteX59" fmla="*/ 730773 w 1825397"/>
              <a:gd name="connsiteY59" fmla="*/ 5097653 h 6858000"/>
              <a:gd name="connsiteX60" fmla="*/ 768084 w 1825397"/>
              <a:gd name="connsiteY60" fmla="*/ 5173313 h 6858000"/>
              <a:gd name="connsiteX61" fmla="*/ 806201 w 1825397"/>
              <a:gd name="connsiteY61" fmla="*/ 5248846 h 6858000"/>
              <a:gd name="connsiteX62" fmla="*/ 845114 w 1825397"/>
              <a:gd name="connsiteY62" fmla="*/ 5324245 h 6858000"/>
              <a:gd name="connsiteX63" fmla="*/ 884815 w 1825397"/>
              <a:gd name="connsiteY63" fmla="*/ 5399504 h 6858000"/>
              <a:gd name="connsiteX64" fmla="*/ 925294 w 1825397"/>
              <a:gd name="connsiteY64" fmla="*/ 5474614 h 6858000"/>
              <a:gd name="connsiteX65" fmla="*/ 966542 w 1825397"/>
              <a:gd name="connsiteY65" fmla="*/ 5549569 h 6858000"/>
              <a:gd name="connsiteX66" fmla="*/ 1008551 w 1825397"/>
              <a:gd name="connsiteY66" fmla="*/ 5624363 h 6858000"/>
              <a:gd name="connsiteX67" fmla="*/ 1051310 w 1825397"/>
              <a:gd name="connsiteY67" fmla="*/ 5698987 h 6858000"/>
              <a:gd name="connsiteX68" fmla="*/ 1094812 w 1825397"/>
              <a:gd name="connsiteY68" fmla="*/ 5773436 h 6858000"/>
              <a:gd name="connsiteX69" fmla="*/ 1139046 w 1825397"/>
              <a:gd name="connsiteY69" fmla="*/ 5847701 h 6858000"/>
              <a:gd name="connsiteX70" fmla="*/ 1184003 w 1825397"/>
              <a:gd name="connsiteY70" fmla="*/ 5921777 h 6858000"/>
              <a:gd name="connsiteX71" fmla="*/ 1229676 w 1825397"/>
              <a:gd name="connsiteY71" fmla="*/ 5995656 h 6858000"/>
              <a:gd name="connsiteX72" fmla="*/ 1276053 w 1825397"/>
              <a:gd name="connsiteY72" fmla="*/ 6069331 h 6858000"/>
              <a:gd name="connsiteX73" fmla="*/ 1323127 w 1825397"/>
              <a:gd name="connsiteY73" fmla="*/ 6142795 h 6858000"/>
              <a:gd name="connsiteX74" fmla="*/ 1370888 w 1825397"/>
              <a:gd name="connsiteY74" fmla="*/ 6216042 h 6858000"/>
              <a:gd name="connsiteX75" fmla="*/ 1419327 w 1825397"/>
              <a:gd name="connsiteY75" fmla="*/ 6289063 h 6858000"/>
              <a:gd name="connsiteX76" fmla="*/ 1468435 w 1825397"/>
              <a:gd name="connsiteY76" fmla="*/ 6361853 h 6858000"/>
              <a:gd name="connsiteX77" fmla="*/ 1518203 w 1825397"/>
              <a:gd name="connsiteY77" fmla="*/ 6434404 h 6858000"/>
              <a:gd name="connsiteX78" fmla="*/ 1568621 w 1825397"/>
              <a:gd name="connsiteY78" fmla="*/ 6506710 h 6858000"/>
              <a:gd name="connsiteX79" fmla="*/ 1619681 w 1825397"/>
              <a:gd name="connsiteY79" fmla="*/ 6578763 h 6858000"/>
              <a:gd name="connsiteX80" fmla="*/ 1671374 w 1825397"/>
              <a:gd name="connsiteY80" fmla="*/ 6650555 h 6858000"/>
              <a:gd name="connsiteX81" fmla="*/ 1723690 w 1825397"/>
              <a:gd name="connsiteY81" fmla="*/ 6722082 h 6858000"/>
              <a:gd name="connsiteX82" fmla="*/ 1776620 w 1825397"/>
              <a:gd name="connsiteY82" fmla="*/ 6793334 h 6858000"/>
              <a:gd name="connsiteX83" fmla="*/ 1825397 w 1825397"/>
              <a:gd name="connsiteY83"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435463 w 1825397"/>
              <a:gd name="connsiteY5" fmla="*/ 312443 h 6858000"/>
              <a:gd name="connsiteX6" fmla="*/ 127017 w 1825397"/>
              <a:gd name="connsiteY6" fmla="*/ 1161435 h 6858000"/>
              <a:gd name="connsiteX7" fmla="*/ 109867 w 1825397"/>
              <a:gd name="connsiteY7" fmla="*/ 1234080 h 6858000"/>
              <a:gd name="connsiteX8" fmla="*/ 93997 w 1825397"/>
              <a:gd name="connsiteY8" fmla="*/ 1306961 h 6858000"/>
              <a:gd name="connsiteX9" fmla="*/ 79397 w 1825397"/>
              <a:gd name="connsiteY9" fmla="*/ 1380071 h 6858000"/>
              <a:gd name="connsiteX10" fmla="*/ 66059 w 1825397"/>
              <a:gd name="connsiteY10" fmla="*/ 1453404 h 6858000"/>
              <a:gd name="connsiteX11" fmla="*/ 53973 w 1825397"/>
              <a:gd name="connsiteY11" fmla="*/ 1526951 h 6858000"/>
              <a:gd name="connsiteX12" fmla="*/ 43131 w 1825397"/>
              <a:gd name="connsiteY12" fmla="*/ 1600707 h 6858000"/>
              <a:gd name="connsiteX13" fmla="*/ 33523 w 1825397"/>
              <a:gd name="connsiteY13" fmla="*/ 1674663 h 6858000"/>
              <a:gd name="connsiteX14" fmla="*/ 25141 w 1825397"/>
              <a:gd name="connsiteY14" fmla="*/ 1748814 h 6858000"/>
              <a:gd name="connsiteX15" fmla="*/ 17974 w 1825397"/>
              <a:gd name="connsiteY15" fmla="*/ 1823152 h 6858000"/>
              <a:gd name="connsiteX16" fmla="*/ 12014 w 1825397"/>
              <a:gd name="connsiteY16" fmla="*/ 1897670 h 6858000"/>
              <a:gd name="connsiteX17" fmla="*/ 7252 w 1825397"/>
              <a:gd name="connsiteY17" fmla="*/ 1972362 h 6858000"/>
              <a:gd name="connsiteX18" fmla="*/ 3679 w 1825397"/>
              <a:gd name="connsiteY18" fmla="*/ 2047219 h 6858000"/>
              <a:gd name="connsiteX19" fmla="*/ 1285 w 1825397"/>
              <a:gd name="connsiteY19" fmla="*/ 2122236 h 6858000"/>
              <a:gd name="connsiteX20" fmla="*/ 62 w 1825397"/>
              <a:gd name="connsiteY20" fmla="*/ 2197405 h 6858000"/>
              <a:gd name="connsiteX21" fmla="*/ 0 w 1825397"/>
              <a:gd name="connsiteY21" fmla="*/ 2272719 h 6858000"/>
              <a:gd name="connsiteX22" fmla="*/ 1090 w 1825397"/>
              <a:gd name="connsiteY22" fmla="*/ 2348171 h 6858000"/>
              <a:gd name="connsiteX23" fmla="*/ 3323 w 1825397"/>
              <a:gd name="connsiteY23" fmla="*/ 2423755 h 6858000"/>
              <a:gd name="connsiteX24" fmla="*/ 6690 w 1825397"/>
              <a:gd name="connsiteY24" fmla="*/ 2499463 h 6858000"/>
              <a:gd name="connsiteX25" fmla="*/ 11182 w 1825397"/>
              <a:gd name="connsiteY25" fmla="*/ 2575289 h 6858000"/>
              <a:gd name="connsiteX26" fmla="*/ 16790 w 1825397"/>
              <a:gd name="connsiteY26" fmla="*/ 2651225 h 6858000"/>
              <a:gd name="connsiteX27" fmla="*/ 23504 w 1825397"/>
              <a:gd name="connsiteY27" fmla="*/ 2727264 h 6858000"/>
              <a:gd name="connsiteX28" fmla="*/ 31316 w 1825397"/>
              <a:gd name="connsiteY28" fmla="*/ 2803399 h 6858000"/>
              <a:gd name="connsiteX29" fmla="*/ 40216 w 1825397"/>
              <a:gd name="connsiteY29" fmla="*/ 2879624 h 6858000"/>
              <a:gd name="connsiteX30" fmla="*/ 50195 w 1825397"/>
              <a:gd name="connsiteY30" fmla="*/ 2955931 h 6858000"/>
              <a:gd name="connsiteX31" fmla="*/ 61245 w 1825397"/>
              <a:gd name="connsiteY31" fmla="*/ 3032314 h 6858000"/>
              <a:gd name="connsiteX32" fmla="*/ 73356 w 1825397"/>
              <a:gd name="connsiteY32" fmla="*/ 3108766 h 6858000"/>
              <a:gd name="connsiteX33" fmla="*/ 86518 w 1825397"/>
              <a:gd name="connsiteY33" fmla="*/ 3185278 h 6858000"/>
              <a:gd name="connsiteX34" fmla="*/ 100723 w 1825397"/>
              <a:gd name="connsiteY34" fmla="*/ 3261845 h 6858000"/>
              <a:gd name="connsiteX35" fmla="*/ 115962 w 1825397"/>
              <a:gd name="connsiteY35" fmla="*/ 3338460 h 6858000"/>
              <a:gd name="connsiteX36" fmla="*/ 132226 w 1825397"/>
              <a:gd name="connsiteY36" fmla="*/ 3415115 h 6858000"/>
              <a:gd name="connsiteX37" fmla="*/ 149504 w 1825397"/>
              <a:gd name="connsiteY37" fmla="*/ 3491804 h 6858000"/>
              <a:gd name="connsiteX38" fmla="*/ 167790 w 1825397"/>
              <a:gd name="connsiteY38" fmla="*/ 3568519 h 6858000"/>
              <a:gd name="connsiteX39" fmla="*/ 187072 w 1825397"/>
              <a:gd name="connsiteY39" fmla="*/ 3645254 h 6858000"/>
              <a:gd name="connsiteX40" fmla="*/ 207342 w 1825397"/>
              <a:gd name="connsiteY40" fmla="*/ 3722002 h 6858000"/>
              <a:gd name="connsiteX41" fmla="*/ 228592 w 1825397"/>
              <a:gd name="connsiteY41" fmla="*/ 3798755 h 6858000"/>
              <a:gd name="connsiteX42" fmla="*/ 250811 w 1825397"/>
              <a:gd name="connsiteY42" fmla="*/ 3875507 h 6858000"/>
              <a:gd name="connsiteX43" fmla="*/ 273991 w 1825397"/>
              <a:gd name="connsiteY43" fmla="*/ 3952250 h 6858000"/>
              <a:gd name="connsiteX44" fmla="*/ 298122 w 1825397"/>
              <a:gd name="connsiteY44" fmla="*/ 4028978 h 6858000"/>
              <a:gd name="connsiteX45" fmla="*/ 323196 w 1825397"/>
              <a:gd name="connsiteY45" fmla="*/ 4105684 h 6858000"/>
              <a:gd name="connsiteX46" fmla="*/ 349203 w 1825397"/>
              <a:gd name="connsiteY46" fmla="*/ 4182361 h 6858000"/>
              <a:gd name="connsiteX47" fmla="*/ 376135 w 1825397"/>
              <a:gd name="connsiteY47" fmla="*/ 4259001 h 6858000"/>
              <a:gd name="connsiteX48" fmla="*/ 403981 w 1825397"/>
              <a:gd name="connsiteY48" fmla="*/ 4335598 h 6858000"/>
              <a:gd name="connsiteX49" fmla="*/ 432734 w 1825397"/>
              <a:gd name="connsiteY49" fmla="*/ 4412145 h 6858000"/>
              <a:gd name="connsiteX50" fmla="*/ 462383 w 1825397"/>
              <a:gd name="connsiteY50" fmla="*/ 4488634 h 6858000"/>
              <a:gd name="connsiteX51" fmla="*/ 492921 w 1825397"/>
              <a:gd name="connsiteY51" fmla="*/ 4565059 h 6858000"/>
              <a:gd name="connsiteX52" fmla="*/ 524337 w 1825397"/>
              <a:gd name="connsiteY52" fmla="*/ 4641414 h 6858000"/>
              <a:gd name="connsiteX53" fmla="*/ 556622 w 1825397"/>
              <a:gd name="connsiteY53" fmla="*/ 4717690 h 6858000"/>
              <a:gd name="connsiteX54" fmla="*/ 589768 w 1825397"/>
              <a:gd name="connsiteY54" fmla="*/ 4793880 h 6858000"/>
              <a:gd name="connsiteX55" fmla="*/ 623765 w 1825397"/>
              <a:gd name="connsiteY55" fmla="*/ 4869979 h 6858000"/>
              <a:gd name="connsiteX56" fmla="*/ 658604 w 1825397"/>
              <a:gd name="connsiteY56" fmla="*/ 4945979 h 6858000"/>
              <a:gd name="connsiteX57" fmla="*/ 694277 w 1825397"/>
              <a:gd name="connsiteY57" fmla="*/ 5021872 h 6858000"/>
              <a:gd name="connsiteX58" fmla="*/ 730773 w 1825397"/>
              <a:gd name="connsiteY58" fmla="*/ 5097653 h 6858000"/>
              <a:gd name="connsiteX59" fmla="*/ 768084 w 1825397"/>
              <a:gd name="connsiteY59" fmla="*/ 5173313 h 6858000"/>
              <a:gd name="connsiteX60" fmla="*/ 806201 w 1825397"/>
              <a:gd name="connsiteY60" fmla="*/ 5248846 h 6858000"/>
              <a:gd name="connsiteX61" fmla="*/ 845114 w 1825397"/>
              <a:gd name="connsiteY61" fmla="*/ 5324245 h 6858000"/>
              <a:gd name="connsiteX62" fmla="*/ 884815 w 1825397"/>
              <a:gd name="connsiteY62" fmla="*/ 5399504 h 6858000"/>
              <a:gd name="connsiteX63" fmla="*/ 925294 w 1825397"/>
              <a:gd name="connsiteY63" fmla="*/ 5474614 h 6858000"/>
              <a:gd name="connsiteX64" fmla="*/ 966542 w 1825397"/>
              <a:gd name="connsiteY64" fmla="*/ 5549569 h 6858000"/>
              <a:gd name="connsiteX65" fmla="*/ 1008551 w 1825397"/>
              <a:gd name="connsiteY65" fmla="*/ 5624363 h 6858000"/>
              <a:gd name="connsiteX66" fmla="*/ 1051310 w 1825397"/>
              <a:gd name="connsiteY66" fmla="*/ 5698987 h 6858000"/>
              <a:gd name="connsiteX67" fmla="*/ 1094812 w 1825397"/>
              <a:gd name="connsiteY67" fmla="*/ 5773436 h 6858000"/>
              <a:gd name="connsiteX68" fmla="*/ 1139046 w 1825397"/>
              <a:gd name="connsiteY68" fmla="*/ 5847701 h 6858000"/>
              <a:gd name="connsiteX69" fmla="*/ 1184003 w 1825397"/>
              <a:gd name="connsiteY69" fmla="*/ 5921777 h 6858000"/>
              <a:gd name="connsiteX70" fmla="*/ 1229676 w 1825397"/>
              <a:gd name="connsiteY70" fmla="*/ 5995656 h 6858000"/>
              <a:gd name="connsiteX71" fmla="*/ 1276053 w 1825397"/>
              <a:gd name="connsiteY71" fmla="*/ 6069331 h 6858000"/>
              <a:gd name="connsiteX72" fmla="*/ 1323127 w 1825397"/>
              <a:gd name="connsiteY72" fmla="*/ 6142795 h 6858000"/>
              <a:gd name="connsiteX73" fmla="*/ 1370888 w 1825397"/>
              <a:gd name="connsiteY73" fmla="*/ 6216042 h 6858000"/>
              <a:gd name="connsiteX74" fmla="*/ 1419327 w 1825397"/>
              <a:gd name="connsiteY74" fmla="*/ 6289063 h 6858000"/>
              <a:gd name="connsiteX75" fmla="*/ 1468435 w 1825397"/>
              <a:gd name="connsiteY75" fmla="*/ 6361853 h 6858000"/>
              <a:gd name="connsiteX76" fmla="*/ 1518203 w 1825397"/>
              <a:gd name="connsiteY76" fmla="*/ 6434404 h 6858000"/>
              <a:gd name="connsiteX77" fmla="*/ 1568621 w 1825397"/>
              <a:gd name="connsiteY77" fmla="*/ 6506710 h 6858000"/>
              <a:gd name="connsiteX78" fmla="*/ 1619681 w 1825397"/>
              <a:gd name="connsiteY78" fmla="*/ 6578763 h 6858000"/>
              <a:gd name="connsiteX79" fmla="*/ 1671374 w 1825397"/>
              <a:gd name="connsiteY79" fmla="*/ 6650555 h 6858000"/>
              <a:gd name="connsiteX80" fmla="*/ 1723690 w 1825397"/>
              <a:gd name="connsiteY80" fmla="*/ 6722082 h 6858000"/>
              <a:gd name="connsiteX81" fmla="*/ 1776620 w 1825397"/>
              <a:gd name="connsiteY81" fmla="*/ 6793334 h 6858000"/>
              <a:gd name="connsiteX82" fmla="*/ 1825397 w 1825397"/>
              <a:gd name="connsiteY82"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469727 w 1825397"/>
              <a:gd name="connsiteY4" fmla="*/ 244266 h 6858000"/>
              <a:gd name="connsiteX5" fmla="*/ 127017 w 1825397"/>
              <a:gd name="connsiteY5" fmla="*/ 1161435 h 6858000"/>
              <a:gd name="connsiteX6" fmla="*/ 109867 w 1825397"/>
              <a:gd name="connsiteY6" fmla="*/ 1234080 h 6858000"/>
              <a:gd name="connsiteX7" fmla="*/ 93997 w 1825397"/>
              <a:gd name="connsiteY7" fmla="*/ 1306961 h 6858000"/>
              <a:gd name="connsiteX8" fmla="*/ 79397 w 1825397"/>
              <a:gd name="connsiteY8" fmla="*/ 1380071 h 6858000"/>
              <a:gd name="connsiteX9" fmla="*/ 66059 w 1825397"/>
              <a:gd name="connsiteY9" fmla="*/ 1453404 h 6858000"/>
              <a:gd name="connsiteX10" fmla="*/ 53973 w 1825397"/>
              <a:gd name="connsiteY10" fmla="*/ 1526951 h 6858000"/>
              <a:gd name="connsiteX11" fmla="*/ 43131 w 1825397"/>
              <a:gd name="connsiteY11" fmla="*/ 1600707 h 6858000"/>
              <a:gd name="connsiteX12" fmla="*/ 33523 w 1825397"/>
              <a:gd name="connsiteY12" fmla="*/ 1674663 h 6858000"/>
              <a:gd name="connsiteX13" fmla="*/ 25141 w 1825397"/>
              <a:gd name="connsiteY13" fmla="*/ 1748814 h 6858000"/>
              <a:gd name="connsiteX14" fmla="*/ 17974 w 1825397"/>
              <a:gd name="connsiteY14" fmla="*/ 1823152 h 6858000"/>
              <a:gd name="connsiteX15" fmla="*/ 12014 w 1825397"/>
              <a:gd name="connsiteY15" fmla="*/ 1897670 h 6858000"/>
              <a:gd name="connsiteX16" fmla="*/ 7252 w 1825397"/>
              <a:gd name="connsiteY16" fmla="*/ 1972362 h 6858000"/>
              <a:gd name="connsiteX17" fmla="*/ 3679 w 1825397"/>
              <a:gd name="connsiteY17" fmla="*/ 2047219 h 6858000"/>
              <a:gd name="connsiteX18" fmla="*/ 1285 w 1825397"/>
              <a:gd name="connsiteY18" fmla="*/ 2122236 h 6858000"/>
              <a:gd name="connsiteX19" fmla="*/ 62 w 1825397"/>
              <a:gd name="connsiteY19" fmla="*/ 2197405 h 6858000"/>
              <a:gd name="connsiteX20" fmla="*/ 0 w 1825397"/>
              <a:gd name="connsiteY20" fmla="*/ 2272719 h 6858000"/>
              <a:gd name="connsiteX21" fmla="*/ 1090 w 1825397"/>
              <a:gd name="connsiteY21" fmla="*/ 2348171 h 6858000"/>
              <a:gd name="connsiteX22" fmla="*/ 3323 w 1825397"/>
              <a:gd name="connsiteY22" fmla="*/ 2423755 h 6858000"/>
              <a:gd name="connsiteX23" fmla="*/ 6690 w 1825397"/>
              <a:gd name="connsiteY23" fmla="*/ 2499463 h 6858000"/>
              <a:gd name="connsiteX24" fmla="*/ 11182 w 1825397"/>
              <a:gd name="connsiteY24" fmla="*/ 2575289 h 6858000"/>
              <a:gd name="connsiteX25" fmla="*/ 16790 w 1825397"/>
              <a:gd name="connsiteY25" fmla="*/ 2651225 h 6858000"/>
              <a:gd name="connsiteX26" fmla="*/ 23504 w 1825397"/>
              <a:gd name="connsiteY26" fmla="*/ 2727264 h 6858000"/>
              <a:gd name="connsiteX27" fmla="*/ 31316 w 1825397"/>
              <a:gd name="connsiteY27" fmla="*/ 2803399 h 6858000"/>
              <a:gd name="connsiteX28" fmla="*/ 40216 w 1825397"/>
              <a:gd name="connsiteY28" fmla="*/ 2879624 h 6858000"/>
              <a:gd name="connsiteX29" fmla="*/ 50195 w 1825397"/>
              <a:gd name="connsiteY29" fmla="*/ 2955931 h 6858000"/>
              <a:gd name="connsiteX30" fmla="*/ 61245 w 1825397"/>
              <a:gd name="connsiteY30" fmla="*/ 3032314 h 6858000"/>
              <a:gd name="connsiteX31" fmla="*/ 73356 w 1825397"/>
              <a:gd name="connsiteY31" fmla="*/ 3108766 h 6858000"/>
              <a:gd name="connsiteX32" fmla="*/ 86518 w 1825397"/>
              <a:gd name="connsiteY32" fmla="*/ 3185278 h 6858000"/>
              <a:gd name="connsiteX33" fmla="*/ 100723 w 1825397"/>
              <a:gd name="connsiteY33" fmla="*/ 3261845 h 6858000"/>
              <a:gd name="connsiteX34" fmla="*/ 115962 w 1825397"/>
              <a:gd name="connsiteY34" fmla="*/ 3338460 h 6858000"/>
              <a:gd name="connsiteX35" fmla="*/ 132226 w 1825397"/>
              <a:gd name="connsiteY35" fmla="*/ 3415115 h 6858000"/>
              <a:gd name="connsiteX36" fmla="*/ 149504 w 1825397"/>
              <a:gd name="connsiteY36" fmla="*/ 3491804 h 6858000"/>
              <a:gd name="connsiteX37" fmla="*/ 167790 w 1825397"/>
              <a:gd name="connsiteY37" fmla="*/ 3568519 h 6858000"/>
              <a:gd name="connsiteX38" fmla="*/ 187072 w 1825397"/>
              <a:gd name="connsiteY38" fmla="*/ 3645254 h 6858000"/>
              <a:gd name="connsiteX39" fmla="*/ 207342 w 1825397"/>
              <a:gd name="connsiteY39" fmla="*/ 3722002 h 6858000"/>
              <a:gd name="connsiteX40" fmla="*/ 228592 w 1825397"/>
              <a:gd name="connsiteY40" fmla="*/ 3798755 h 6858000"/>
              <a:gd name="connsiteX41" fmla="*/ 250811 w 1825397"/>
              <a:gd name="connsiteY41" fmla="*/ 3875507 h 6858000"/>
              <a:gd name="connsiteX42" fmla="*/ 273991 w 1825397"/>
              <a:gd name="connsiteY42" fmla="*/ 3952250 h 6858000"/>
              <a:gd name="connsiteX43" fmla="*/ 298122 w 1825397"/>
              <a:gd name="connsiteY43" fmla="*/ 4028978 h 6858000"/>
              <a:gd name="connsiteX44" fmla="*/ 323196 w 1825397"/>
              <a:gd name="connsiteY44" fmla="*/ 4105684 h 6858000"/>
              <a:gd name="connsiteX45" fmla="*/ 349203 w 1825397"/>
              <a:gd name="connsiteY45" fmla="*/ 4182361 h 6858000"/>
              <a:gd name="connsiteX46" fmla="*/ 376135 w 1825397"/>
              <a:gd name="connsiteY46" fmla="*/ 4259001 h 6858000"/>
              <a:gd name="connsiteX47" fmla="*/ 403981 w 1825397"/>
              <a:gd name="connsiteY47" fmla="*/ 4335598 h 6858000"/>
              <a:gd name="connsiteX48" fmla="*/ 432734 w 1825397"/>
              <a:gd name="connsiteY48" fmla="*/ 4412145 h 6858000"/>
              <a:gd name="connsiteX49" fmla="*/ 462383 w 1825397"/>
              <a:gd name="connsiteY49" fmla="*/ 4488634 h 6858000"/>
              <a:gd name="connsiteX50" fmla="*/ 492921 w 1825397"/>
              <a:gd name="connsiteY50" fmla="*/ 4565059 h 6858000"/>
              <a:gd name="connsiteX51" fmla="*/ 524337 w 1825397"/>
              <a:gd name="connsiteY51" fmla="*/ 4641414 h 6858000"/>
              <a:gd name="connsiteX52" fmla="*/ 556622 w 1825397"/>
              <a:gd name="connsiteY52" fmla="*/ 4717690 h 6858000"/>
              <a:gd name="connsiteX53" fmla="*/ 589768 w 1825397"/>
              <a:gd name="connsiteY53" fmla="*/ 4793880 h 6858000"/>
              <a:gd name="connsiteX54" fmla="*/ 623765 w 1825397"/>
              <a:gd name="connsiteY54" fmla="*/ 4869979 h 6858000"/>
              <a:gd name="connsiteX55" fmla="*/ 658604 w 1825397"/>
              <a:gd name="connsiteY55" fmla="*/ 4945979 h 6858000"/>
              <a:gd name="connsiteX56" fmla="*/ 694277 w 1825397"/>
              <a:gd name="connsiteY56" fmla="*/ 5021872 h 6858000"/>
              <a:gd name="connsiteX57" fmla="*/ 730773 w 1825397"/>
              <a:gd name="connsiteY57" fmla="*/ 5097653 h 6858000"/>
              <a:gd name="connsiteX58" fmla="*/ 768084 w 1825397"/>
              <a:gd name="connsiteY58" fmla="*/ 5173313 h 6858000"/>
              <a:gd name="connsiteX59" fmla="*/ 806201 w 1825397"/>
              <a:gd name="connsiteY59" fmla="*/ 5248846 h 6858000"/>
              <a:gd name="connsiteX60" fmla="*/ 845114 w 1825397"/>
              <a:gd name="connsiteY60" fmla="*/ 5324245 h 6858000"/>
              <a:gd name="connsiteX61" fmla="*/ 884815 w 1825397"/>
              <a:gd name="connsiteY61" fmla="*/ 5399504 h 6858000"/>
              <a:gd name="connsiteX62" fmla="*/ 925294 w 1825397"/>
              <a:gd name="connsiteY62" fmla="*/ 5474614 h 6858000"/>
              <a:gd name="connsiteX63" fmla="*/ 966542 w 1825397"/>
              <a:gd name="connsiteY63" fmla="*/ 5549569 h 6858000"/>
              <a:gd name="connsiteX64" fmla="*/ 1008551 w 1825397"/>
              <a:gd name="connsiteY64" fmla="*/ 5624363 h 6858000"/>
              <a:gd name="connsiteX65" fmla="*/ 1051310 w 1825397"/>
              <a:gd name="connsiteY65" fmla="*/ 5698987 h 6858000"/>
              <a:gd name="connsiteX66" fmla="*/ 1094812 w 1825397"/>
              <a:gd name="connsiteY66" fmla="*/ 5773436 h 6858000"/>
              <a:gd name="connsiteX67" fmla="*/ 1139046 w 1825397"/>
              <a:gd name="connsiteY67" fmla="*/ 5847701 h 6858000"/>
              <a:gd name="connsiteX68" fmla="*/ 1184003 w 1825397"/>
              <a:gd name="connsiteY68" fmla="*/ 5921777 h 6858000"/>
              <a:gd name="connsiteX69" fmla="*/ 1229676 w 1825397"/>
              <a:gd name="connsiteY69" fmla="*/ 5995656 h 6858000"/>
              <a:gd name="connsiteX70" fmla="*/ 1276053 w 1825397"/>
              <a:gd name="connsiteY70" fmla="*/ 6069331 h 6858000"/>
              <a:gd name="connsiteX71" fmla="*/ 1323127 w 1825397"/>
              <a:gd name="connsiteY71" fmla="*/ 6142795 h 6858000"/>
              <a:gd name="connsiteX72" fmla="*/ 1370888 w 1825397"/>
              <a:gd name="connsiteY72" fmla="*/ 6216042 h 6858000"/>
              <a:gd name="connsiteX73" fmla="*/ 1419327 w 1825397"/>
              <a:gd name="connsiteY73" fmla="*/ 6289063 h 6858000"/>
              <a:gd name="connsiteX74" fmla="*/ 1468435 w 1825397"/>
              <a:gd name="connsiteY74" fmla="*/ 6361853 h 6858000"/>
              <a:gd name="connsiteX75" fmla="*/ 1518203 w 1825397"/>
              <a:gd name="connsiteY75" fmla="*/ 6434404 h 6858000"/>
              <a:gd name="connsiteX76" fmla="*/ 1568621 w 1825397"/>
              <a:gd name="connsiteY76" fmla="*/ 6506710 h 6858000"/>
              <a:gd name="connsiteX77" fmla="*/ 1619681 w 1825397"/>
              <a:gd name="connsiteY77" fmla="*/ 6578763 h 6858000"/>
              <a:gd name="connsiteX78" fmla="*/ 1671374 w 1825397"/>
              <a:gd name="connsiteY78" fmla="*/ 6650555 h 6858000"/>
              <a:gd name="connsiteX79" fmla="*/ 1723690 w 1825397"/>
              <a:gd name="connsiteY79" fmla="*/ 6722082 h 6858000"/>
              <a:gd name="connsiteX80" fmla="*/ 1776620 w 1825397"/>
              <a:gd name="connsiteY80" fmla="*/ 6793334 h 6858000"/>
              <a:gd name="connsiteX81" fmla="*/ 1825397 w 1825397"/>
              <a:gd name="connsiteY81"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505263 w 1825397"/>
              <a:gd name="connsiteY3" fmla="*/ 176548 h 6858000"/>
              <a:gd name="connsiteX4" fmla="*/ 127017 w 1825397"/>
              <a:gd name="connsiteY4" fmla="*/ 1161435 h 6858000"/>
              <a:gd name="connsiteX5" fmla="*/ 109867 w 1825397"/>
              <a:gd name="connsiteY5" fmla="*/ 1234080 h 6858000"/>
              <a:gd name="connsiteX6" fmla="*/ 93997 w 1825397"/>
              <a:gd name="connsiteY6" fmla="*/ 1306961 h 6858000"/>
              <a:gd name="connsiteX7" fmla="*/ 79397 w 1825397"/>
              <a:gd name="connsiteY7" fmla="*/ 1380071 h 6858000"/>
              <a:gd name="connsiteX8" fmla="*/ 66059 w 1825397"/>
              <a:gd name="connsiteY8" fmla="*/ 1453404 h 6858000"/>
              <a:gd name="connsiteX9" fmla="*/ 53973 w 1825397"/>
              <a:gd name="connsiteY9" fmla="*/ 1526951 h 6858000"/>
              <a:gd name="connsiteX10" fmla="*/ 43131 w 1825397"/>
              <a:gd name="connsiteY10" fmla="*/ 1600707 h 6858000"/>
              <a:gd name="connsiteX11" fmla="*/ 33523 w 1825397"/>
              <a:gd name="connsiteY11" fmla="*/ 1674663 h 6858000"/>
              <a:gd name="connsiteX12" fmla="*/ 25141 w 1825397"/>
              <a:gd name="connsiteY12" fmla="*/ 1748814 h 6858000"/>
              <a:gd name="connsiteX13" fmla="*/ 17974 w 1825397"/>
              <a:gd name="connsiteY13" fmla="*/ 1823152 h 6858000"/>
              <a:gd name="connsiteX14" fmla="*/ 12014 w 1825397"/>
              <a:gd name="connsiteY14" fmla="*/ 1897670 h 6858000"/>
              <a:gd name="connsiteX15" fmla="*/ 7252 w 1825397"/>
              <a:gd name="connsiteY15" fmla="*/ 1972362 h 6858000"/>
              <a:gd name="connsiteX16" fmla="*/ 3679 w 1825397"/>
              <a:gd name="connsiteY16" fmla="*/ 2047219 h 6858000"/>
              <a:gd name="connsiteX17" fmla="*/ 1285 w 1825397"/>
              <a:gd name="connsiteY17" fmla="*/ 2122236 h 6858000"/>
              <a:gd name="connsiteX18" fmla="*/ 62 w 1825397"/>
              <a:gd name="connsiteY18" fmla="*/ 2197405 h 6858000"/>
              <a:gd name="connsiteX19" fmla="*/ 0 w 1825397"/>
              <a:gd name="connsiteY19" fmla="*/ 2272719 h 6858000"/>
              <a:gd name="connsiteX20" fmla="*/ 1090 w 1825397"/>
              <a:gd name="connsiteY20" fmla="*/ 2348171 h 6858000"/>
              <a:gd name="connsiteX21" fmla="*/ 3323 w 1825397"/>
              <a:gd name="connsiteY21" fmla="*/ 2423755 h 6858000"/>
              <a:gd name="connsiteX22" fmla="*/ 6690 w 1825397"/>
              <a:gd name="connsiteY22" fmla="*/ 2499463 h 6858000"/>
              <a:gd name="connsiteX23" fmla="*/ 11182 w 1825397"/>
              <a:gd name="connsiteY23" fmla="*/ 2575289 h 6858000"/>
              <a:gd name="connsiteX24" fmla="*/ 16790 w 1825397"/>
              <a:gd name="connsiteY24" fmla="*/ 2651225 h 6858000"/>
              <a:gd name="connsiteX25" fmla="*/ 23504 w 1825397"/>
              <a:gd name="connsiteY25" fmla="*/ 2727264 h 6858000"/>
              <a:gd name="connsiteX26" fmla="*/ 31316 w 1825397"/>
              <a:gd name="connsiteY26" fmla="*/ 2803399 h 6858000"/>
              <a:gd name="connsiteX27" fmla="*/ 40216 w 1825397"/>
              <a:gd name="connsiteY27" fmla="*/ 2879624 h 6858000"/>
              <a:gd name="connsiteX28" fmla="*/ 50195 w 1825397"/>
              <a:gd name="connsiteY28" fmla="*/ 2955931 h 6858000"/>
              <a:gd name="connsiteX29" fmla="*/ 61245 w 1825397"/>
              <a:gd name="connsiteY29" fmla="*/ 3032314 h 6858000"/>
              <a:gd name="connsiteX30" fmla="*/ 73356 w 1825397"/>
              <a:gd name="connsiteY30" fmla="*/ 3108766 h 6858000"/>
              <a:gd name="connsiteX31" fmla="*/ 86518 w 1825397"/>
              <a:gd name="connsiteY31" fmla="*/ 3185278 h 6858000"/>
              <a:gd name="connsiteX32" fmla="*/ 100723 w 1825397"/>
              <a:gd name="connsiteY32" fmla="*/ 3261845 h 6858000"/>
              <a:gd name="connsiteX33" fmla="*/ 115962 w 1825397"/>
              <a:gd name="connsiteY33" fmla="*/ 3338460 h 6858000"/>
              <a:gd name="connsiteX34" fmla="*/ 132226 w 1825397"/>
              <a:gd name="connsiteY34" fmla="*/ 3415115 h 6858000"/>
              <a:gd name="connsiteX35" fmla="*/ 149504 w 1825397"/>
              <a:gd name="connsiteY35" fmla="*/ 3491804 h 6858000"/>
              <a:gd name="connsiteX36" fmla="*/ 167790 w 1825397"/>
              <a:gd name="connsiteY36" fmla="*/ 3568519 h 6858000"/>
              <a:gd name="connsiteX37" fmla="*/ 187072 w 1825397"/>
              <a:gd name="connsiteY37" fmla="*/ 3645254 h 6858000"/>
              <a:gd name="connsiteX38" fmla="*/ 207342 w 1825397"/>
              <a:gd name="connsiteY38" fmla="*/ 3722002 h 6858000"/>
              <a:gd name="connsiteX39" fmla="*/ 228592 w 1825397"/>
              <a:gd name="connsiteY39" fmla="*/ 3798755 h 6858000"/>
              <a:gd name="connsiteX40" fmla="*/ 250811 w 1825397"/>
              <a:gd name="connsiteY40" fmla="*/ 3875507 h 6858000"/>
              <a:gd name="connsiteX41" fmla="*/ 273991 w 1825397"/>
              <a:gd name="connsiteY41" fmla="*/ 3952250 h 6858000"/>
              <a:gd name="connsiteX42" fmla="*/ 298122 w 1825397"/>
              <a:gd name="connsiteY42" fmla="*/ 4028978 h 6858000"/>
              <a:gd name="connsiteX43" fmla="*/ 323196 w 1825397"/>
              <a:gd name="connsiteY43" fmla="*/ 4105684 h 6858000"/>
              <a:gd name="connsiteX44" fmla="*/ 349203 w 1825397"/>
              <a:gd name="connsiteY44" fmla="*/ 4182361 h 6858000"/>
              <a:gd name="connsiteX45" fmla="*/ 376135 w 1825397"/>
              <a:gd name="connsiteY45" fmla="*/ 4259001 h 6858000"/>
              <a:gd name="connsiteX46" fmla="*/ 403981 w 1825397"/>
              <a:gd name="connsiteY46" fmla="*/ 4335598 h 6858000"/>
              <a:gd name="connsiteX47" fmla="*/ 432734 w 1825397"/>
              <a:gd name="connsiteY47" fmla="*/ 4412145 h 6858000"/>
              <a:gd name="connsiteX48" fmla="*/ 462383 w 1825397"/>
              <a:gd name="connsiteY48" fmla="*/ 4488634 h 6858000"/>
              <a:gd name="connsiteX49" fmla="*/ 492921 w 1825397"/>
              <a:gd name="connsiteY49" fmla="*/ 4565059 h 6858000"/>
              <a:gd name="connsiteX50" fmla="*/ 524337 w 1825397"/>
              <a:gd name="connsiteY50" fmla="*/ 4641414 h 6858000"/>
              <a:gd name="connsiteX51" fmla="*/ 556622 w 1825397"/>
              <a:gd name="connsiteY51" fmla="*/ 4717690 h 6858000"/>
              <a:gd name="connsiteX52" fmla="*/ 589768 w 1825397"/>
              <a:gd name="connsiteY52" fmla="*/ 4793880 h 6858000"/>
              <a:gd name="connsiteX53" fmla="*/ 623765 w 1825397"/>
              <a:gd name="connsiteY53" fmla="*/ 4869979 h 6858000"/>
              <a:gd name="connsiteX54" fmla="*/ 658604 w 1825397"/>
              <a:gd name="connsiteY54" fmla="*/ 4945979 h 6858000"/>
              <a:gd name="connsiteX55" fmla="*/ 694277 w 1825397"/>
              <a:gd name="connsiteY55" fmla="*/ 5021872 h 6858000"/>
              <a:gd name="connsiteX56" fmla="*/ 730773 w 1825397"/>
              <a:gd name="connsiteY56" fmla="*/ 5097653 h 6858000"/>
              <a:gd name="connsiteX57" fmla="*/ 768084 w 1825397"/>
              <a:gd name="connsiteY57" fmla="*/ 5173313 h 6858000"/>
              <a:gd name="connsiteX58" fmla="*/ 806201 w 1825397"/>
              <a:gd name="connsiteY58" fmla="*/ 5248846 h 6858000"/>
              <a:gd name="connsiteX59" fmla="*/ 845114 w 1825397"/>
              <a:gd name="connsiteY59" fmla="*/ 5324245 h 6858000"/>
              <a:gd name="connsiteX60" fmla="*/ 884815 w 1825397"/>
              <a:gd name="connsiteY60" fmla="*/ 5399504 h 6858000"/>
              <a:gd name="connsiteX61" fmla="*/ 925294 w 1825397"/>
              <a:gd name="connsiteY61" fmla="*/ 5474614 h 6858000"/>
              <a:gd name="connsiteX62" fmla="*/ 966542 w 1825397"/>
              <a:gd name="connsiteY62" fmla="*/ 5549569 h 6858000"/>
              <a:gd name="connsiteX63" fmla="*/ 1008551 w 1825397"/>
              <a:gd name="connsiteY63" fmla="*/ 5624363 h 6858000"/>
              <a:gd name="connsiteX64" fmla="*/ 1051310 w 1825397"/>
              <a:gd name="connsiteY64" fmla="*/ 5698987 h 6858000"/>
              <a:gd name="connsiteX65" fmla="*/ 1094812 w 1825397"/>
              <a:gd name="connsiteY65" fmla="*/ 5773436 h 6858000"/>
              <a:gd name="connsiteX66" fmla="*/ 1139046 w 1825397"/>
              <a:gd name="connsiteY66" fmla="*/ 5847701 h 6858000"/>
              <a:gd name="connsiteX67" fmla="*/ 1184003 w 1825397"/>
              <a:gd name="connsiteY67" fmla="*/ 5921777 h 6858000"/>
              <a:gd name="connsiteX68" fmla="*/ 1229676 w 1825397"/>
              <a:gd name="connsiteY68" fmla="*/ 5995656 h 6858000"/>
              <a:gd name="connsiteX69" fmla="*/ 1276053 w 1825397"/>
              <a:gd name="connsiteY69" fmla="*/ 6069331 h 6858000"/>
              <a:gd name="connsiteX70" fmla="*/ 1323127 w 1825397"/>
              <a:gd name="connsiteY70" fmla="*/ 6142795 h 6858000"/>
              <a:gd name="connsiteX71" fmla="*/ 1370888 w 1825397"/>
              <a:gd name="connsiteY71" fmla="*/ 6216042 h 6858000"/>
              <a:gd name="connsiteX72" fmla="*/ 1419327 w 1825397"/>
              <a:gd name="connsiteY72" fmla="*/ 6289063 h 6858000"/>
              <a:gd name="connsiteX73" fmla="*/ 1468435 w 1825397"/>
              <a:gd name="connsiteY73" fmla="*/ 6361853 h 6858000"/>
              <a:gd name="connsiteX74" fmla="*/ 1518203 w 1825397"/>
              <a:gd name="connsiteY74" fmla="*/ 6434404 h 6858000"/>
              <a:gd name="connsiteX75" fmla="*/ 1568621 w 1825397"/>
              <a:gd name="connsiteY75" fmla="*/ 6506710 h 6858000"/>
              <a:gd name="connsiteX76" fmla="*/ 1619681 w 1825397"/>
              <a:gd name="connsiteY76" fmla="*/ 6578763 h 6858000"/>
              <a:gd name="connsiteX77" fmla="*/ 1671374 w 1825397"/>
              <a:gd name="connsiteY77" fmla="*/ 6650555 h 6858000"/>
              <a:gd name="connsiteX78" fmla="*/ 1723690 w 1825397"/>
              <a:gd name="connsiteY78" fmla="*/ 6722082 h 6858000"/>
              <a:gd name="connsiteX79" fmla="*/ 1776620 w 1825397"/>
              <a:gd name="connsiteY79" fmla="*/ 6793334 h 6858000"/>
              <a:gd name="connsiteX80" fmla="*/ 1825397 w 1825397"/>
              <a:gd name="connsiteY80" fmla="*/ 6858000 h 6858000"/>
              <a:gd name="connsiteX0" fmla="*/ 605261 w 1825397"/>
              <a:gd name="connsiteY0" fmla="*/ 0 h 6858000"/>
              <a:gd name="connsiteX1" fmla="*/ 580098 w 1825397"/>
              <a:gd name="connsiteY1" fmla="*/ 42496 h 6858000"/>
              <a:gd name="connsiteX2" fmla="*/ 542058 w 1825397"/>
              <a:gd name="connsiteY2" fmla="*/ 109290 h 6858000"/>
              <a:gd name="connsiteX3" fmla="*/ 127017 w 1825397"/>
              <a:gd name="connsiteY3" fmla="*/ 1161435 h 6858000"/>
              <a:gd name="connsiteX4" fmla="*/ 109867 w 1825397"/>
              <a:gd name="connsiteY4" fmla="*/ 1234080 h 6858000"/>
              <a:gd name="connsiteX5" fmla="*/ 93997 w 1825397"/>
              <a:gd name="connsiteY5" fmla="*/ 1306961 h 6858000"/>
              <a:gd name="connsiteX6" fmla="*/ 79397 w 1825397"/>
              <a:gd name="connsiteY6" fmla="*/ 1380071 h 6858000"/>
              <a:gd name="connsiteX7" fmla="*/ 66059 w 1825397"/>
              <a:gd name="connsiteY7" fmla="*/ 1453404 h 6858000"/>
              <a:gd name="connsiteX8" fmla="*/ 53973 w 1825397"/>
              <a:gd name="connsiteY8" fmla="*/ 1526951 h 6858000"/>
              <a:gd name="connsiteX9" fmla="*/ 43131 w 1825397"/>
              <a:gd name="connsiteY9" fmla="*/ 1600707 h 6858000"/>
              <a:gd name="connsiteX10" fmla="*/ 33523 w 1825397"/>
              <a:gd name="connsiteY10" fmla="*/ 1674663 h 6858000"/>
              <a:gd name="connsiteX11" fmla="*/ 25141 w 1825397"/>
              <a:gd name="connsiteY11" fmla="*/ 1748814 h 6858000"/>
              <a:gd name="connsiteX12" fmla="*/ 17974 w 1825397"/>
              <a:gd name="connsiteY12" fmla="*/ 1823152 h 6858000"/>
              <a:gd name="connsiteX13" fmla="*/ 12014 w 1825397"/>
              <a:gd name="connsiteY13" fmla="*/ 1897670 h 6858000"/>
              <a:gd name="connsiteX14" fmla="*/ 7252 w 1825397"/>
              <a:gd name="connsiteY14" fmla="*/ 1972362 h 6858000"/>
              <a:gd name="connsiteX15" fmla="*/ 3679 w 1825397"/>
              <a:gd name="connsiteY15" fmla="*/ 2047219 h 6858000"/>
              <a:gd name="connsiteX16" fmla="*/ 1285 w 1825397"/>
              <a:gd name="connsiteY16" fmla="*/ 2122236 h 6858000"/>
              <a:gd name="connsiteX17" fmla="*/ 62 w 1825397"/>
              <a:gd name="connsiteY17" fmla="*/ 2197405 h 6858000"/>
              <a:gd name="connsiteX18" fmla="*/ 0 w 1825397"/>
              <a:gd name="connsiteY18" fmla="*/ 2272719 h 6858000"/>
              <a:gd name="connsiteX19" fmla="*/ 1090 w 1825397"/>
              <a:gd name="connsiteY19" fmla="*/ 2348171 h 6858000"/>
              <a:gd name="connsiteX20" fmla="*/ 3323 w 1825397"/>
              <a:gd name="connsiteY20" fmla="*/ 2423755 h 6858000"/>
              <a:gd name="connsiteX21" fmla="*/ 6690 w 1825397"/>
              <a:gd name="connsiteY21" fmla="*/ 2499463 h 6858000"/>
              <a:gd name="connsiteX22" fmla="*/ 11182 w 1825397"/>
              <a:gd name="connsiteY22" fmla="*/ 2575289 h 6858000"/>
              <a:gd name="connsiteX23" fmla="*/ 16790 w 1825397"/>
              <a:gd name="connsiteY23" fmla="*/ 2651225 h 6858000"/>
              <a:gd name="connsiteX24" fmla="*/ 23504 w 1825397"/>
              <a:gd name="connsiteY24" fmla="*/ 2727264 h 6858000"/>
              <a:gd name="connsiteX25" fmla="*/ 31316 w 1825397"/>
              <a:gd name="connsiteY25" fmla="*/ 2803399 h 6858000"/>
              <a:gd name="connsiteX26" fmla="*/ 40216 w 1825397"/>
              <a:gd name="connsiteY26" fmla="*/ 2879624 h 6858000"/>
              <a:gd name="connsiteX27" fmla="*/ 50195 w 1825397"/>
              <a:gd name="connsiteY27" fmla="*/ 2955931 h 6858000"/>
              <a:gd name="connsiteX28" fmla="*/ 61245 w 1825397"/>
              <a:gd name="connsiteY28" fmla="*/ 3032314 h 6858000"/>
              <a:gd name="connsiteX29" fmla="*/ 73356 w 1825397"/>
              <a:gd name="connsiteY29" fmla="*/ 3108766 h 6858000"/>
              <a:gd name="connsiteX30" fmla="*/ 86518 w 1825397"/>
              <a:gd name="connsiteY30" fmla="*/ 3185278 h 6858000"/>
              <a:gd name="connsiteX31" fmla="*/ 100723 w 1825397"/>
              <a:gd name="connsiteY31" fmla="*/ 3261845 h 6858000"/>
              <a:gd name="connsiteX32" fmla="*/ 115962 w 1825397"/>
              <a:gd name="connsiteY32" fmla="*/ 3338460 h 6858000"/>
              <a:gd name="connsiteX33" fmla="*/ 132226 w 1825397"/>
              <a:gd name="connsiteY33" fmla="*/ 3415115 h 6858000"/>
              <a:gd name="connsiteX34" fmla="*/ 149504 w 1825397"/>
              <a:gd name="connsiteY34" fmla="*/ 3491804 h 6858000"/>
              <a:gd name="connsiteX35" fmla="*/ 167790 w 1825397"/>
              <a:gd name="connsiteY35" fmla="*/ 3568519 h 6858000"/>
              <a:gd name="connsiteX36" fmla="*/ 187072 w 1825397"/>
              <a:gd name="connsiteY36" fmla="*/ 3645254 h 6858000"/>
              <a:gd name="connsiteX37" fmla="*/ 207342 w 1825397"/>
              <a:gd name="connsiteY37" fmla="*/ 3722002 h 6858000"/>
              <a:gd name="connsiteX38" fmla="*/ 228592 w 1825397"/>
              <a:gd name="connsiteY38" fmla="*/ 3798755 h 6858000"/>
              <a:gd name="connsiteX39" fmla="*/ 250811 w 1825397"/>
              <a:gd name="connsiteY39" fmla="*/ 3875507 h 6858000"/>
              <a:gd name="connsiteX40" fmla="*/ 273991 w 1825397"/>
              <a:gd name="connsiteY40" fmla="*/ 3952250 h 6858000"/>
              <a:gd name="connsiteX41" fmla="*/ 298122 w 1825397"/>
              <a:gd name="connsiteY41" fmla="*/ 4028978 h 6858000"/>
              <a:gd name="connsiteX42" fmla="*/ 323196 w 1825397"/>
              <a:gd name="connsiteY42" fmla="*/ 4105684 h 6858000"/>
              <a:gd name="connsiteX43" fmla="*/ 349203 w 1825397"/>
              <a:gd name="connsiteY43" fmla="*/ 4182361 h 6858000"/>
              <a:gd name="connsiteX44" fmla="*/ 376135 w 1825397"/>
              <a:gd name="connsiteY44" fmla="*/ 4259001 h 6858000"/>
              <a:gd name="connsiteX45" fmla="*/ 403981 w 1825397"/>
              <a:gd name="connsiteY45" fmla="*/ 4335598 h 6858000"/>
              <a:gd name="connsiteX46" fmla="*/ 432734 w 1825397"/>
              <a:gd name="connsiteY46" fmla="*/ 4412145 h 6858000"/>
              <a:gd name="connsiteX47" fmla="*/ 462383 w 1825397"/>
              <a:gd name="connsiteY47" fmla="*/ 4488634 h 6858000"/>
              <a:gd name="connsiteX48" fmla="*/ 492921 w 1825397"/>
              <a:gd name="connsiteY48" fmla="*/ 4565059 h 6858000"/>
              <a:gd name="connsiteX49" fmla="*/ 524337 w 1825397"/>
              <a:gd name="connsiteY49" fmla="*/ 4641414 h 6858000"/>
              <a:gd name="connsiteX50" fmla="*/ 556622 w 1825397"/>
              <a:gd name="connsiteY50" fmla="*/ 4717690 h 6858000"/>
              <a:gd name="connsiteX51" fmla="*/ 589768 w 1825397"/>
              <a:gd name="connsiteY51" fmla="*/ 4793880 h 6858000"/>
              <a:gd name="connsiteX52" fmla="*/ 623765 w 1825397"/>
              <a:gd name="connsiteY52" fmla="*/ 4869979 h 6858000"/>
              <a:gd name="connsiteX53" fmla="*/ 658604 w 1825397"/>
              <a:gd name="connsiteY53" fmla="*/ 4945979 h 6858000"/>
              <a:gd name="connsiteX54" fmla="*/ 694277 w 1825397"/>
              <a:gd name="connsiteY54" fmla="*/ 5021872 h 6858000"/>
              <a:gd name="connsiteX55" fmla="*/ 730773 w 1825397"/>
              <a:gd name="connsiteY55" fmla="*/ 5097653 h 6858000"/>
              <a:gd name="connsiteX56" fmla="*/ 768084 w 1825397"/>
              <a:gd name="connsiteY56" fmla="*/ 5173313 h 6858000"/>
              <a:gd name="connsiteX57" fmla="*/ 806201 w 1825397"/>
              <a:gd name="connsiteY57" fmla="*/ 5248846 h 6858000"/>
              <a:gd name="connsiteX58" fmla="*/ 845114 w 1825397"/>
              <a:gd name="connsiteY58" fmla="*/ 5324245 h 6858000"/>
              <a:gd name="connsiteX59" fmla="*/ 884815 w 1825397"/>
              <a:gd name="connsiteY59" fmla="*/ 5399504 h 6858000"/>
              <a:gd name="connsiteX60" fmla="*/ 925294 w 1825397"/>
              <a:gd name="connsiteY60" fmla="*/ 5474614 h 6858000"/>
              <a:gd name="connsiteX61" fmla="*/ 966542 w 1825397"/>
              <a:gd name="connsiteY61" fmla="*/ 5549569 h 6858000"/>
              <a:gd name="connsiteX62" fmla="*/ 1008551 w 1825397"/>
              <a:gd name="connsiteY62" fmla="*/ 5624363 h 6858000"/>
              <a:gd name="connsiteX63" fmla="*/ 1051310 w 1825397"/>
              <a:gd name="connsiteY63" fmla="*/ 5698987 h 6858000"/>
              <a:gd name="connsiteX64" fmla="*/ 1094812 w 1825397"/>
              <a:gd name="connsiteY64" fmla="*/ 5773436 h 6858000"/>
              <a:gd name="connsiteX65" fmla="*/ 1139046 w 1825397"/>
              <a:gd name="connsiteY65" fmla="*/ 5847701 h 6858000"/>
              <a:gd name="connsiteX66" fmla="*/ 1184003 w 1825397"/>
              <a:gd name="connsiteY66" fmla="*/ 5921777 h 6858000"/>
              <a:gd name="connsiteX67" fmla="*/ 1229676 w 1825397"/>
              <a:gd name="connsiteY67" fmla="*/ 5995656 h 6858000"/>
              <a:gd name="connsiteX68" fmla="*/ 1276053 w 1825397"/>
              <a:gd name="connsiteY68" fmla="*/ 6069331 h 6858000"/>
              <a:gd name="connsiteX69" fmla="*/ 1323127 w 1825397"/>
              <a:gd name="connsiteY69" fmla="*/ 6142795 h 6858000"/>
              <a:gd name="connsiteX70" fmla="*/ 1370888 w 1825397"/>
              <a:gd name="connsiteY70" fmla="*/ 6216042 h 6858000"/>
              <a:gd name="connsiteX71" fmla="*/ 1419327 w 1825397"/>
              <a:gd name="connsiteY71" fmla="*/ 6289063 h 6858000"/>
              <a:gd name="connsiteX72" fmla="*/ 1468435 w 1825397"/>
              <a:gd name="connsiteY72" fmla="*/ 6361853 h 6858000"/>
              <a:gd name="connsiteX73" fmla="*/ 1518203 w 1825397"/>
              <a:gd name="connsiteY73" fmla="*/ 6434404 h 6858000"/>
              <a:gd name="connsiteX74" fmla="*/ 1568621 w 1825397"/>
              <a:gd name="connsiteY74" fmla="*/ 6506710 h 6858000"/>
              <a:gd name="connsiteX75" fmla="*/ 1619681 w 1825397"/>
              <a:gd name="connsiteY75" fmla="*/ 6578763 h 6858000"/>
              <a:gd name="connsiteX76" fmla="*/ 1671374 w 1825397"/>
              <a:gd name="connsiteY76" fmla="*/ 6650555 h 6858000"/>
              <a:gd name="connsiteX77" fmla="*/ 1723690 w 1825397"/>
              <a:gd name="connsiteY77" fmla="*/ 6722082 h 6858000"/>
              <a:gd name="connsiteX78" fmla="*/ 1776620 w 1825397"/>
              <a:gd name="connsiteY78" fmla="*/ 6793334 h 6858000"/>
              <a:gd name="connsiteX79" fmla="*/ 1825397 w 1825397"/>
              <a:gd name="connsiteY79" fmla="*/ 6858000 h 6858000"/>
              <a:gd name="connsiteX0" fmla="*/ 605261 w 1825397"/>
              <a:gd name="connsiteY0" fmla="*/ 0 h 6858000"/>
              <a:gd name="connsiteX1" fmla="*/ 580098 w 1825397"/>
              <a:gd name="connsiteY1" fmla="*/ 42496 h 6858000"/>
              <a:gd name="connsiteX2" fmla="*/ 127017 w 1825397"/>
              <a:gd name="connsiteY2" fmla="*/ 1161435 h 6858000"/>
              <a:gd name="connsiteX3" fmla="*/ 109867 w 1825397"/>
              <a:gd name="connsiteY3" fmla="*/ 1234080 h 6858000"/>
              <a:gd name="connsiteX4" fmla="*/ 93997 w 1825397"/>
              <a:gd name="connsiteY4" fmla="*/ 1306961 h 6858000"/>
              <a:gd name="connsiteX5" fmla="*/ 79397 w 1825397"/>
              <a:gd name="connsiteY5" fmla="*/ 1380071 h 6858000"/>
              <a:gd name="connsiteX6" fmla="*/ 66059 w 1825397"/>
              <a:gd name="connsiteY6" fmla="*/ 1453404 h 6858000"/>
              <a:gd name="connsiteX7" fmla="*/ 53973 w 1825397"/>
              <a:gd name="connsiteY7" fmla="*/ 1526951 h 6858000"/>
              <a:gd name="connsiteX8" fmla="*/ 43131 w 1825397"/>
              <a:gd name="connsiteY8" fmla="*/ 1600707 h 6858000"/>
              <a:gd name="connsiteX9" fmla="*/ 33523 w 1825397"/>
              <a:gd name="connsiteY9" fmla="*/ 1674663 h 6858000"/>
              <a:gd name="connsiteX10" fmla="*/ 25141 w 1825397"/>
              <a:gd name="connsiteY10" fmla="*/ 1748814 h 6858000"/>
              <a:gd name="connsiteX11" fmla="*/ 17974 w 1825397"/>
              <a:gd name="connsiteY11" fmla="*/ 1823152 h 6858000"/>
              <a:gd name="connsiteX12" fmla="*/ 12014 w 1825397"/>
              <a:gd name="connsiteY12" fmla="*/ 1897670 h 6858000"/>
              <a:gd name="connsiteX13" fmla="*/ 7252 w 1825397"/>
              <a:gd name="connsiteY13" fmla="*/ 1972362 h 6858000"/>
              <a:gd name="connsiteX14" fmla="*/ 3679 w 1825397"/>
              <a:gd name="connsiteY14" fmla="*/ 2047219 h 6858000"/>
              <a:gd name="connsiteX15" fmla="*/ 1285 w 1825397"/>
              <a:gd name="connsiteY15" fmla="*/ 2122236 h 6858000"/>
              <a:gd name="connsiteX16" fmla="*/ 62 w 1825397"/>
              <a:gd name="connsiteY16" fmla="*/ 2197405 h 6858000"/>
              <a:gd name="connsiteX17" fmla="*/ 0 w 1825397"/>
              <a:gd name="connsiteY17" fmla="*/ 2272719 h 6858000"/>
              <a:gd name="connsiteX18" fmla="*/ 1090 w 1825397"/>
              <a:gd name="connsiteY18" fmla="*/ 2348171 h 6858000"/>
              <a:gd name="connsiteX19" fmla="*/ 3323 w 1825397"/>
              <a:gd name="connsiteY19" fmla="*/ 2423755 h 6858000"/>
              <a:gd name="connsiteX20" fmla="*/ 6690 w 1825397"/>
              <a:gd name="connsiteY20" fmla="*/ 2499463 h 6858000"/>
              <a:gd name="connsiteX21" fmla="*/ 11182 w 1825397"/>
              <a:gd name="connsiteY21" fmla="*/ 2575289 h 6858000"/>
              <a:gd name="connsiteX22" fmla="*/ 16790 w 1825397"/>
              <a:gd name="connsiteY22" fmla="*/ 2651225 h 6858000"/>
              <a:gd name="connsiteX23" fmla="*/ 23504 w 1825397"/>
              <a:gd name="connsiteY23" fmla="*/ 2727264 h 6858000"/>
              <a:gd name="connsiteX24" fmla="*/ 31316 w 1825397"/>
              <a:gd name="connsiteY24" fmla="*/ 2803399 h 6858000"/>
              <a:gd name="connsiteX25" fmla="*/ 40216 w 1825397"/>
              <a:gd name="connsiteY25" fmla="*/ 2879624 h 6858000"/>
              <a:gd name="connsiteX26" fmla="*/ 50195 w 1825397"/>
              <a:gd name="connsiteY26" fmla="*/ 2955931 h 6858000"/>
              <a:gd name="connsiteX27" fmla="*/ 61245 w 1825397"/>
              <a:gd name="connsiteY27" fmla="*/ 3032314 h 6858000"/>
              <a:gd name="connsiteX28" fmla="*/ 73356 w 1825397"/>
              <a:gd name="connsiteY28" fmla="*/ 3108766 h 6858000"/>
              <a:gd name="connsiteX29" fmla="*/ 86518 w 1825397"/>
              <a:gd name="connsiteY29" fmla="*/ 3185278 h 6858000"/>
              <a:gd name="connsiteX30" fmla="*/ 100723 w 1825397"/>
              <a:gd name="connsiteY30" fmla="*/ 3261845 h 6858000"/>
              <a:gd name="connsiteX31" fmla="*/ 115962 w 1825397"/>
              <a:gd name="connsiteY31" fmla="*/ 3338460 h 6858000"/>
              <a:gd name="connsiteX32" fmla="*/ 132226 w 1825397"/>
              <a:gd name="connsiteY32" fmla="*/ 3415115 h 6858000"/>
              <a:gd name="connsiteX33" fmla="*/ 149504 w 1825397"/>
              <a:gd name="connsiteY33" fmla="*/ 3491804 h 6858000"/>
              <a:gd name="connsiteX34" fmla="*/ 167790 w 1825397"/>
              <a:gd name="connsiteY34" fmla="*/ 3568519 h 6858000"/>
              <a:gd name="connsiteX35" fmla="*/ 187072 w 1825397"/>
              <a:gd name="connsiteY35" fmla="*/ 3645254 h 6858000"/>
              <a:gd name="connsiteX36" fmla="*/ 207342 w 1825397"/>
              <a:gd name="connsiteY36" fmla="*/ 3722002 h 6858000"/>
              <a:gd name="connsiteX37" fmla="*/ 228592 w 1825397"/>
              <a:gd name="connsiteY37" fmla="*/ 3798755 h 6858000"/>
              <a:gd name="connsiteX38" fmla="*/ 250811 w 1825397"/>
              <a:gd name="connsiteY38" fmla="*/ 3875507 h 6858000"/>
              <a:gd name="connsiteX39" fmla="*/ 273991 w 1825397"/>
              <a:gd name="connsiteY39" fmla="*/ 3952250 h 6858000"/>
              <a:gd name="connsiteX40" fmla="*/ 298122 w 1825397"/>
              <a:gd name="connsiteY40" fmla="*/ 4028978 h 6858000"/>
              <a:gd name="connsiteX41" fmla="*/ 323196 w 1825397"/>
              <a:gd name="connsiteY41" fmla="*/ 4105684 h 6858000"/>
              <a:gd name="connsiteX42" fmla="*/ 349203 w 1825397"/>
              <a:gd name="connsiteY42" fmla="*/ 4182361 h 6858000"/>
              <a:gd name="connsiteX43" fmla="*/ 376135 w 1825397"/>
              <a:gd name="connsiteY43" fmla="*/ 4259001 h 6858000"/>
              <a:gd name="connsiteX44" fmla="*/ 403981 w 1825397"/>
              <a:gd name="connsiteY44" fmla="*/ 4335598 h 6858000"/>
              <a:gd name="connsiteX45" fmla="*/ 432734 w 1825397"/>
              <a:gd name="connsiteY45" fmla="*/ 4412145 h 6858000"/>
              <a:gd name="connsiteX46" fmla="*/ 462383 w 1825397"/>
              <a:gd name="connsiteY46" fmla="*/ 4488634 h 6858000"/>
              <a:gd name="connsiteX47" fmla="*/ 492921 w 1825397"/>
              <a:gd name="connsiteY47" fmla="*/ 4565059 h 6858000"/>
              <a:gd name="connsiteX48" fmla="*/ 524337 w 1825397"/>
              <a:gd name="connsiteY48" fmla="*/ 4641414 h 6858000"/>
              <a:gd name="connsiteX49" fmla="*/ 556622 w 1825397"/>
              <a:gd name="connsiteY49" fmla="*/ 4717690 h 6858000"/>
              <a:gd name="connsiteX50" fmla="*/ 589768 w 1825397"/>
              <a:gd name="connsiteY50" fmla="*/ 4793880 h 6858000"/>
              <a:gd name="connsiteX51" fmla="*/ 623765 w 1825397"/>
              <a:gd name="connsiteY51" fmla="*/ 4869979 h 6858000"/>
              <a:gd name="connsiteX52" fmla="*/ 658604 w 1825397"/>
              <a:gd name="connsiteY52" fmla="*/ 4945979 h 6858000"/>
              <a:gd name="connsiteX53" fmla="*/ 694277 w 1825397"/>
              <a:gd name="connsiteY53" fmla="*/ 5021872 h 6858000"/>
              <a:gd name="connsiteX54" fmla="*/ 730773 w 1825397"/>
              <a:gd name="connsiteY54" fmla="*/ 5097653 h 6858000"/>
              <a:gd name="connsiteX55" fmla="*/ 768084 w 1825397"/>
              <a:gd name="connsiteY55" fmla="*/ 5173313 h 6858000"/>
              <a:gd name="connsiteX56" fmla="*/ 806201 w 1825397"/>
              <a:gd name="connsiteY56" fmla="*/ 5248846 h 6858000"/>
              <a:gd name="connsiteX57" fmla="*/ 845114 w 1825397"/>
              <a:gd name="connsiteY57" fmla="*/ 5324245 h 6858000"/>
              <a:gd name="connsiteX58" fmla="*/ 884815 w 1825397"/>
              <a:gd name="connsiteY58" fmla="*/ 5399504 h 6858000"/>
              <a:gd name="connsiteX59" fmla="*/ 925294 w 1825397"/>
              <a:gd name="connsiteY59" fmla="*/ 5474614 h 6858000"/>
              <a:gd name="connsiteX60" fmla="*/ 966542 w 1825397"/>
              <a:gd name="connsiteY60" fmla="*/ 5549569 h 6858000"/>
              <a:gd name="connsiteX61" fmla="*/ 1008551 w 1825397"/>
              <a:gd name="connsiteY61" fmla="*/ 5624363 h 6858000"/>
              <a:gd name="connsiteX62" fmla="*/ 1051310 w 1825397"/>
              <a:gd name="connsiteY62" fmla="*/ 5698987 h 6858000"/>
              <a:gd name="connsiteX63" fmla="*/ 1094812 w 1825397"/>
              <a:gd name="connsiteY63" fmla="*/ 5773436 h 6858000"/>
              <a:gd name="connsiteX64" fmla="*/ 1139046 w 1825397"/>
              <a:gd name="connsiteY64" fmla="*/ 5847701 h 6858000"/>
              <a:gd name="connsiteX65" fmla="*/ 1184003 w 1825397"/>
              <a:gd name="connsiteY65" fmla="*/ 5921777 h 6858000"/>
              <a:gd name="connsiteX66" fmla="*/ 1229676 w 1825397"/>
              <a:gd name="connsiteY66" fmla="*/ 5995656 h 6858000"/>
              <a:gd name="connsiteX67" fmla="*/ 1276053 w 1825397"/>
              <a:gd name="connsiteY67" fmla="*/ 6069331 h 6858000"/>
              <a:gd name="connsiteX68" fmla="*/ 1323127 w 1825397"/>
              <a:gd name="connsiteY68" fmla="*/ 6142795 h 6858000"/>
              <a:gd name="connsiteX69" fmla="*/ 1370888 w 1825397"/>
              <a:gd name="connsiteY69" fmla="*/ 6216042 h 6858000"/>
              <a:gd name="connsiteX70" fmla="*/ 1419327 w 1825397"/>
              <a:gd name="connsiteY70" fmla="*/ 6289063 h 6858000"/>
              <a:gd name="connsiteX71" fmla="*/ 1468435 w 1825397"/>
              <a:gd name="connsiteY71" fmla="*/ 6361853 h 6858000"/>
              <a:gd name="connsiteX72" fmla="*/ 1518203 w 1825397"/>
              <a:gd name="connsiteY72" fmla="*/ 6434404 h 6858000"/>
              <a:gd name="connsiteX73" fmla="*/ 1568621 w 1825397"/>
              <a:gd name="connsiteY73" fmla="*/ 6506710 h 6858000"/>
              <a:gd name="connsiteX74" fmla="*/ 1619681 w 1825397"/>
              <a:gd name="connsiteY74" fmla="*/ 6578763 h 6858000"/>
              <a:gd name="connsiteX75" fmla="*/ 1671374 w 1825397"/>
              <a:gd name="connsiteY75" fmla="*/ 6650555 h 6858000"/>
              <a:gd name="connsiteX76" fmla="*/ 1723690 w 1825397"/>
              <a:gd name="connsiteY76" fmla="*/ 6722082 h 6858000"/>
              <a:gd name="connsiteX77" fmla="*/ 1776620 w 1825397"/>
              <a:gd name="connsiteY77" fmla="*/ 6793334 h 6858000"/>
              <a:gd name="connsiteX78" fmla="*/ 1825397 w 1825397"/>
              <a:gd name="connsiteY78" fmla="*/ 6858000 h 6858000"/>
              <a:gd name="connsiteX0" fmla="*/ 605261 w 1825397"/>
              <a:gd name="connsiteY0" fmla="*/ 0 h 6858000"/>
              <a:gd name="connsiteX1" fmla="*/ 127017 w 1825397"/>
              <a:gd name="connsiteY1" fmla="*/ 1161435 h 6858000"/>
              <a:gd name="connsiteX2" fmla="*/ 109867 w 1825397"/>
              <a:gd name="connsiteY2" fmla="*/ 1234080 h 6858000"/>
              <a:gd name="connsiteX3" fmla="*/ 93997 w 1825397"/>
              <a:gd name="connsiteY3" fmla="*/ 1306961 h 6858000"/>
              <a:gd name="connsiteX4" fmla="*/ 79397 w 1825397"/>
              <a:gd name="connsiteY4" fmla="*/ 1380071 h 6858000"/>
              <a:gd name="connsiteX5" fmla="*/ 66059 w 1825397"/>
              <a:gd name="connsiteY5" fmla="*/ 1453404 h 6858000"/>
              <a:gd name="connsiteX6" fmla="*/ 53973 w 1825397"/>
              <a:gd name="connsiteY6" fmla="*/ 1526951 h 6858000"/>
              <a:gd name="connsiteX7" fmla="*/ 43131 w 1825397"/>
              <a:gd name="connsiteY7" fmla="*/ 1600707 h 6858000"/>
              <a:gd name="connsiteX8" fmla="*/ 33523 w 1825397"/>
              <a:gd name="connsiteY8" fmla="*/ 1674663 h 6858000"/>
              <a:gd name="connsiteX9" fmla="*/ 25141 w 1825397"/>
              <a:gd name="connsiteY9" fmla="*/ 1748814 h 6858000"/>
              <a:gd name="connsiteX10" fmla="*/ 17974 w 1825397"/>
              <a:gd name="connsiteY10" fmla="*/ 1823152 h 6858000"/>
              <a:gd name="connsiteX11" fmla="*/ 12014 w 1825397"/>
              <a:gd name="connsiteY11" fmla="*/ 1897670 h 6858000"/>
              <a:gd name="connsiteX12" fmla="*/ 7252 w 1825397"/>
              <a:gd name="connsiteY12" fmla="*/ 1972362 h 6858000"/>
              <a:gd name="connsiteX13" fmla="*/ 3679 w 1825397"/>
              <a:gd name="connsiteY13" fmla="*/ 2047219 h 6858000"/>
              <a:gd name="connsiteX14" fmla="*/ 1285 w 1825397"/>
              <a:gd name="connsiteY14" fmla="*/ 2122236 h 6858000"/>
              <a:gd name="connsiteX15" fmla="*/ 62 w 1825397"/>
              <a:gd name="connsiteY15" fmla="*/ 2197405 h 6858000"/>
              <a:gd name="connsiteX16" fmla="*/ 0 w 1825397"/>
              <a:gd name="connsiteY16" fmla="*/ 2272719 h 6858000"/>
              <a:gd name="connsiteX17" fmla="*/ 1090 w 1825397"/>
              <a:gd name="connsiteY17" fmla="*/ 2348171 h 6858000"/>
              <a:gd name="connsiteX18" fmla="*/ 3323 w 1825397"/>
              <a:gd name="connsiteY18" fmla="*/ 2423755 h 6858000"/>
              <a:gd name="connsiteX19" fmla="*/ 6690 w 1825397"/>
              <a:gd name="connsiteY19" fmla="*/ 2499463 h 6858000"/>
              <a:gd name="connsiteX20" fmla="*/ 11182 w 1825397"/>
              <a:gd name="connsiteY20" fmla="*/ 2575289 h 6858000"/>
              <a:gd name="connsiteX21" fmla="*/ 16790 w 1825397"/>
              <a:gd name="connsiteY21" fmla="*/ 2651225 h 6858000"/>
              <a:gd name="connsiteX22" fmla="*/ 23504 w 1825397"/>
              <a:gd name="connsiteY22" fmla="*/ 2727264 h 6858000"/>
              <a:gd name="connsiteX23" fmla="*/ 31316 w 1825397"/>
              <a:gd name="connsiteY23" fmla="*/ 2803399 h 6858000"/>
              <a:gd name="connsiteX24" fmla="*/ 40216 w 1825397"/>
              <a:gd name="connsiteY24" fmla="*/ 2879624 h 6858000"/>
              <a:gd name="connsiteX25" fmla="*/ 50195 w 1825397"/>
              <a:gd name="connsiteY25" fmla="*/ 2955931 h 6858000"/>
              <a:gd name="connsiteX26" fmla="*/ 61245 w 1825397"/>
              <a:gd name="connsiteY26" fmla="*/ 3032314 h 6858000"/>
              <a:gd name="connsiteX27" fmla="*/ 73356 w 1825397"/>
              <a:gd name="connsiteY27" fmla="*/ 3108766 h 6858000"/>
              <a:gd name="connsiteX28" fmla="*/ 86518 w 1825397"/>
              <a:gd name="connsiteY28" fmla="*/ 3185278 h 6858000"/>
              <a:gd name="connsiteX29" fmla="*/ 100723 w 1825397"/>
              <a:gd name="connsiteY29" fmla="*/ 3261845 h 6858000"/>
              <a:gd name="connsiteX30" fmla="*/ 115962 w 1825397"/>
              <a:gd name="connsiteY30" fmla="*/ 3338460 h 6858000"/>
              <a:gd name="connsiteX31" fmla="*/ 132226 w 1825397"/>
              <a:gd name="connsiteY31" fmla="*/ 3415115 h 6858000"/>
              <a:gd name="connsiteX32" fmla="*/ 149504 w 1825397"/>
              <a:gd name="connsiteY32" fmla="*/ 3491804 h 6858000"/>
              <a:gd name="connsiteX33" fmla="*/ 167790 w 1825397"/>
              <a:gd name="connsiteY33" fmla="*/ 3568519 h 6858000"/>
              <a:gd name="connsiteX34" fmla="*/ 187072 w 1825397"/>
              <a:gd name="connsiteY34" fmla="*/ 3645254 h 6858000"/>
              <a:gd name="connsiteX35" fmla="*/ 207342 w 1825397"/>
              <a:gd name="connsiteY35" fmla="*/ 3722002 h 6858000"/>
              <a:gd name="connsiteX36" fmla="*/ 228592 w 1825397"/>
              <a:gd name="connsiteY36" fmla="*/ 3798755 h 6858000"/>
              <a:gd name="connsiteX37" fmla="*/ 250811 w 1825397"/>
              <a:gd name="connsiteY37" fmla="*/ 3875507 h 6858000"/>
              <a:gd name="connsiteX38" fmla="*/ 273991 w 1825397"/>
              <a:gd name="connsiteY38" fmla="*/ 3952250 h 6858000"/>
              <a:gd name="connsiteX39" fmla="*/ 298122 w 1825397"/>
              <a:gd name="connsiteY39" fmla="*/ 4028978 h 6858000"/>
              <a:gd name="connsiteX40" fmla="*/ 323196 w 1825397"/>
              <a:gd name="connsiteY40" fmla="*/ 4105684 h 6858000"/>
              <a:gd name="connsiteX41" fmla="*/ 349203 w 1825397"/>
              <a:gd name="connsiteY41" fmla="*/ 4182361 h 6858000"/>
              <a:gd name="connsiteX42" fmla="*/ 376135 w 1825397"/>
              <a:gd name="connsiteY42" fmla="*/ 4259001 h 6858000"/>
              <a:gd name="connsiteX43" fmla="*/ 403981 w 1825397"/>
              <a:gd name="connsiteY43" fmla="*/ 4335598 h 6858000"/>
              <a:gd name="connsiteX44" fmla="*/ 432734 w 1825397"/>
              <a:gd name="connsiteY44" fmla="*/ 4412145 h 6858000"/>
              <a:gd name="connsiteX45" fmla="*/ 462383 w 1825397"/>
              <a:gd name="connsiteY45" fmla="*/ 4488634 h 6858000"/>
              <a:gd name="connsiteX46" fmla="*/ 492921 w 1825397"/>
              <a:gd name="connsiteY46" fmla="*/ 4565059 h 6858000"/>
              <a:gd name="connsiteX47" fmla="*/ 524337 w 1825397"/>
              <a:gd name="connsiteY47" fmla="*/ 4641414 h 6858000"/>
              <a:gd name="connsiteX48" fmla="*/ 556622 w 1825397"/>
              <a:gd name="connsiteY48" fmla="*/ 4717690 h 6858000"/>
              <a:gd name="connsiteX49" fmla="*/ 589768 w 1825397"/>
              <a:gd name="connsiteY49" fmla="*/ 4793880 h 6858000"/>
              <a:gd name="connsiteX50" fmla="*/ 623765 w 1825397"/>
              <a:gd name="connsiteY50" fmla="*/ 4869979 h 6858000"/>
              <a:gd name="connsiteX51" fmla="*/ 658604 w 1825397"/>
              <a:gd name="connsiteY51" fmla="*/ 4945979 h 6858000"/>
              <a:gd name="connsiteX52" fmla="*/ 694277 w 1825397"/>
              <a:gd name="connsiteY52" fmla="*/ 5021872 h 6858000"/>
              <a:gd name="connsiteX53" fmla="*/ 730773 w 1825397"/>
              <a:gd name="connsiteY53" fmla="*/ 5097653 h 6858000"/>
              <a:gd name="connsiteX54" fmla="*/ 768084 w 1825397"/>
              <a:gd name="connsiteY54" fmla="*/ 5173313 h 6858000"/>
              <a:gd name="connsiteX55" fmla="*/ 806201 w 1825397"/>
              <a:gd name="connsiteY55" fmla="*/ 5248846 h 6858000"/>
              <a:gd name="connsiteX56" fmla="*/ 845114 w 1825397"/>
              <a:gd name="connsiteY56" fmla="*/ 5324245 h 6858000"/>
              <a:gd name="connsiteX57" fmla="*/ 884815 w 1825397"/>
              <a:gd name="connsiteY57" fmla="*/ 5399504 h 6858000"/>
              <a:gd name="connsiteX58" fmla="*/ 925294 w 1825397"/>
              <a:gd name="connsiteY58" fmla="*/ 5474614 h 6858000"/>
              <a:gd name="connsiteX59" fmla="*/ 966542 w 1825397"/>
              <a:gd name="connsiteY59" fmla="*/ 5549569 h 6858000"/>
              <a:gd name="connsiteX60" fmla="*/ 1008551 w 1825397"/>
              <a:gd name="connsiteY60" fmla="*/ 5624363 h 6858000"/>
              <a:gd name="connsiteX61" fmla="*/ 1051310 w 1825397"/>
              <a:gd name="connsiteY61" fmla="*/ 5698987 h 6858000"/>
              <a:gd name="connsiteX62" fmla="*/ 1094812 w 1825397"/>
              <a:gd name="connsiteY62" fmla="*/ 5773436 h 6858000"/>
              <a:gd name="connsiteX63" fmla="*/ 1139046 w 1825397"/>
              <a:gd name="connsiteY63" fmla="*/ 5847701 h 6858000"/>
              <a:gd name="connsiteX64" fmla="*/ 1184003 w 1825397"/>
              <a:gd name="connsiteY64" fmla="*/ 5921777 h 6858000"/>
              <a:gd name="connsiteX65" fmla="*/ 1229676 w 1825397"/>
              <a:gd name="connsiteY65" fmla="*/ 5995656 h 6858000"/>
              <a:gd name="connsiteX66" fmla="*/ 1276053 w 1825397"/>
              <a:gd name="connsiteY66" fmla="*/ 6069331 h 6858000"/>
              <a:gd name="connsiteX67" fmla="*/ 1323127 w 1825397"/>
              <a:gd name="connsiteY67" fmla="*/ 6142795 h 6858000"/>
              <a:gd name="connsiteX68" fmla="*/ 1370888 w 1825397"/>
              <a:gd name="connsiteY68" fmla="*/ 6216042 h 6858000"/>
              <a:gd name="connsiteX69" fmla="*/ 1419327 w 1825397"/>
              <a:gd name="connsiteY69" fmla="*/ 6289063 h 6858000"/>
              <a:gd name="connsiteX70" fmla="*/ 1468435 w 1825397"/>
              <a:gd name="connsiteY70" fmla="*/ 6361853 h 6858000"/>
              <a:gd name="connsiteX71" fmla="*/ 1518203 w 1825397"/>
              <a:gd name="connsiteY71" fmla="*/ 6434404 h 6858000"/>
              <a:gd name="connsiteX72" fmla="*/ 1568621 w 1825397"/>
              <a:gd name="connsiteY72" fmla="*/ 6506710 h 6858000"/>
              <a:gd name="connsiteX73" fmla="*/ 1619681 w 1825397"/>
              <a:gd name="connsiteY73" fmla="*/ 6578763 h 6858000"/>
              <a:gd name="connsiteX74" fmla="*/ 1671374 w 1825397"/>
              <a:gd name="connsiteY74" fmla="*/ 6650555 h 6858000"/>
              <a:gd name="connsiteX75" fmla="*/ 1723690 w 1825397"/>
              <a:gd name="connsiteY75" fmla="*/ 6722082 h 6858000"/>
              <a:gd name="connsiteX76" fmla="*/ 1776620 w 1825397"/>
              <a:gd name="connsiteY76" fmla="*/ 6793334 h 6858000"/>
              <a:gd name="connsiteX77" fmla="*/ 1825397 w 1825397"/>
              <a:gd name="connsiteY77" fmla="*/ 6858000 h 6858000"/>
              <a:gd name="connsiteX0" fmla="*/ 127017 w 1825397"/>
              <a:gd name="connsiteY0" fmla="*/ 0 h 5696565"/>
              <a:gd name="connsiteX1" fmla="*/ 109867 w 1825397"/>
              <a:gd name="connsiteY1" fmla="*/ 72645 h 5696565"/>
              <a:gd name="connsiteX2" fmla="*/ 93997 w 1825397"/>
              <a:gd name="connsiteY2" fmla="*/ 145526 h 5696565"/>
              <a:gd name="connsiteX3" fmla="*/ 79397 w 1825397"/>
              <a:gd name="connsiteY3" fmla="*/ 218636 h 5696565"/>
              <a:gd name="connsiteX4" fmla="*/ 66059 w 1825397"/>
              <a:gd name="connsiteY4" fmla="*/ 291969 h 5696565"/>
              <a:gd name="connsiteX5" fmla="*/ 53973 w 1825397"/>
              <a:gd name="connsiteY5" fmla="*/ 365516 h 5696565"/>
              <a:gd name="connsiteX6" fmla="*/ 43131 w 1825397"/>
              <a:gd name="connsiteY6" fmla="*/ 439272 h 5696565"/>
              <a:gd name="connsiteX7" fmla="*/ 33523 w 1825397"/>
              <a:gd name="connsiteY7" fmla="*/ 513228 h 5696565"/>
              <a:gd name="connsiteX8" fmla="*/ 25141 w 1825397"/>
              <a:gd name="connsiteY8" fmla="*/ 587379 h 5696565"/>
              <a:gd name="connsiteX9" fmla="*/ 17974 w 1825397"/>
              <a:gd name="connsiteY9" fmla="*/ 661717 h 5696565"/>
              <a:gd name="connsiteX10" fmla="*/ 12014 w 1825397"/>
              <a:gd name="connsiteY10" fmla="*/ 736235 h 5696565"/>
              <a:gd name="connsiteX11" fmla="*/ 7252 w 1825397"/>
              <a:gd name="connsiteY11" fmla="*/ 810927 h 5696565"/>
              <a:gd name="connsiteX12" fmla="*/ 3679 w 1825397"/>
              <a:gd name="connsiteY12" fmla="*/ 885784 h 5696565"/>
              <a:gd name="connsiteX13" fmla="*/ 1285 w 1825397"/>
              <a:gd name="connsiteY13" fmla="*/ 960801 h 5696565"/>
              <a:gd name="connsiteX14" fmla="*/ 62 w 1825397"/>
              <a:gd name="connsiteY14" fmla="*/ 1035970 h 5696565"/>
              <a:gd name="connsiteX15" fmla="*/ 0 w 1825397"/>
              <a:gd name="connsiteY15" fmla="*/ 1111284 h 5696565"/>
              <a:gd name="connsiteX16" fmla="*/ 1090 w 1825397"/>
              <a:gd name="connsiteY16" fmla="*/ 1186736 h 5696565"/>
              <a:gd name="connsiteX17" fmla="*/ 3323 w 1825397"/>
              <a:gd name="connsiteY17" fmla="*/ 1262320 h 5696565"/>
              <a:gd name="connsiteX18" fmla="*/ 6690 w 1825397"/>
              <a:gd name="connsiteY18" fmla="*/ 1338028 h 5696565"/>
              <a:gd name="connsiteX19" fmla="*/ 11182 w 1825397"/>
              <a:gd name="connsiteY19" fmla="*/ 1413854 h 5696565"/>
              <a:gd name="connsiteX20" fmla="*/ 16790 w 1825397"/>
              <a:gd name="connsiteY20" fmla="*/ 1489790 h 5696565"/>
              <a:gd name="connsiteX21" fmla="*/ 23504 w 1825397"/>
              <a:gd name="connsiteY21" fmla="*/ 1565829 h 5696565"/>
              <a:gd name="connsiteX22" fmla="*/ 31316 w 1825397"/>
              <a:gd name="connsiteY22" fmla="*/ 1641964 h 5696565"/>
              <a:gd name="connsiteX23" fmla="*/ 40216 w 1825397"/>
              <a:gd name="connsiteY23" fmla="*/ 1718189 h 5696565"/>
              <a:gd name="connsiteX24" fmla="*/ 50195 w 1825397"/>
              <a:gd name="connsiteY24" fmla="*/ 1794496 h 5696565"/>
              <a:gd name="connsiteX25" fmla="*/ 61245 w 1825397"/>
              <a:gd name="connsiteY25" fmla="*/ 1870879 h 5696565"/>
              <a:gd name="connsiteX26" fmla="*/ 73356 w 1825397"/>
              <a:gd name="connsiteY26" fmla="*/ 1947331 h 5696565"/>
              <a:gd name="connsiteX27" fmla="*/ 86518 w 1825397"/>
              <a:gd name="connsiteY27" fmla="*/ 2023843 h 5696565"/>
              <a:gd name="connsiteX28" fmla="*/ 100723 w 1825397"/>
              <a:gd name="connsiteY28" fmla="*/ 2100410 h 5696565"/>
              <a:gd name="connsiteX29" fmla="*/ 115962 w 1825397"/>
              <a:gd name="connsiteY29" fmla="*/ 2177025 h 5696565"/>
              <a:gd name="connsiteX30" fmla="*/ 132226 w 1825397"/>
              <a:gd name="connsiteY30" fmla="*/ 2253680 h 5696565"/>
              <a:gd name="connsiteX31" fmla="*/ 149504 w 1825397"/>
              <a:gd name="connsiteY31" fmla="*/ 2330369 h 5696565"/>
              <a:gd name="connsiteX32" fmla="*/ 167790 w 1825397"/>
              <a:gd name="connsiteY32" fmla="*/ 2407084 h 5696565"/>
              <a:gd name="connsiteX33" fmla="*/ 187072 w 1825397"/>
              <a:gd name="connsiteY33" fmla="*/ 2483819 h 5696565"/>
              <a:gd name="connsiteX34" fmla="*/ 207342 w 1825397"/>
              <a:gd name="connsiteY34" fmla="*/ 2560567 h 5696565"/>
              <a:gd name="connsiteX35" fmla="*/ 228592 w 1825397"/>
              <a:gd name="connsiteY35" fmla="*/ 2637320 h 5696565"/>
              <a:gd name="connsiteX36" fmla="*/ 250811 w 1825397"/>
              <a:gd name="connsiteY36" fmla="*/ 2714072 h 5696565"/>
              <a:gd name="connsiteX37" fmla="*/ 273991 w 1825397"/>
              <a:gd name="connsiteY37" fmla="*/ 2790815 h 5696565"/>
              <a:gd name="connsiteX38" fmla="*/ 298122 w 1825397"/>
              <a:gd name="connsiteY38" fmla="*/ 2867543 h 5696565"/>
              <a:gd name="connsiteX39" fmla="*/ 323196 w 1825397"/>
              <a:gd name="connsiteY39" fmla="*/ 2944249 h 5696565"/>
              <a:gd name="connsiteX40" fmla="*/ 349203 w 1825397"/>
              <a:gd name="connsiteY40" fmla="*/ 3020926 h 5696565"/>
              <a:gd name="connsiteX41" fmla="*/ 376135 w 1825397"/>
              <a:gd name="connsiteY41" fmla="*/ 3097566 h 5696565"/>
              <a:gd name="connsiteX42" fmla="*/ 403981 w 1825397"/>
              <a:gd name="connsiteY42" fmla="*/ 3174163 h 5696565"/>
              <a:gd name="connsiteX43" fmla="*/ 432734 w 1825397"/>
              <a:gd name="connsiteY43" fmla="*/ 3250710 h 5696565"/>
              <a:gd name="connsiteX44" fmla="*/ 462383 w 1825397"/>
              <a:gd name="connsiteY44" fmla="*/ 3327199 h 5696565"/>
              <a:gd name="connsiteX45" fmla="*/ 492921 w 1825397"/>
              <a:gd name="connsiteY45" fmla="*/ 3403624 h 5696565"/>
              <a:gd name="connsiteX46" fmla="*/ 524337 w 1825397"/>
              <a:gd name="connsiteY46" fmla="*/ 3479979 h 5696565"/>
              <a:gd name="connsiteX47" fmla="*/ 556622 w 1825397"/>
              <a:gd name="connsiteY47" fmla="*/ 3556255 h 5696565"/>
              <a:gd name="connsiteX48" fmla="*/ 589768 w 1825397"/>
              <a:gd name="connsiteY48" fmla="*/ 3632445 h 5696565"/>
              <a:gd name="connsiteX49" fmla="*/ 623765 w 1825397"/>
              <a:gd name="connsiteY49" fmla="*/ 3708544 h 5696565"/>
              <a:gd name="connsiteX50" fmla="*/ 658604 w 1825397"/>
              <a:gd name="connsiteY50" fmla="*/ 3784544 h 5696565"/>
              <a:gd name="connsiteX51" fmla="*/ 694277 w 1825397"/>
              <a:gd name="connsiteY51" fmla="*/ 3860437 h 5696565"/>
              <a:gd name="connsiteX52" fmla="*/ 730773 w 1825397"/>
              <a:gd name="connsiteY52" fmla="*/ 3936218 h 5696565"/>
              <a:gd name="connsiteX53" fmla="*/ 768084 w 1825397"/>
              <a:gd name="connsiteY53" fmla="*/ 4011878 h 5696565"/>
              <a:gd name="connsiteX54" fmla="*/ 806201 w 1825397"/>
              <a:gd name="connsiteY54" fmla="*/ 4087411 h 5696565"/>
              <a:gd name="connsiteX55" fmla="*/ 845114 w 1825397"/>
              <a:gd name="connsiteY55" fmla="*/ 4162810 h 5696565"/>
              <a:gd name="connsiteX56" fmla="*/ 884815 w 1825397"/>
              <a:gd name="connsiteY56" fmla="*/ 4238069 h 5696565"/>
              <a:gd name="connsiteX57" fmla="*/ 925294 w 1825397"/>
              <a:gd name="connsiteY57" fmla="*/ 4313179 h 5696565"/>
              <a:gd name="connsiteX58" fmla="*/ 966542 w 1825397"/>
              <a:gd name="connsiteY58" fmla="*/ 4388134 h 5696565"/>
              <a:gd name="connsiteX59" fmla="*/ 1008551 w 1825397"/>
              <a:gd name="connsiteY59" fmla="*/ 4462928 h 5696565"/>
              <a:gd name="connsiteX60" fmla="*/ 1051310 w 1825397"/>
              <a:gd name="connsiteY60" fmla="*/ 4537552 h 5696565"/>
              <a:gd name="connsiteX61" fmla="*/ 1094812 w 1825397"/>
              <a:gd name="connsiteY61" fmla="*/ 4612001 h 5696565"/>
              <a:gd name="connsiteX62" fmla="*/ 1139046 w 1825397"/>
              <a:gd name="connsiteY62" fmla="*/ 4686266 h 5696565"/>
              <a:gd name="connsiteX63" fmla="*/ 1184003 w 1825397"/>
              <a:gd name="connsiteY63" fmla="*/ 4760342 h 5696565"/>
              <a:gd name="connsiteX64" fmla="*/ 1229676 w 1825397"/>
              <a:gd name="connsiteY64" fmla="*/ 4834221 h 5696565"/>
              <a:gd name="connsiteX65" fmla="*/ 1276053 w 1825397"/>
              <a:gd name="connsiteY65" fmla="*/ 4907896 h 5696565"/>
              <a:gd name="connsiteX66" fmla="*/ 1323127 w 1825397"/>
              <a:gd name="connsiteY66" fmla="*/ 4981360 h 5696565"/>
              <a:gd name="connsiteX67" fmla="*/ 1370888 w 1825397"/>
              <a:gd name="connsiteY67" fmla="*/ 5054607 h 5696565"/>
              <a:gd name="connsiteX68" fmla="*/ 1419327 w 1825397"/>
              <a:gd name="connsiteY68" fmla="*/ 5127628 h 5696565"/>
              <a:gd name="connsiteX69" fmla="*/ 1468435 w 1825397"/>
              <a:gd name="connsiteY69" fmla="*/ 5200418 h 5696565"/>
              <a:gd name="connsiteX70" fmla="*/ 1518203 w 1825397"/>
              <a:gd name="connsiteY70" fmla="*/ 5272969 h 5696565"/>
              <a:gd name="connsiteX71" fmla="*/ 1568621 w 1825397"/>
              <a:gd name="connsiteY71" fmla="*/ 5345275 h 5696565"/>
              <a:gd name="connsiteX72" fmla="*/ 1619681 w 1825397"/>
              <a:gd name="connsiteY72" fmla="*/ 5417328 h 5696565"/>
              <a:gd name="connsiteX73" fmla="*/ 1671374 w 1825397"/>
              <a:gd name="connsiteY73" fmla="*/ 5489120 h 5696565"/>
              <a:gd name="connsiteX74" fmla="*/ 1723690 w 1825397"/>
              <a:gd name="connsiteY74" fmla="*/ 5560647 h 5696565"/>
              <a:gd name="connsiteX75" fmla="*/ 1776620 w 1825397"/>
              <a:gd name="connsiteY75" fmla="*/ 5631899 h 5696565"/>
              <a:gd name="connsiteX76" fmla="*/ 1825397 w 1825397"/>
              <a:gd name="connsiteY76" fmla="*/ 5696565 h 5696565"/>
              <a:gd name="connsiteX0" fmla="*/ 127017 w 1776620"/>
              <a:gd name="connsiteY0" fmla="*/ 0 h 5631899"/>
              <a:gd name="connsiteX1" fmla="*/ 109867 w 1776620"/>
              <a:gd name="connsiteY1" fmla="*/ 72645 h 5631899"/>
              <a:gd name="connsiteX2" fmla="*/ 93997 w 1776620"/>
              <a:gd name="connsiteY2" fmla="*/ 145526 h 5631899"/>
              <a:gd name="connsiteX3" fmla="*/ 79397 w 1776620"/>
              <a:gd name="connsiteY3" fmla="*/ 218636 h 5631899"/>
              <a:gd name="connsiteX4" fmla="*/ 66059 w 1776620"/>
              <a:gd name="connsiteY4" fmla="*/ 291969 h 5631899"/>
              <a:gd name="connsiteX5" fmla="*/ 53973 w 1776620"/>
              <a:gd name="connsiteY5" fmla="*/ 365516 h 5631899"/>
              <a:gd name="connsiteX6" fmla="*/ 43131 w 1776620"/>
              <a:gd name="connsiteY6" fmla="*/ 439272 h 5631899"/>
              <a:gd name="connsiteX7" fmla="*/ 33523 w 1776620"/>
              <a:gd name="connsiteY7" fmla="*/ 513228 h 5631899"/>
              <a:gd name="connsiteX8" fmla="*/ 25141 w 1776620"/>
              <a:gd name="connsiteY8" fmla="*/ 587379 h 5631899"/>
              <a:gd name="connsiteX9" fmla="*/ 17974 w 1776620"/>
              <a:gd name="connsiteY9" fmla="*/ 661717 h 5631899"/>
              <a:gd name="connsiteX10" fmla="*/ 12014 w 1776620"/>
              <a:gd name="connsiteY10" fmla="*/ 736235 h 5631899"/>
              <a:gd name="connsiteX11" fmla="*/ 7252 w 1776620"/>
              <a:gd name="connsiteY11" fmla="*/ 810927 h 5631899"/>
              <a:gd name="connsiteX12" fmla="*/ 3679 w 1776620"/>
              <a:gd name="connsiteY12" fmla="*/ 885784 h 5631899"/>
              <a:gd name="connsiteX13" fmla="*/ 1285 w 1776620"/>
              <a:gd name="connsiteY13" fmla="*/ 960801 h 5631899"/>
              <a:gd name="connsiteX14" fmla="*/ 62 w 1776620"/>
              <a:gd name="connsiteY14" fmla="*/ 1035970 h 5631899"/>
              <a:gd name="connsiteX15" fmla="*/ 0 w 1776620"/>
              <a:gd name="connsiteY15" fmla="*/ 1111284 h 5631899"/>
              <a:gd name="connsiteX16" fmla="*/ 1090 w 1776620"/>
              <a:gd name="connsiteY16" fmla="*/ 1186736 h 5631899"/>
              <a:gd name="connsiteX17" fmla="*/ 3323 w 1776620"/>
              <a:gd name="connsiteY17" fmla="*/ 1262320 h 5631899"/>
              <a:gd name="connsiteX18" fmla="*/ 6690 w 1776620"/>
              <a:gd name="connsiteY18" fmla="*/ 1338028 h 5631899"/>
              <a:gd name="connsiteX19" fmla="*/ 11182 w 1776620"/>
              <a:gd name="connsiteY19" fmla="*/ 1413854 h 5631899"/>
              <a:gd name="connsiteX20" fmla="*/ 16790 w 1776620"/>
              <a:gd name="connsiteY20" fmla="*/ 1489790 h 5631899"/>
              <a:gd name="connsiteX21" fmla="*/ 23504 w 1776620"/>
              <a:gd name="connsiteY21" fmla="*/ 1565829 h 5631899"/>
              <a:gd name="connsiteX22" fmla="*/ 31316 w 1776620"/>
              <a:gd name="connsiteY22" fmla="*/ 1641964 h 5631899"/>
              <a:gd name="connsiteX23" fmla="*/ 40216 w 1776620"/>
              <a:gd name="connsiteY23" fmla="*/ 1718189 h 5631899"/>
              <a:gd name="connsiteX24" fmla="*/ 50195 w 1776620"/>
              <a:gd name="connsiteY24" fmla="*/ 1794496 h 5631899"/>
              <a:gd name="connsiteX25" fmla="*/ 61245 w 1776620"/>
              <a:gd name="connsiteY25" fmla="*/ 1870879 h 5631899"/>
              <a:gd name="connsiteX26" fmla="*/ 73356 w 1776620"/>
              <a:gd name="connsiteY26" fmla="*/ 1947331 h 5631899"/>
              <a:gd name="connsiteX27" fmla="*/ 86518 w 1776620"/>
              <a:gd name="connsiteY27" fmla="*/ 2023843 h 5631899"/>
              <a:gd name="connsiteX28" fmla="*/ 100723 w 1776620"/>
              <a:gd name="connsiteY28" fmla="*/ 2100410 h 5631899"/>
              <a:gd name="connsiteX29" fmla="*/ 115962 w 1776620"/>
              <a:gd name="connsiteY29" fmla="*/ 2177025 h 5631899"/>
              <a:gd name="connsiteX30" fmla="*/ 132226 w 1776620"/>
              <a:gd name="connsiteY30" fmla="*/ 2253680 h 5631899"/>
              <a:gd name="connsiteX31" fmla="*/ 149504 w 1776620"/>
              <a:gd name="connsiteY31" fmla="*/ 2330369 h 5631899"/>
              <a:gd name="connsiteX32" fmla="*/ 167790 w 1776620"/>
              <a:gd name="connsiteY32" fmla="*/ 2407084 h 5631899"/>
              <a:gd name="connsiteX33" fmla="*/ 187072 w 1776620"/>
              <a:gd name="connsiteY33" fmla="*/ 2483819 h 5631899"/>
              <a:gd name="connsiteX34" fmla="*/ 207342 w 1776620"/>
              <a:gd name="connsiteY34" fmla="*/ 2560567 h 5631899"/>
              <a:gd name="connsiteX35" fmla="*/ 228592 w 1776620"/>
              <a:gd name="connsiteY35" fmla="*/ 2637320 h 5631899"/>
              <a:gd name="connsiteX36" fmla="*/ 250811 w 1776620"/>
              <a:gd name="connsiteY36" fmla="*/ 2714072 h 5631899"/>
              <a:gd name="connsiteX37" fmla="*/ 273991 w 1776620"/>
              <a:gd name="connsiteY37" fmla="*/ 2790815 h 5631899"/>
              <a:gd name="connsiteX38" fmla="*/ 298122 w 1776620"/>
              <a:gd name="connsiteY38" fmla="*/ 2867543 h 5631899"/>
              <a:gd name="connsiteX39" fmla="*/ 323196 w 1776620"/>
              <a:gd name="connsiteY39" fmla="*/ 2944249 h 5631899"/>
              <a:gd name="connsiteX40" fmla="*/ 349203 w 1776620"/>
              <a:gd name="connsiteY40" fmla="*/ 3020926 h 5631899"/>
              <a:gd name="connsiteX41" fmla="*/ 376135 w 1776620"/>
              <a:gd name="connsiteY41" fmla="*/ 3097566 h 5631899"/>
              <a:gd name="connsiteX42" fmla="*/ 403981 w 1776620"/>
              <a:gd name="connsiteY42" fmla="*/ 3174163 h 5631899"/>
              <a:gd name="connsiteX43" fmla="*/ 432734 w 1776620"/>
              <a:gd name="connsiteY43" fmla="*/ 3250710 h 5631899"/>
              <a:gd name="connsiteX44" fmla="*/ 462383 w 1776620"/>
              <a:gd name="connsiteY44" fmla="*/ 3327199 h 5631899"/>
              <a:gd name="connsiteX45" fmla="*/ 492921 w 1776620"/>
              <a:gd name="connsiteY45" fmla="*/ 3403624 h 5631899"/>
              <a:gd name="connsiteX46" fmla="*/ 524337 w 1776620"/>
              <a:gd name="connsiteY46" fmla="*/ 3479979 h 5631899"/>
              <a:gd name="connsiteX47" fmla="*/ 556622 w 1776620"/>
              <a:gd name="connsiteY47" fmla="*/ 3556255 h 5631899"/>
              <a:gd name="connsiteX48" fmla="*/ 589768 w 1776620"/>
              <a:gd name="connsiteY48" fmla="*/ 3632445 h 5631899"/>
              <a:gd name="connsiteX49" fmla="*/ 623765 w 1776620"/>
              <a:gd name="connsiteY49" fmla="*/ 3708544 h 5631899"/>
              <a:gd name="connsiteX50" fmla="*/ 658604 w 1776620"/>
              <a:gd name="connsiteY50" fmla="*/ 3784544 h 5631899"/>
              <a:gd name="connsiteX51" fmla="*/ 694277 w 1776620"/>
              <a:gd name="connsiteY51" fmla="*/ 3860437 h 5631899"/>
              <a:gd name="connsiteX52" fmla="*/ 730773 w 1776620"/>
              <a:gd name="connsiteY52" fmla="*/ 3936218 h 5631899"/>
              <a:gd name="connsiteX53" fmla="*/ 768084 w 1776620"/>
              <a:gd name="connsiteY53" fmla="*/ 4011878 h 5631899"/>
              <a:gd name="connsiteX54" fmla="*/ 806201 w 1776620"/>
              <a:gd name="connsiteY54" fmla="*/ 4087411 h 5631899"/>
              <a:gd name="connsiteX55" fmla="*/ 845114 w 1776620"/>
              <a:gd name="connsiteY55" fmla="*/ 4162810 h 5631899"/>
              <a:gd name="connsiteX56" fmla="*/ 884815 w 1776620"/>
              <a:gd name="connsiteY56" fmla="*/ 4238069 h 5631899"/>
              <a:gd name="connsiteX57" fmla="*/ 925294 w 1776620"/>
              <a:gd name="connsiteY57" fmla="*/ 4313179 h 5631899"/>
              <a:gd name="connsiteX58" fmla="*/ 966542 w 1776620"/>
              <a:gd name="connsiteY58" fmla="*/ 4388134 h 5631899"/>
              <a:gd name="connsiteX59" fmla="*/ 1008551 w 1776620"/>
              <a:gd name="connsiteY59" fmla="*/ 4462928 h 5631899"/>
              <a:gd name="connsiteX60" fmla="*/ 1051310 w 1776620"/>
              <a:gd name="connsiteY60" fmla="*/ 4537552 h 5631899"/>
              <a:gd name="connsiteX61" fmla="*/ 1094812 w 1776620"/>
              <a:gd name="connsiteY61" fmla="*/ 4612001 h 5631899"/>
              <a:gd name="connsiteX62" fmla="*/ 1139046 w 1776620"/>
              <a:gd name="connsiteY62" fmla="*/ 4686266 h 5631899"/>
              <a:gd name="connsiteX63" fmla="*/ 1184003 w 1776620"/>
              <a:gd name="connsiteY63" fmla="*/ 4760342 h 5631899"/>
              <a:gd name="connsiteX64" fmla="*/ 1229676 w 1776620"/>
              <a:gd name="connsiteY64" fmla="*/ 4834221 h 5631899"/>
              <a:gd name="connsiteX65" fmla="*/ 1276053 w 1776620"/>
              <a:gd name="connsiteY65" fmla="*/ 4907896 h 5631899"/>
              <a:gd name="connsiteX66" fmla="*/ 1323127 w 1776620"/>
              <a:gd name="connsiteY66" fmla="*/ 4981360 h 5631899"/>
              <a:gd name="connsiteX67" fmla="*/ 1370888 w 1776620"/>
              <a:gd name="connsiteY67" fmla="*/ 5054607 h 5631899"/>
              <a:gd name="connsiteX68" fmla="*/ 1419327 w 1776620"/>
              <a:gd name="connsiteY68" fmla="*/ 5127628 h 5631899"/>
              <a:gd name="connsiteX69" fmla="*/ 1468435 w 1776620"/>
              <a:gd name="connsiteY69" fmla="*/ 5200418 h 5631899"/>
              <a:gd name="connsiteX70" fmla="*/ 1518203 w 1776620"/>
              <a:gd name="connsiteY70" fmla="*/ 5272969 h 5631899"/>
              <a:gd name="connsiteX71" fmla="*/ 1568621 w 1776620"/>
              <a:gd name="connsiteY71" fmla="*/ 5345275 h 5631899"/>
              <a:gd name="connsiteX72" fmla="*/ 1619681 w 1776620"/>
              <a:gd name="connsiteY72" fmla="*/ 5417328 h 5631899"/>
              <a:gd name="connsiteX73" fmla="*/ 1671374 w 1776620"/>
              <a:gd name="connsiteY73" fmla="*/ 5489120 h 5631899"/>
              <a:gd name="connsiteX74" fmla="*/ 1723690 w 1776620"/>
              <a:gd name="connsiteY74" fmla="*/ 5560647 h 5631899"/>
              <a:gd name="connsiteX75" fmla="*/ 1776620 w 1776620"/>
              <a:gd name="connsiteY75" fmla="*/ 5631899 h 5631899"/>
              <a:gd name="connsiteX0" fmla="*/ 127017 w 1723690"/>
              <a:gd name="connsiteY0" fmla="*/ 0 h 5560647"/>
              <a:gd name="connsiteX1" fmla="*/ 109867 w 1723690"/>
              <a:gd name="connsiteY1" fmla="*/ 72645 h 5560647"/>
              <a:gd name="connsiteX2" fmla="*/ 93997 w 1723690"/>
              <a:gd name="connsiteY2" fmla="*/ 145526 h 5560647"/>
              <a:gd name="connsiteX3" fmla="*/ 79397 w 1723690"/>
              <a:gd name="connsiteY3" fmla="*/ 218636 h 5560647"/>
              <a:gd name="connsiteX4" fmla="*/ 66059 w 1723690"/>
              <a:gd name="connsiteY4" fmla="*/ 291969 h 5560647"/>
              <a:gd name="connsiteX5" fmla="*/ 53973 w 1723690"/>
              <a:gd name="connsiteY5" fmla="*/ 365516 h 5560647"/>
              <a:gd name="connsiteX6" fmla="*/ 43131 w 1723690"/>
              <a:gd name="connsiteY6" fmla="*/ 439272 h 5560647"/>
              <a:gd name="connsiteX7" fmla="*/ 33523 w 1723690"/>
              <a:gd name="connsiteY7" fmla="*/ 513228 h 5560647"/>
              <a:gd name="connsiteX8" fmla="*/ 25141 w 1723690"/>
              <a:gd name="connsiteY8" fmla="*/ 587379 h 5560647"/>
              <a:gd name="connsiteX9" fmla="*/ 17974 w 1723690"/>
              <a:gd name="connsiteY9" fmla="*/ 661717 h 5560647"/>
              <a:gd name="connsiteX10" fmla="*/ 12014 w 1723690"/>
              <a:gd name="connsiteY10" fmla="*/ 736235 h 5560647"/>
              <a:gd name="connsiteX11" fmla="*/ 7252 w 1723690"/>
              <a:gd name="connsiteY11" fmla="*/ 810927 h 5560647"/>
              <a:gd name="connsiteX12" fmla="*/ 3679 w 1723690"/>
              <a:gd name="connsiteY12" fmla="*/ 885784 h 5560647"/>
              <a:gd name="connsiteX13" fmla="*/ 1285 w 1723690"/>
              <a:gd name="connsiteY13" fmla="*/ 960801 h 5560647"/>
              <a:gd name="connsiteX14" fmla="*/ 62 w 1723690"/>
              <a:gd name="connsiteY14" fmla="*/ 1035970 h 5560647"/>
              <a:gd name="connsiteX15" fmla="*/ 0 w 1723690"/>
              <a:gd name="connsiteY15" fmla="*/ 1111284 h 5560647"/>
              <a:gd name="connsiteX16" fmla="*/ 1090 w 1723690"/>
              <a:gd name="connsiteY16" fmla="*/ 1186736 h 5560647"/>
              <a:gd name="connsiteX17" fmla="*/ 3323 w 1723690"/>
              <a:gd name="connsiteY17" fmla="*/ 1262320 h 5560647"/>
              <a:gd name="connsiteX18" fmla="*/ 6690 w 1723690"/>
              <a:gd name="connsiteY18" fmla="*/ 1338028 h 5560647"/>
              <a:gd name="connsiteX19" fmla="*/ 11182 w 1723690"/>
              <a:gd name="connsiteY19" fmla="*/ 1413854 h 5560647"/>
              <a:gd name="connsiteX20" fmla="*/ 16790 w 1723690"/>
              <a:gd name="connsiteY20" fmla="*/ 1489790 h 5560647"/>
              <a:gd name="connsiteX21" fmla="*/ 23504 w 1723690"/>
              <a:gd name="connsiteY21" fmla="*/ 1565829 h 5560647"/>
              <a:gd name="connsiteX22" fmla="*/ 31316 w 1723690"/>
              <a:gd name="connsiteY22" fmla="*/ 1641964 h 5560647"/>
              <a:gd name="connsiteX23" fmla="*/ 40216 w 1723690"/>
              <a:gd name="connsiteY23" fmla="*/ 1718189 h 5560647"/>
              <a:gd name="connsiteX24" fmla="*/ 50195 w 1723690"/>
              <a:gd name="connsiteY24" fmla="*/ 1794496 h 5560647"/>
              <a:gd name="connsiteX25" fmla="*/ 61245 w 1723690"/>
              <a:gd name="connsiteY25" fmla="*/ 1870879 h 5560647"/>
              <a:gd name="connsiteX26" fmla="*/ 73356 w 1723690"/>
              <a:gd name="connsiteY26" fmla="*/ 1947331 h 5560647"/>
              <a:gd name="connsiteX27" fmla="*/ 86518 w 1723690"/>
              <a:gd name="connsiteY27" fmla="*/ 2023843 h 5560647"/>
              <a:gd name="connsiteX28" fmla="*/ 100723 w 1723690"/>
              <a:gd name="connsiteY28" fmla="*/ 2100410 h 5560647"/>
              <a:gd name="connsiteX29" fmla="*/ 115962 w 1723690"/>
              <a:gd name="connsiteY29" fmla="*/ 2177025 h 5560647"/>
              <a:gd name="connsiteX30" fmla="*/ 132226 w 1723690"/>
              <a:gd name="connsiteY30" fmla="*/ 2253680 h 5560647"/>
              <a:gd name="connsiteX31" fmla="*/ 149504 w 1723690"/>
              <a:gd name="connsiteY31" fmla="*/ 2330369 h 5560647"/>
              <a:gd name="connsiteX32" fmla="*/ 167790 w 1723690"/>
              <a:gd name="connsiteY32" fmla="*/ 2407084 h 5560647"/>
              <a:gd name="connsiteX33" fmla="*/ 187072 w 1723690"/>
              <a:gd name="connsiteY33" fmla="*/ 2483819 h 5560647"/>
              <a:gd name="connsiteX34" fmla="*/ 207342 w 1723690"/>
              <a:gd name="connsiteY34" fmla="*/ 2560567 h 5560647"/>
              <a:gd name="connsiteX35" fmla="*/ 228592 w 1723690"/>
              <a:gd name="connsiteY35" fmla="*/ 2637320 h 5560647"/>
              <a:gd name="connsiteX36" fmla="*/ 250811 w 1723690"/>
              <a:gd name="connsiteY36" fmla="*/ 2714072 h 5560647"/>
              <a:gd name="connsiteX37" fmla="*/ 273991 w 1723690"/>
              <a:gd name="connsiteY37" fmla="*/ 2790815 h 5560647"/>
              <a:gd name="connsiteX38" fmla="*/ 298122 w 1723690"/>
              <a:gd name="connsiteY38" fmla="*/ 2867543 h 5560647"/>
              <a:gd name="connsiteX39" fmla="*/ 323196 w 1723690"/>
              <a:gd name="connsiteY39" fmla="*/ 2944249 h 5560647"/>
              <a:gd name="connsiteX40" fmla="*/ 349203 w 1723690"/>
              <a:gd name="connsiteY40" fmla="*/ 3020926 h 5560647"/>
              <a:gd name="connsiteX41" fmla="*/ 376135 w 1723690"/>
              <a:gd name="connsiteY41" fmla="*/ 3097566 h 5560647"/>
              <a:gd name="connsiteX42" fmla="*/ 403981 w 1723690"/>
              <a:gd name="connsiteY42" fmla="*/ 3174163 h 5560647"/>
              <a:gd name="connsiteX43" fmla="*/ 432734 w 1723690"/>
              <a:gd name="connsiteY43" fmla="*/ 3250710 h 5560647"/>
              <a:gd name="connsiteX44" fmla="*/ 462383 w 1723690"/>
              <a:gd name="connsiteY44" fmla="*/ 3327199 h 5560647"/>
              <a:gd name="connsiteX45" fmla="*/ 492921 w 1723690"/>
              <a:gd name="connsiteY45" fmla="*/ 3403624 h 5560647"/>
              <a:gd name="connsiteX46" fmla="*/ 524337 w 1723690"/>
              <a:gd name="connsiteY46" fmla="*/ 3479979 h 5560647"/>
              <a:gd name="connsiteX47" fmla="*/ 556622 w 1723690"/>
              <a:gd name="connsiteY47" fmla="*/ 3556255 h 5560647"/>
              <a:gd name="connsiteX48" fmla="*/ 589768 w 1723690"/>
              <a:gd name="connsiteY48" fmla="*/ 3632445 h 5560647"/>
              <a:gd name="connsiteX49" fmla="*/ 623765 w 1723690"/>
              <a:gd name="connsiteY49" fmla="*/ 3708544 h 5560647"/>
              <a:gd name="connsiteX50" fmla="*/ 658604 w 1723690"/>
              <a:gd name="connsiteY50" fmla="*/ 3784544 h 5560647"/>
              <a:gd name="connsiteX51" fmla="*/ 694277 w 1723690"/>
              <a:gd name="connsiteY51" fmla="*/ 3860437 h 5560647"/>
              <a:gd name="connsiteX52" fmla="*/ 730773 w 1723690"/>
              <a:gd name="connsiteY52" fmla="*/ 3936218 h 5560647"/>
              <a:gd name="connsiteX53" fmla="*/ 768084 w 1723690"/>
              <a:gd name="connsiteY53" fmla="*/ 4011878 h 5560647"/>
              <a:gd name="connsiteX54" fmla="*/ 806201 w 1723690"/>
              <a:gd name="connsiteY54" fmla="*/ 4087411 h 5560647"/>
              <a:gd name="connsiteX55" fmla="*/ 845114 w 1723690"/>
              <a:gd name="connsiteY55" fmla="*/ 4162810 h 5560647"/>
              <a:gd name="connsiteX56" fmla="*/ 884815 w 1723690"/>
              <a:gd name="connsiteY56" fmla="*/ 4238069 h 5560647"/>
              <a:gd name="connsiteX57" fmla="*/ 925294 w 1723690"/>
              <a:gd name="connsiteY57" fmla="*/ 4313179 h 5560647"/>
              <a:gd name="connsiteX58" fmla="*/ 966542 w 1723690"/>
              <a:gd name="connsiteY58" fmla="*/ 4388134 h 5560647"/>
              <a:gd name="connsiteX59" fmla="*/ 1008551 w 1723690"/>
              <a:gd name="connsiteY59" fmla="*/ 4462928 h 5560647"/>
              <a:gd name="connsiteX60" fmla="*/ 1051310 w 1723690"/>
              <a:gd name="connsiteY60" fmla="*/ 4537552 h 5560647"/>
              <a:gd name="connsiteX61" fmla="*/ 1094812 w 1723690"/>
              <a:gd name="connsiteY61" fmla="*/ 4612001 h 5560647"/>
              <a:gd name="connsiteX62" fmla="*/ 1139046 w 1723690"/>
              <a:gd name="connsiteY62" fmla="*/ 4686266 h 5560647"/>
              <a:gd name="connsiteX63" fmla="*/ 1184003 w 1723690"/>
              <a:gd name="connsiteY63" fmla="*/ 4760342 h 5560647"/>
              <a:gd name="connsiteX64" fmla="*/ 1229676 w 1723690"/>
              <a:gd name="connsiteY64" fmla="*/ 4834221 h 5560647"/>
              <a:gd name="connsiteX65" fmla="*/ 1276053 w 1723690"/>
              <a:gd name="connsiteY65" fmla="*/ 4907896 h 5560647"/>
              <a:gd name="connsiteX66" fmla="*/ 1323127 w 1723690"/>
              <a:gd name="connsiteY66" fmla="*/ 4981360 h 5560647"/>
              <a:gd name="connsiteX67" fmla="*/ 1370888 w 1723690"/>
              <a:gd name="connsiteY67" fmla="*/ 5054607 h 5560647"/>
              <a:gd name="connsiteX68" fmla="*/ 1419327 w 1723690"/>
              <a:gd name="connsiteY68" fmla="*/ 5127628 h 5560647"/>
              <a:gd name="connsiteX69" fmla="*/ 1468435 w 1723690"/>
              <a:gd name="connsiteY69" fmla="*/ 5200418 h 5560647"/>
              <a:gd name="connsiteX70" fmla="*/ 1518203 w 1723690"/>
              <a:gd name="connsiteY70" fmla="*/ 5272969 h 5560647"/>
              <a:gd name="connsiteX71" fmla="*/ 1568621 w 1723690"/>
              <a:gd name="connsiteY71" fmla="*/ 5345275 h 5560647"/>
              <a:gd name="connsiteX72" fmla="*/ 1619681 w 1723690"/>
              <a:gd name="connsiteY72" fmla="*/ 5417328 h 5560647"/>
              <a:gd name="connsiteX73" fmla="*/ 1671374 w 1723690"/>
              <a:gd name="connsiteY73" fmla="*/ 5489120 h 5560647"/>
              <a:gd name="connsiteX74" fmla="*/ 1723690 w 1723690"/>
              <a:gd name="connsiteY74" fmla="*/ 5560647 h 5560647"/>
              <a:gd name="connsiteX0" fmla="*/ 127017 w 1671374"/>
              <a:gd name="connsiteY0" fmla="*/ 0 h 5489120"/>
              <a:gd name="connsiteX1" fmla="*/ 109867 w 1671374"/>
              <a:gd name="connsiteY1" fmla="*/ 72645 h 5489120"/>
              <a:gd name="connsiteX2" fmla="*/ 93997 w 1671374"/>
              <a:gd name="connsiteY2" fmla="*/ 145526 h 5489120"/>
              <a:gd name="connsiteX3" fmla="*/ 79397 w 1671374"/>
              <a:gd name="connsiteY3" fmla="*/ 218636 h 5489120"/>
              <a:gd name="connsiteX4" fmla="*/ 66059 w 1671374"/>
              <a:gd name="connsiteY4" fmla="*/ 291969 h 5489120"/>
              <a:gd name="connsiteX5" fmla="*/ 53973 w 1671374"/>
              <a:gd name="connsiteY5" fmla="*/ 365516 h 5489120"/>
              <a:gd name="connsiteX6" fmla="*/ 43131 w 1671374"/>
              <a:gd name="connsiteY6" fmla="*/ 439272 h 5489120"/>
              <a:gd name="connsiteX7" fmla="*/ 33523 w 1671374"/>
              <a:gd name="connsiteY7" fmla="*/ 513228 h 5489120"/>
              <a:gd name="connsiteX8" fmla="*/ 25141 w 1671374"/>
              <a:gd name="connsiteY8" fmla="*/ 587379 h 5489120"/>
              <a:gd name="connsiteX9" fmla="*/ 17974 w 1671374"/>
              <a:gd name="connsiteY9" fmla="*/ 661717 h 5489120"/>
              <a:gd name="connsiteX10" fmla="*/ 12014 w 1671374"/>
              <a:gd name="connsiteY10" fmla="*/ 736235 h 5489120"/>
              <a:gd name="connsiteX11" fmla="*/ 7252 w 1671374"/>
              <a:gd name="connsiteY11" fmla="*/ 810927 h 5489120"/>
              <a:gd name="connsiteX12" fmla="*/ 3679 w 1671374"/>
              <a:gd name="connsiteY12" fmla="*/ 885784 h 5489120"/>
              <a:gd name="connsiteX13" fmla="*/ 1285 w 1671374"/>
              <a:gd name="connsiteY13" fmla="*/ 960801 h 5489120"/>
              <a:gd name="connsiteX14" fmla="*/ 62 w 1671374"/>
              <a:gd name="connsiteY14" fmla="*/ 1035970 h 5489120"/>
              <a:gd name="connsiteX15" fmla="*/ 0 w 1671374"/>
              <a:gd name="connsiteY15" fmla="*/ 1111284 h 5489120"/>
              <a:gd name="connsiteX16" fmla="*/ 1090 w 1671374"/>
              <a:gd name="connsiteY16" fmla="*/ 1186736 h 5489120"/>
              <a:gd name="connsiteX17" fmla="*/ 3323 w 1671374"/>
              <a:gd name="connsiteY17" fmla="*/ 1262320 h 5489120"/>
              <a:gd name="connsiteX18" fmla="*/ 6690 w 1671374"/>
              <a:gd name="connsiteY18" fmla="*/ 1338028 h 5489120"/>
              <a:gd name="connsiteX19" fmla="*/ 11182 w 1671374"/>
              <a:gd name="connsiteY19" fmla="*/ 1413854 h 5489120"/>
              <a:gd name="connsiteX20" fmla="*/ 16790 w 1671374"/>
              <a:gd name="connsiteY20" fmla="*/ 1489790 h 5489120"/>
              <a:gd name="connsiteX21" fmla="*/ 23504 w 1671374"/>
              <a:gd name="connsiteY21" fmla="*/ 1565829 h 5489120"/>
              <a:gd name="connsiteX22" fmla="*/ 31316 w 1671374"/>
              <a:gd name="connsiteY22" fmla="*/ 1641964 h 5489120"/>
              <a:gd name="connsiteX23" fmla="*/ 40216 w 1671374"/>
              <a:gd name="connsiteY23" fmla="*/ 1718189 h 5489120"/>
              <a:gd name="connsiteX24" fmla="*/ 50195 w 1671374"/>
              <a:gd name="connsiteY24" fmla="*/ 1794496 h 5489120"/>
              <a:gd name="connsiteX25" fmla="*/ 61245 w 1671374"/>
              <a:gd name="connsiteY25" fmla="*/ 1870879 h 5489120"/>
              <a:gd name="connsiteX26" fmla="*/ 73356 w 1671374"/>
              <a:gd name="connsiteY26" fmla="*/ 1947331 h 5489120"/>
              <a:gd name="connsiteX27" fmla="*/ 86518 w 1671374"/>
              <a:gd name="connsiteY27" fmla="*/ 2023843 h 5489120"/>
              <a:gd name="connsiteX28" fmla="*/ 100723 w 1671374"/>
              <a:gd name="connsiteY28" fmla="*/ 2100410 h 5489120"/>
              <a:gd name="connsiteX29" fmla="*/ 115962 w 1671374"/>
              <a:gd name="connsiteY29" fmla="*/ 2177025 h 5489120"/>
              <a:gd name="connsiteX30" fmla="*/ 132226 w 1671374"/>
              <a:gd name="connsiteY30" fmla="*/ 2253680 h 5489120"/>
              <a:gd name="connsiteX31" fmla="*/ 149504 w 1671374"/>
              <a:gd name="connsiteY31" fmla="*/ 2330369 h 5489120"/>
              <a:gd name="connsiteX32" fmla="*/ 167790 w 1671374"/>
              <a:gd name="connsiteY32" fmla="*/ 2407084 h 5489120"/>
              <a:gd name="connsiteX33" fmla="*/ 187072 w 1671374"/>
              <a:gd name="connsiteY33" fmla="*/ 2483819 h 5489120"/>
              <a:gd name="connsiteX34" fmla="*/ 207342 w 1671374"/>
              <a:gd name="connsiteY34" fmla="*/ 2560567 h 5489120"/>
              <a:gd name="connsiteX35" fmla="*/ 228592 w 1671374"/>
              <a:gd name="connsiteY35" fmla="*/ 2637320 h 5489120"/>
              <a:gd name="connsiteX36" fmla="*/ 250811 w 1671374"/>
              <a:gd name="connsiteY36" fmla="*/ 2714072 h 5489120"/>
              <a:gd name="connsiteX37" fmla="*/ 273991 w 1671374"/>
              <a:gd name="connsiteY37" fmla="*/ 2790815 h 5489120"/>
              <a:gd name="connsiteX38" fmla="*/ 298122 w 1671374"/>
              <a:gd name="connsiteY38" fmla="*/ 2867543 h 5489120"/>
              <a:gd name="connsiteX39" fmla="*/ 323196 w 1671374"/>
              <a:gd name="connsiteY39" fmla="*/ 2944249 h 5489120"/>
              <a:gd name="connsiteX40" fmla="*/ 349203 w 1671374"/>
              <a:gd name="connsiteY40" fmla="*/ 3020926 h 5489120"/>
              <a:gd name="connsiteX41" fmla="*/ 376135 w 1671374"/>
              <a:gd name="connsiteY41" fmla="*/ 3097566 h 5489120"/>
              <a:gd name="connsiteX42" fmla="*/ 403981 w 1671374"/>
              <a:gd name="connsiteY42" fmla="*/ 3174163 h 5489120"/>
              <a:gd name="connsiteX43" fmla="*/ 432734 w 1671374"/>
              <a:gd name="connsiteY43" fmla="*/ 3250710 h 5489120"/>
              <a:gd name="connsiteX44" fmla="*/ 462383 w 1671374"/>
              <a:gd name="connsiteY44" fmla="*/ 3327199 h 5489120"/>
              <a:gd name="connsiteX45" fmla="*/ 492921 w 1671374"/>
              <a:gd name="connsiteY45" fmla="*/ 3403624 h 5489120"/>
              <a:gd name="connsiteX46" fmla="*/ 524337 w 1671374"/>
              <a:gd name="connsiteY46" fmla="*/ 3479979 h 5489120"/>
              <a:gd name="connsiteX47" fmla="*/ 556622 w 1671374"/>
              <a:gd name="connsiteY47" fmla="*/ 3556255 h 5489120"/>
              <a:gd name="connsiteX48" fmla="*/ 589768 w 1671374"/>
              <a:gd name="connsiteY48" fmla="*/ 3632445 h 5489120"/>
              <a:gd name="connsiteX49" fmla="*/ 623765 w 1671374"/>
              <a:gd name="connsiteY49" fmla="*/ 3708544 h 5489120"/>
              <a:gd name="connsiteX50" fmla="*/ 658604 w 1671374"/>
              <a:gd name="connsiteY50" fmla="*/ 3784544 h 5489120"/>
              <a:gd name="connsiteX51" fmla="*/ 694277 w 1671374"/>
              <a:gd name="connsiteY51" fmla="*/ 3860437 h 5489120"/>
              <a:gd name="connsiteX52" fmla="*/ 730773 w 1671374"/>
              <a:gd name="connsiteY52" fmla="*/ 3936218 h 5489120"/>
              <a:gd name="connsiteX53" fmla="*/ 768084 w 1671374"/>
              <a:gd name="connsiteY53" fmla="*/ 4011878 h 5489120"/>
              <a:gd name="connsiteX54" fmla="*/ 806201 w 1671374"/>
              <a:gd name="connsiteY54" fmla="*/ 4087411 h 5489120"/>
              <a:gd name="connsiteX55" fmla="*/ 845114 w 1671374"/>
              <a:gd name="connsiteY55" fmla="*/ 4162810 h 5489120"/>
              <a:gd name="connsiteX56" fmla="*/ 884815 w 1671374"/>
              <a:gd name="connsiteY56" fmla="*/ 4238069 h 5489120"/>
              <a:gd name="connsiteX57" fmla="*/ 925294 w 1671374"/>
              <a:gd name="connsiteY57" fmla="*/ 4313179 h 5489120"/>
              <a:gd name="connsiteX58" fmla="*/ 966542 w 1671374"/>
              <a:gd name="connsiteY58" fmla="*/ 4388134 h 5489120"/>
              <a:gd name="connsiteX59" fmla="*/ 1008551 w 1671374"/>
              <a:gd name="connsiteY59" fmla="*/ 4462928 h 5489120"/>
              <a:gd name="connsiteX60" fmla="*/ 1051310 w 1671374"/>
              <a:gd name="connsiteY60" fmla="*/ 4537552 h 5489120"/>
              <a:gd name="connsiteX61" fmla="*/ 1094812 w 1671374"/>
              <a:gd name="connsiteY61" fmla="*/ 4612001 h 5489120"/>
              <a:gd name="connsiteX62" fmla="*/ 1139046 w 1671374"/>
              <a:gd name="connsiteY62" fmla="*/ 4686266 h 5489120"/>
              <a:gd name="connsiteX63" fmla="*/ 1184003 w 1671374"/>
              <a:gd name="connsiteY63" fmla="*/ 4760342 h 5489120"/>
              <a:gd name="connsiteX64" fmla="*/ 1229676 w 1671374"/>
              <a:gd name="connsiteY64" fmla="*/ 4834221 h 5489120"/>
              <a:gd name="connsiteX65" fmla="*/ 1276053 w 1671374"/>
              <a:gd name="connsiteY65" fmla="*/ 4907896 h 5489120"/>
              <a:gd name="connsiteX66" fmla="*/ 1323127 w 1671374"/>
              <a:gd name="connsiteY66" fmla="*/ 4981360 h 5489120"/>
              <a:gd name="connsiteX67" fmla="*/ 1370888 w 1671374"/>
              <a:gd name="connsiteY67" fmla="*/ 5054607 h 5489120"/>
              <a:gd name="connsiteX68" fmla="*/ 1419327 w 1671374"/>
              <a:gd name="connsiteY68" fmla="*/ 5127628 h 5489120"/>
              <a:gd name="connsiteX69" fmla="*/ 1468435 w 1671374"/>
              <a:gd name="connsiteY69" fmla="*/ 5200418 h 5489120"/>
              <a:gd name="connsiteX70" fmla="*/ 1518203 w 1671374"/>
              <a:gd name="connsiteY70" fmla="*/ 5272969 h 5489120"/>
              <a:gd name="connsiteX71" fmla="*/ 1568621 w 1671374"/>
              <a:gd name="connsiteY71" fmla="*/ 5345275 h 5489120"/>
              <a:gd name="connsiteX72" fmla="*/ 1619681 w 1671374"/>
              <a:gd name="connsiteY72" fmla="*/ 5417328 h 5489120"/>
              <a:gd name="connsiteX73" fmla="*/ 1671374 w 1671374"/>
              <a:gd name="connsiteY73" fmla="*/ 5489120 h 5489120"/>
              <a:gd name="connsiteX0" fmla="*/ 127017 w 1619681"/>
              <a:gd name="connsiteY0" fmla="*/ 0 h 5417328"/>
              <a:gd name="connsiteX1" fmla="*/ 109867 w 1619681"/>
              <a:gd name="connsiteY1" fmla="*/ 72645 h 5417328"/>
              <a:gd name="connsiteX2" fmla="*/ 93997 w 1619681"/>
              <a:gd name="connsiteY2" fmla="*/ 145526 h 5417328"/>
              <a:gd name="connsiteX3" fmla="*/ 79397 w 1619681"/>
              <a:gd name="connsiteY3" fmla="*/ 218636 h 5417328"/>
              <a:gd name="connsiteX4" fmla="*/ 66059 w 1619681"/>
              <a:gd name="connsiteY4" fmla="*/ 291969 h 5417328"/>
              <a:gd name="connsiteX5" fmla="*/ 53973 w 1619681"/>
              <a:gd name="connsiteY5" fmla="*/ 365516 h 5417328"/>
              <a:gd name="connsiteX6" fmla="*/ 43131 w 1619681"/>
              <a:gd name="connsiteY6" fmla="*/ 439272 h 5417328"/>
              <a:gd name="connsiteX7" fmla="*/ 33523 w 1619681"/>
              <a:gd name="connsiteY7" fmla="*/ 513228 h 5417328"/>
              <a:gd name="connsiteX8" fmla="*/ 25141 w 1619681"/>
              <a:gd name="connsiteY8" fmla="*/ 587379 h 5417328"/>
              <a:gd name="connsiteX9" fmla="*/ 17974 w 1619681"/>
              <a:gd name="connsiteY9" fmla="*/ 661717 h 5417328"/>
              <a:gd name="connsiteX10" fmla="*/ 12014 w 1619681"/>
              <a:gd name="connsiteY10" fmla="*/ 736235 h 5417328"/>
              <a:gd name="connsiteX11" fmla="*/ 7252 w 1619681"/>
              <a:gd name="connsiteY11" fmla="*/ 810927 h 5417328"/>
              <a:gd name="connsiteX12" fmla="*/ 3679 w 1619681"/>
              <a:gd name="connsiteY12" fmla="*/ 885784 h 5417328"/>
              <a:gd name="connsiteX13" fmla="*/ 1285 w 1619681"/>
              <a:gd name="connsiteY13" fmla="*/ 960801 h 5417328"/>
              <a:gd name="connsiteX14" fmla="*/ 62 w 1619681"/>
              <a:gd name="connsiteY14" fmla="*/ 1035970 h 5417328"/>
              <a:gd name="connsiteX15" fmla="*/ 0 w 1619681"/>
              <a:gd name="connsiteY15" fmla="*/ 1111284 h 5417328"/>
              <a:gd name="connsiteX16" fmla="*/ 1090 w 1619681"/>
              <a:gd name="connsiteY16" fmla="*/ 1186736 h 5417328"/>
              <a:gd name="connsiteX17" fmla="*/ 3323 w 1619681"/>
              <a:gd name="connsiteY17" fmla="*/ 1262320 h 5417328"/>
              <a:gd name="connsiteX18" fmla="*/ 6690 w 1619681"/>
              <a:gd name="connsiteY18" fmla="*/ 1338028 h 5417328"/>
              <a:gd name="connsiteX19" fmla="*/ 11182 w 1619681"/>
              <a:gd name="connsiteY19" fmla="*/ 1413854 h 5417328"/>
              <a:gd name="connsiteX20" fmla="*/ 16790 w 1619681"/>
              <a:gd name="connsiteY20" fmla="*/ 1489790 h 5417328"/>
              <a:gd name="connsiteX21" fmla="*/ 23504 w 1619681"/>
              <a:gd name="connsiteY21" fmla="*/ 1565829 h 5417328"/>
              <a:gd name="connsiteX22" fmla="*/ 31316 w 1619681"/>
              <a:gd name="connsiteY22" fmla="*/ 1641964 h 5417328"/>
              <a:gd name="connsiteX23" fmla="*/ 40216 w 1619681"/>
              <a:gd name="connsiteY23" fmla="*/ 1718189 h 5417328"/>
              <a:gd name="connsiteX24" fmla="*/ 50195 w 1619681"/>
              <a:gd name="connsiteY24" fmla="*/ 1794496 h 5417328"/>
              <a:gd name="connsiteX25" fmla="*/ 61245 w 1619681"/>
              <a:gd name="connsiteY25" fmla="*/ 1870879 h 5417328"/>
              <a:gd name="connsiteX26" fmla="*/ 73356 w 1619681"/>
              <a:gd name="connsiteY26" fmla="*/ 1947331 h 5417328"/>
              <a:gd name="connsiteX27" fmla="*/ 86518 w 1619681"/>
              <a:gd name="connsiteY27" fmla="*/ 2023843 h 5417328"/>
              <a:gd name="connsiteX28" fmla="*/ 100723 w 1619681"/>
              <a:gd name="connsiteY28" fmla="*/ 2100410 h 5417328"/>
              <a:gd name="connsiteX29" fmla="*/ 115962 w 1619681"/>
              <a:gd name="connsiteY29" fmla="*/ 2177025 h 5417328"/>
              <a:gd name="connsiteX30" fmla="*/ 132226 w 1619681"/>
              <a:gd name="connsiteY30" fmla="*/ 2253680 h 5417328"/>
              <a:gd name="connsiteX31" fmla="*/ 149504 w 1619681"/>
              <a:gd name="connsiteY31" fmla="*/ 2330369 h 5417328"/>
              <a:gd name="connsiteX32" fmla="*/ 167790 w 1619681"/>
              <a:gd name="connsiteY32" fmla="*/ 2407084 h 5417328"/>
              <a:gd name="connsiteX33" fmla="*/ 187072 w 1619681"/>
              <a:gd name="connsiteY33" fmla="*/ 2483819 h 5417328"/>
              <a:gd name="connsiteX34" fmla="*/ 207342 w 1619681"/>
              <a:gd name="connsiteY34" fmla="*/ 2560567 h 5417328"/>
              <a:gd name="connsiteX35" fmla="*/ 228592 w 1619681"/>
              <a:gd name="connsiteY35" fmla="*/ 2637320 h 5417328"/>
              <a:gd name="connsiteX36" fmla="*/ 250811 w 1619681"/>
              <a:gd name="connsiteY36" fmla="*/ 2714072 h 5417328"/>
              <a:gd name="connsiteX37" fmla="*/ 273991 w 1619681"/>
              <a:gd name="connsiteY37" fmla="*/ 2790815 h 5417328"/>
              <a:gd name="connsiteX38" fmla="*/ 298122 w 1619681"/>
              <a:gd name="connsiteY38" fmla="*/ 2867543 h 5417328"/>
              <a:gd name="connsiteX39" fmla="*/ 323196 w 1619681"/>
              <a:gd name="connsiteY39" fmla="*/ 2944249 h 5417328"/>
              <a:gd name="connsiteX40" fmla="*/ 349203 w 1619681"/>
              <a:gd name="connsiteY40" fmla="*/ 3020926 h 5417328"/>
              <a:gd name="connsiteX41" fmla="*/ 376135 w 1619681"/>
              <a:gd name="connsiteY41" fmla="*/ 3097566 h 5417328"/>
              <a:gd name="connsiteX42" fmla="*/ 403981 w 1619681"/>
              <a:gd name="connsiteY42" fmla="*/ 3174163 h 5417328"/>
              <a:gd name="connsiteX43" fmla="*/ 432734 w 1619681"/>
              <a:gd name="connsiteY43" fmla="*/ 3250710 h 5417328"/>
              <a:gd name="connsiteX44" fmla="*/ 462383 w 1619681"/>
              <a:gd name="connsiteY44" fmla="*/ 3327199 h 5417328"/>
              <a:gd name="connsiteX45" fmla="*/ 492921 w 1619681"/>
              <a:gd name="connsiteY45" fmla="*/ 3403624 h 5417328"/>
              <a:gd name="connsiteX46" fmla="*/ 524337 w 1619681"/>
              <a:gd name="connsiteY46" fmla="*/ 3479979 h 5417328"/>
              <a:gd name="connsiteX47" fmla="*/ 556622 w 1619681"/>
              <a:gd name="connsiteY47" fmla="*/ 3556255 h 5417328"/>
              <a:gd name="connsiteX48" fmla="*/ 589768 w 1619681"/>
              <a:gd name="connsiteY48" fmla="*/ 3632445 h 5417328"/>
              <a:gd name="connsiteX49" fmla="*/ 623765 w 1619681"/>
              <a:gd name="connsiteY49" fmla="*/ 3708544 h 5417328"/>
              <a:gd name="connsiteX50" fmla="*/ 658604 w 1619681"/>
              <a:gd name="connsiteY50" fmla="*/ 3784544 h 5417328"/>
              <a:gd name="connsiteX51" fmla="*/ 694277 w 1619681"/>
              <a:gd name="connsiteY51" fmla="*/ 3860437 h 5417328"/>
              <a:gd name="connsiteX52" fmla="*/ 730773 w 1619681"/>
              <a:gd name="connsiteY52" fmla="*/ 3936218 h 5417328"/>
              <a:gd name="connsiteX53" fmla="*/ 768084 w 1619681"/>
              <a:gd name="connsiteY53" fmla="*/ 4011878 h 5417328"/>
              <a:gd name="connsiteX54" fmla="*/ 806201 w 1619681"/>
              <a:gd name="connsiteY54" fmla="*/ 4087411 h 5417328"/>
              <a:gd name="connsiteX55" fmla="*/ 845114 w 1619681"/>
              <a:gd name="connsiteY55" fmla="*/ 4162810 h 5417328"/>
              <a:gd name="connsiteX56" fmla="*/ 884815 w 1619681"/>
              <a:gd name="connsiteY56" fmla="*/ 4238069 h 5417328"/>
              <a:gd name="connsiteX57" fmla="*/ 925294 w 1619681"/>
              <a:gd name="connsiteY57" fmla="*/ 4313179 h 5417328"/>
              <a:gd name="connsiteX58" fmla="*/ 966542 w 1619681"/>
              <a:gd name="connsiteY58" fmla="*/ 4388134 h 5417328"/>
              <a:gd name="connsiteX59" fmla="*/ 1008551 w 1619681"/>
              <a:gd name="connsiteY59" fmla="*/ 4462928 h 5417328"/>
              <a:gd name="connsiteX60" fmla="*/ 1051310 w 1619681"/>
              <a:gd name="connsiteY60" fmla="*/ 4537552 h 5417328"/>
              <a:gd name="connsiteX61" fmla="*/ 1094812 w 1619681"/>
              <a:gd name="connsiteY61" fmla="*/ 4612001 h 5417328"/>
              <a:gd name="connsiteX62" fmla="*/ 1139046 w 1619681"/>
              <a:gd name="connsiteY62" fmla="*/ 4686266 h 5417328"/>
              <a:gd name="connsiteX63" fmla="*/ 1184003 w 1619681"/>
              <a:gd name="connsiteY63" fmla="*/ 4760342 h 5417328"/>
              <a:gd name="connsiteX64" fmla="*/ 1229676 w 1619681"/>
              <a:gd name="connsiteY64" fmla="*/ 4834221 h 5417328"/>
              <a:gd name="connsiteX65" fmla="*/ 1276053 w 1619681"/>
              <a:gd name="connsiteY65" fmla="*/ 4907896 h 5417328"/>
              <a:gd name="connsiteX66" fmla="*/ 1323127 w 1619681"/>
              <a:gd name="connsiteY66" fmla="*/ 4981360 h 5417328"/>
              <a:gd name="connsiteX67" fmla="*/ 1370888 w 1619681"/>
              <a:gd name="connsiteY67" fmla="*/ 5054607 h 5417328"/>
              <a:gd name="connsiteX68" fmla="*/ 1419327 w 1619681"/>
              <a:gd name="connsiteY68" fmla="*/ 5127628 h 5417328"/>
              <a:gd name="connsiteX69" fmla="*/ 1468435 w 1619681"/>
              <a:gd name="connsiteY69" fmla="*/ 5200418 h 5417328"/>
              <a:gd name="connsiteX70" fmla="*/ 1518203 w 1619681"/>
              <a:gd name="connsiteY70" fmla="*/ 5272969 h 5417328"/>
              <a:gd name="connsiteX71" fmla="*/ 1568621 w 1619681"/>
              <a:gd name="connsiteY71" fmla="*/ 5345275 h 5417328"/>
              <a:gd name="connsiteX72" fmla="*/ 1619681 w 1619681"/>
              <a:gd name="connsiteY72" fmla="*/ 5417328 h 5417328"/>
              <a:gd name="connsiteX0" fmla="*/ 127017 w 1568621"/>
              <a:gd name="connsiteY0" fmla="*/ 0 h 5345275"/>
              <a:gd name="connsiteX1" fmla="*/ 109867 w 1568621"/>
              <a:gd name="connsiteY1" fmla="*/ 72645 h 5345275"/>
              <a:gd name="connsiteX2" fmla="*/ 93997 w 1568621"/>
              <a:gd name="connsiteY2" fmla="*/ 145526 h 5345275"/>
              <a:gd name="connsiteX3" fmla="*/ 79397 w 1568621"/>
              <a:gd name="connsiteY3" fmla="*/ 218636 h 5345275"/>
              <a:gd name="connsiteX4" fmla="*/ 66059 w 1568621"/>
              <a:gd name="connsiteY4" fmla="*/ 291969 h 5345275"/>
              <a:gd name="connsiteX5" fmla="*/ 53973 w 1568621"/>
              <a:gd name="connsiteY5" fmla="*/ 365516 h 5345275"/>
              <a:gd name="connsiteX6" fmla="*/ 43131 w 1568621"/>
              <a:gd name="connsiteY6" fmla="*/ 439272 h 5345275"/>
              <a:gd name="connsiteX7" fmla="*/ 33523 w 1568621"/>
              <a:gd name="connsiteY7" fmla="*/ 513228 h 5345275"/>
              <a:gd name="connsiteX8" fmla="*/ 25141 w 1568621"/>
              <a:gd name="connsiteY8" fmla="*/ 587379 h 5345275"/>
              <a:gd name="connsiteX9" fmla="*/ 17974 w 1568621"/>
              <a:gd name="connsiteY9" fmla="*/ 661717 h 5345275"/>
              <a:gd name="connsiteX10" fmla="*/ 12014 w 1568621"/>
              <a:gd name="connsiteY10" fmla="*/ 736235 h 5345275"/>
              <a:gd name="connsiteX11" fmla="*/ 7252 w 1568621"/>
              <a:gd name="connsiteY11" fmla="*/ 810927 h 5345275"/>
              <a:gd name="connsiteX12" fmla="*/ 3679 w 1568621"/>
              <a:gd name="connsiteY12" fmla="*/ 885784 h 5345275"/>
              <a:gd name="connsiteX13" fmla="*/ 1285 w 1568621"/>
              <a:gd name="connsiteY13" fmla="*/ 960801 h 5345275"/>
              <a:gd name="connsiteX14" fmla="*/ 62 w 1568621"/>
              <a:gd name="connsiteY14" fmla="*/ 1035970 h 5345275"/>
              <a:gd name="connsiteX15" fmla="*/ 0 w 1568621"/>
              <a:gd name="connsiteY15" fmla="*/ 1111284 h 5345275"/>
              <a:gd name="connsiteX16" fmla="*/ 1090 w 1568621"/>
              <a:gd name="connsiteY16" fmla="*/ 1186736 h 5345275"/>
              <a:gd name="connsiteX17" fmla="*/ 3323 w 1568621"/>
              <a:gd name="connsiteY17" fmla="*/ 1262320 h 5345275"/>
              <a:gd name="connsiteX18" fmla="*/ 6690 w 1568621"/>
              <a:gd name="connsiteY18" fmla="*/ 1338028 h 5345275"/>
              <a:gd name="connsiteX19" fmla="*/ 11182 w 1568621"/>
              <a:gd name="connsiteY19" fmla="*/ 1413854 h 5345275"/>
              <a:gd name="connsiteX20" fmla="*/ 16790 w 1568621"/>
              <a:gd name="connsiteY20" fmla="*/ 1489790 h 5345275"/>
              <a:gd name="connsiteX21" fmla="*/ 23504 w 1568621"/>
              <a:gd name="connsiteY21" fmla="*/ 1565829 h 5345275"/>
              <a:gd name="connsiteX22" fmla="*/ 31316 w 1568621"/>
              <a:gd name="connsiteY22" fmla="*/ 1641964 h 5345275"/>
              <a:gd name="connsiteX23" fmla="*/ 40216 w 1568621"/>
              <a:gd name="connsiteY23" fmla="*/ 1718189 h 5345275"/>
              <a:gd name="connsiteX24" fmla="*/ 50195 w 1568621"/>
              <a:gd name="connsiteY24" fmla="*/ 1794496 h 5345275"/>
              <a:gd name="connsiteX25" fmla="*/ 61245 w 1568621"/>
              <a:gd name="connsiteY25" fmla="*/ 1870879 h 5345275"/>
              <a:gd name="connsiteX26" fmla="*/ 73356 w 1568621"/>
              <a:gd name="connsiteY26" fmla="*/ 1947331 h 5345275"/>
              <a:gd name="connsiteX27" fmla="*/ 86518 w 1568621"/>
              <a:gd name="connsiteY27" fmla="*/ 2023843 h 5345275"/>
              <a:gd name="connsiteX28" fmla="*/ 100723 w 1568621"/>
              <a:gd name="connsiteY28" fmla="*/ 2100410 h 5345275"/>
              <a:gd name="connsiteX29" fmla="*/ 115962 w 1568621"/>
              <a:gd name="connsiteY29" fmla="*/ 2177025 h 5345275"/>
              <a:gd name="connsiteX30" fmla="*/ 132226 w 1568621"/>
              <a:gd name="connsiteY30" fmla="*/ 2253680 h 5345275"/>
              <a:gd name="connsiteX31" fmla="*/ 149504 w 1568621"/>
              <a:gd name="connsiteY31" fmla="*/ 2330369 h 5345275"/>
              <a:gd name="connsiteX32" fmla="*/ 167790 w 1568621"/>
              <a:gd name="connsiteY32" fmla="*/ 2407084 h 5345275"/>
              <a:gd name="connsiteX33" fmla="*/ 187072 w 1568621"/>
              <a:gd name="connsiteY33" fmla="*/ 2483819 h 5345275"/>
              <a:gd name="connsiteX34" fmla="*/ 207342 w 1568621"/>
              <a:gd name="connsiteY34" fmla="*/ 2560567 h 5345275"/>
              <a:gd name="connsiteX35" fmla="*/ 228592 w 1568621"/>
              <a:gd name="connsiteY35" fmla="*/ 2637320 h 5345275"/>
              <a:gd name="connsiteX36" fmla="*/ 250811 w 1568621"/>
              <a:gd name="connsiteY36" fmla="*/ 2714072 h 5345275"/>
              <a:gd name="connsiteX37" fmla="*/ 273991 w 1568621"/>
              <a:gd name="connsiteY37" fmla="*/ 2790815 h 5345275"/>
              <a:gd name="connsiteX38" fmla="*/ 298122 w 1568621"/>
              <a:gd name="connsiteY38" fmla="*/ 2867543 h 5345275"/>
              <a:gd name="connsiteX39" fmla="*/ 323196 w 1568621"/>
              <a:gd name="connsiteY39" fmla="*/ 2944249 h 5345275"/>
              <a:gd name="connsiteX40" fmla="*/ 349203 w 1568621"/>
              <a:gd name="connsiteY40" fmla="*/ 3020926 h 5345275"/>
              <a:gd name="connsiteX41" fmla="*/ 376135 w 1568621"/>
              <a:gd name="connsiteY41" fmla="*/ 3097566 h 5345275"/>
              <a:gd name="connsiteX42" fmla="*/ 403981 w 1568621"/>
              <a:gd name="connsiteY42" fmla="*/ 3174163 h 5345275"/>
              <a:gd name="connsiteX43" fmla="*/ 432734 w 1568621"/>
              <a:gd name="connsiteY43" fmla="*/ 3250710 h 5345275"/>
              <a:gd name="connsiteX44" fmla="*/ 462383 w 1568621"/>
              <a:gd name="connsiteY44" fmla="*/ 3327199 h 5345275"/>
              <a:gd name="connsiteX45" fmla="*/ 492921 w 1568621"/>
              <a:gd name="connsiteY45" fmla="*/ 3403624 h 5345275"/>
              <a:gd name="connsiteX46" fmla="*/ 524337 w 1568621"/>
              <a:gd name="connsiteY46" fmla="*/ 3479979 h 5345275"/>
              <a:gd name="connsiteX47" fmla="*/ 556622 w 1568621"/>
              <a:gd name="connsiteY47" fmla="*/ 3556255 h 5345275"/>
              <a:gd name="connsiteX48" fmla="*/ 589768 w 1568621"/>
              <a:gd name="connsiteY48" fmla="*/ 3632445 h 5345275"/>
              <a:gd name="connsiteX49" fmla="*/ 623765 w 1568621"/>
              <a:gd name="connsiteY49" fmla="*/ 3708544 h 5345275"/>
              <a:gd name="connsiteX50" fmla="*/ 658604 w 1568621"/>
              <a:gd name="connsiteY50" fmla="*/ 3784544 h 5345275"/>
              <a:gd name="connsiteX51" fmla="*/ 694277 w 1568621"/>
              <a:gd name="connsiteY51" fmla="*/ 3860437 h 5345275"/>
              <a:gd name="connsiteX52" fmla="*/ 730773 w 1568621"/>
              <a:gd name="connsiteY52" fmla="*/ 3936218 h 5345275"/>
              <a:gd name="connsiteX53" fmla="*/ 768084 w 1568621"/>
              <a:gd name="connsiteY53" fmla="*/ 4011878 h 5345275"/>
              <a:gd name="connsiteX54" fmla="*/ 806201 w 1568621"/>
              <a:gd name="connsiteY54" fmla="*/ 4087411 h 5345275"/>
              <a:gd name="connsiteX55" fmla="*/ 845114 w 1568621"/>
              <a:gd name="connsiteY55" fmla="*/ 4162810 h 5345275"/>
              <a:gd name="connsiteX56" fmla="*/ 884815 w 1568621"/>
              <a:gd name="connsiteY56" fmla="*/ 4238069 h 5345275"/>
              <a:gd name="connsiteX57" fmla="*/ 925294 w 1568621"/>
              <a:gd name="connsiteY57" fmla="*/ 4313179 h 5345275"/>
              <a:gd name="connsiteX58" fmla="*/ 966542 w 1568621"/>
              <a:gd name="connsiteY58" fmla="*/ 4388134 h 5345275"/>
              <a:gd name="connsiteX59" fmla="*/ 1008551 w 1568621"/>
              <a:gd name="connsiteY59" fmla="*/ 4462928 h 5345275"/>
              <a:gd name="connsiteX60" fmla="*/ 1051310 w 1568621"/>
              <a:gd name="connsiteY60" fmla="*/ 4537552 h 5345275"/>
              <a:gd name="connsiteX61" fmla="*/ 1094812 w 1568621"/>
              <a:gd name="connsiteY61" fmla="*/ 4612001 h 5345275"/>
              <a:gd name="connsiteX62" fmla="*/ 1139046 w 1568621"/>
              <a:gd name="connsiteY62" fmla="*/ 4686266 h 5345275"/>
              <a:gd name="connsiteX63" fmla="*/ 1184003 w 1568621"/>
              <a:gd name="connsiteY63" fmla="*/ 4760342 h 5345275"/>
              <a:gd name="connsiteX64" fmla="*/ 1229676 w 1568621"/>
              <a:gd name="connsiteY64" fmla="*/ 4834221 h 5345275"/>
              <a:gd name="connsiteX65" fmla="*/ 1276053 w 1568621"/>
              <a:gd name="connsiteY65" fmla="*/ 4907896 h 5345275"/>
              <a:gd name="connsiteX66" fmla="*/ 1323127 w 1568621"/>
              <a:gd name="connsiteY66" fmla="*/ 4981360 h 5345275"/>
              <a:gd name="connsiteX67" fmla="*/ 1370888 w 1568621"/>
              <a:gd name="connsiteY67" fmla="*/ 5054607 h 5345275"/>
              <a:gd name="connsiteX68" fmla="*/ 1419327 w 1568621"/>
              <a:gd name="connsiteY68" fmla="*/ 5127628 h 5345275"/>
              <a:gd name="connsiteX69" fmla="*/ 1468435 w 1568621"/>
              <a:gd name="connsiteY69" fmla="*/ 5200418 h 5345275"/>
              <a:gd name="connsiteX70" fmla="*/ 1518203 w 1568621"/>
              <a:gd name="connsiteY70" fmla="*/ 5272969 h 5345275"/>
              <a:gd name="connsiteX71" fmla="*/ 1568621 w 1568621"/>
              <a:gd name="connsiteY71" fmla="*/ 5345275 h 534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68621" h="5345275">
                <a:moveTo>
                  <a:pt x="127017" y="0"/>
                </a:moveTo>
                <a:lnTo>
                  <a:pt x="109867" y="72645"/>
                </a:lnTo>
                <a:lnTo>
                  <a:pt x="93997" y="145526"/>
                </a:lnTo>
                <a:lnTo>
                  <a:pt x="79397" y="218636"/>
                </a:lnTo>
                <a:lnTo>
                  <a:pt x="66059" y="291969"/>
                </a:lnTo>
                <a:lnTo>
                  <a:pt x="53973" y="365516"/>
                </a:lnTo>
                <a:lnTo>
                  <a:pt x="43131" y="439272"/>
                </a:lnTo>
                <a:lnTo>
                  <a:pt x="33523" y="513228"/>
                </a:lnTo>
                <a:lnTo>
                  <a:pt x="25141" y="587379"/>
                </a:lnTo>
                <a:lnTo>
                  <a:pt x="17974" y="661717"/>
                </a:lnTo>
                <a:lnTo>
                  <a:pt x="12014" y="736235"/>
                </a:lnTo>
                <a:lnTo>
                  <a:pt x="7252" y="810927"/>
                </a:lnTo>
                <a:lnTo>
                  <a:pt x="3679" y="885784"/>
                </a:lnTo>
                <a:lnTo>
                  <a:pt x="1285" y="960801"/>
                </a:lnTo>
                <a:cubicBezTo>
                  <a:pt x="877" y="985857"/>
                  <a:pt x="470" y="1010914"/>
                  <a:pt x="62" y="1035970"/>
                </a:cubicBezTo>
                <a:cubicBezTo>
                  <a:pt x="41" y="1061075"/>
                  <a:pt x="21" y="1086179"/>
                  <a:pt x="0" y="1111284"/>
                </a:cubicBezTo>
                <a:cubicBezTo>
                  <a:pt x="363" y="1136435"/>
                  <a:pt x="727" y="1161585"/>
                  <a:pt x="1090" y="1186736"/>
                </a:cubicBezTo>
                <a:cubicBezTo>
                  <a:pt x="1834" y="1211931"/>
                  <a:pt x="2579" y="1237125"/>
                  <a:pt x="3323" y="1262320"/>
                </a:cubicBezTo>
                <a:lnTo>
                  <a:pt x="6690" y="1338028"/>
                </a:lnTo>
                <a:lnTo>
                  <a:pt x="11182" y="1413854"/>
                </a:lnTo>
                <a:lnTo>
                  <a:pt x="16790" y="1489790"/>
                </a:lnTo>
                <a:lnTo>
                  <a:pt x="23504" y="1565829"/>
                </a:lnTo>
                <a:lnTo>
                  <a:pt x="31316" y="1641964"/>
                </a:lnTo>
                <a:lnTo>
                  <a:pt x="40216" y="1718189"/>
                </a:lnTo>
                <a:lnTo>
                  <a:pt x="50195" y="1794496"/>
                </a:lnTo>
                <a:lnTo>
                  <a:pt x="61245" y="1870879"/>
                </a:lnTo>
                <a:lnTo>
                  <a:pt x="73356" y="1947331"/>
                </a:lnTo>
                <a:lnTo>
                  <a:pt x="86518" y="2023843"/>
                </a:lnTo>
                <a:lnTo>
                  <a:pt x="100723" y="2100410"/>
                </a:lnTo>
                <a:lnTo>
                  <a:pt x="115962" y="2177025"/>
                </a:lnTo>
                <a:lnTo>
                  <a:pt x="132226" y="2253680"/>
                </a:lnTo>
                <a:lnTo>
                  <a:pt x="149504" y="2330369"/>
                </a:lnTo>
                <a:lnTo>
                  <a:pt x="167790" y="2407084"/>
                </a:lnTo>
                <a:lnTo>
                  <a:pt x="187072" y="2483819"/>
                </a:lnTo>
                <a:lnTo>
                  <a:pt x="207342" y="2560567"/>
                </a:lnTo>
                <a:lnTo>
                  <a:pt x="228592" y="2637320"/>
                </a:lnTo>
                <a:lnTo>
                  <a:pt x="250811" y="2714072"/>
                </a:lnTo>
                <a:lnTo>
                  <a:pt x="273991" y="2790815"/>
                </a:lnTo>
                <a:lnTo>
                  <a:pt x="298122" y="2867543"/>
                </a:lnTo>
                <a:lnTo>
                  <a:pt x="323196" y="2944249"/>
                </a:lnTo>
                <a:lnTo>
                  <a:pt x="349203" y="3020926"/>
                </a:lnTo>
                <a:lnTo>
                  <a:pt x="376135" y="3097566"/>
                </a:lnTo>
                <a:lnTo>
                  <a:pt x="403981" y="3174163"/>
                </a:lnTo>
                <a:lnTo>
                  <a:pt x="432734" y="3250710"/>
                </a:lnTo>
                <a:lnTo>
                  <a:pt x="462383" y="3327199"/>
                </a:lnTo>
                <a:lnTo>
                  <a:pt x="492921" y="3403624"/>
                </a:lnTo>
                <a:lnTo>
                  <a:pt x="524337" y="3479979"/>
                </a:lnTo>
                <a:lnTo>
                  <a:pt x="556622" y="3556255"/>
                </a:lnTo>
                <a:lnTo>
                  <a:pt x="589768" y="3632445"/>
                </a:lnTo>
                <a:lnTo>
                  <a:pt x="623765" y="3708544"/>
                </a:lnTo>
                <a:lnTo>
                  <a:pt x="658604" y="3784544"/>
                </a:lnTo>
                <a:lnTo>
                  <a:pt x="694277" y="3860437"/>
                </a:lnTo>
                <a:lnTo>
                  <a:pt x="730773" y="3936218"/>
                </a:lnTo>
                <a:lnTo>
                  <a:pt x="768084" y="4011878"/>
                </a:lnTo>
                <a:lnTo>
                  <a:pt x="806201" y="4087411"/>
                </a:lnTo>
                <a:lnTo>
                  <a:pt x="845114" y="4162810"/>
                </a:lnTo>
                <a:lnTo>
                  <a:pt x="884815" y="4238069"/>
                </a:lnTo>
                <a:lnTo>
                  <a:pt x="925294" y="4313179"/>
                </a:lnTo>
                <a:lnTo>
                  <a:pt x="966542" y="4388134"/>
                </a:lnTo>
                <a:lnTo>
                  <a:pt x="1008551" y="4462928"/>
                </a:lnTo>
                <a:lnTo>
                  <a:pt x="1051310" y="4537552"/>
                </a:lnTo>
                <a:lnTo>
                  <a:pt x="1094812" y="4612001"/>
                </a:lnTo>
                <a:lnTo>
                  <a:pt x="1139046" y="4686266"/>
                </a:lnTo>
                <a:lnTo>
                  <a:pt x="1184003" y="4760342"/>
                </a:lnTo>
                <a:lnTo>
                  <a:pt x="1229676" y="4834221"/>
                </a:lnTo>
                <a:lnTo>
                  <a:pt x="1276053" y="4907896"/>
                </a:lnTo>
                <a:lnTo>
                  <a:pt x="1323127" y="4981360"/>
                </a:lnTo>
                <a:lnTo>
                  <a:pt x="1370888" y="5054607"/>
                </a:lnTo>
                <a:lnTo>
                  <a:pt x="1419327" y="5127628"/>
                </a:lnTo>
                <a:lnTo>
                  <a:pt x="1468435" y="5200418"/>
                </a:lnTo>
                <a:lnTo>
                  <a:pt x="1518203" y="5272969"/>
                </a:lnTo>
                <a:lnTo>
                  <a:pt x="1568621" y="5345275"/>
                </a:lnTo>
              </a:path>
            </a:pathLst>
          </a:custGeom>
          <a:ln w="12700">
            <a:solidFill>
              <a:srgbClr val="009FE3"/>
            </a:solidFill>
          </a:ln>
        </p:spPr>
        <p:txBody>
          <a:bodyPr wrap="square" lIns="0" tIns="0" rIns="0" bIns="0" rtlCol="0"/>
          <a:lstStyle/>
          <a:p>
            <a:pPr rtl="0"/>
            <a:endParaRPr lang="en-US" dirty="0"/>
          </a:p>
        </p:txBody>
      </p:sp>
      <p:sp>
        <p:nvSpPr>
          <p:cNvPr id="12" name="Textplatzhalter 11">
            <a:extLst>
              <a:ext uri="{FF2B5EF4-FFF2-40B4-BE49-F238E27FC236}">
                <a16:creationId xmlns:a16="http://schemas.microsoft.com/office/drawing/2014/main" id="{42638BD4-6745-D104-FBCB-E315E4A56FE2}"/>
              </a:ext>
            </a:extLst>
          </p:cNvPr>
          <p:cNvSpPr>
            <a:spLocks noGrp="1"/>
          </p:cNvSpPr>
          <p:nvPr>
            <p:ph type="body" sz="quarter" idx="13" hasCustomPrompt="1"/>
          </p:nvPr>
        </p:nvSpPr>
        <p:spPr>
          <a:xfrm>
            <a:off x="407368" y="1209907"/>
            <a:ext cx="5616575" cy="5098818"/>
          </a:xfrm>
        </p:spPr>
        <p:txBody>
          <a:bodyPr wrap="square">
            <a:noAutofit/>
          </a:bodyPr>
          <a:lstStyle>
            <a:lvl1pPr rtl="0">
              <a:defRPr sz="1400"/>
            </a:lvl1pPr>
            <a:lvl2pPr marL="177800" indent="-177800" rtl="0">
              <a:defRPr sz="1400"/>
            </a:lvl2pPr>
            <a:lvl3pPr marL="361950" indent="-184150" rtl="0">
              <a:defRPr sz="1400"/>
            </a:lvl3pPr>
            <a:lvl4pPr marL="539750" indent="-177800" rtl="0">
              <a:defRPr sz="1400"/>
            </a:lvl4pPr>
            <a:lvl5pPr marL="717550" indent="-177800" rtl="0">
              <a:defRPr sz="1400"/>
            </a:lvl5pPr>
          </a:lstStyle>
          <a:p>
            <a:pPr lvl="0"/>
            <a:r>
              <a:rPr lang="en-US" dirty="0"/>
              <a:t>Edit master text format</a:t>
            </a:r>
          </a:p>
          <a:p>
            <a:pPr lvl="1"/>
            <a:r>
              <a:rPr lang="en-US" dirty="0"/>
              <a:t>Second line</a:t>
            </a:r>
          </a:p>
          <a:p>
            <a:pPr lvl="2"/>
            <a:r>
              <a:rPr lang="en-US" dirty="0"/>
              <a:t>Third line</a:t>
            </a:r>
          </a:p>
          <a:p>
            <a:pPr lvl="3"/>
            <a:r>
              <a:rPr lang="en-US" dirty="0"/>
              <a:t>Fourth line</a:t>
            </a:r>
          </a:p>
          <a:p>
            <a:pPr lvl="4"/>
            <a:r>
              <a:rPr lang="en-US" dirty="0"/>
              <a:t>Fifth line</a:t>
            </a:r>
          </a:p>
        </p:txBody>
      </p:sp>
      <p:sp>
        <p:nvSpPr>
          <p:cNvPr id="17" name="Datumsplatzhalter 16">
            <a:extLst>
              <a:ext uri="{FF2B5EF4-FFF2-40B4-BE49-F238E27FC236}">
                <a16:creationId xmlns:a16="http://schemas.microsoft.com/office/drawing/2014/main" id="{D6732091-1A93-6A70-AE99-EB1A66438759}"/>
              </a:ext>
            </a:extLst>
          </p:cNvPr>
          <p:cNvSpPr>
            <a:spLocks noGrp="1"/>
          </p:cNvSpPr>
          <p:nvPr>
            <p:ph type="dt" sz="half" idx="14"/>
          </p:nvPr>
        </p:nvSpPr>
        <p:spPr/>
        <p:txBody>
          <a:bodyPr/>
          <a:lstStyle/>
          <a:p>
            <a:r>
              <a:rPr lang="en-US"/>
              <a:t>September 2025</a:t>
            </a:r>
            <a:endParaRPr lang="en-US" dirty="0"/>
          </a:p>
        </p:txBody>
      </p:sp>
      <p:sp>
        <p:nvSpPr>
          <p:cNvPr id="18" name="Fußzeilenplatzhalter 17">
            <a:extLst>
              <a:ext uri="{FF2B5EF4-FFF2-40B4-BE49-F238E27FC236}">
                <a16:creationId xmlns:a16="http://schemas.microsoft.com/office/drawing/2014/main" id="{801B5A06-7681-0D7E-5539-CC64BCE633F1}"/>
              </a:ext>
            </a:extLst>
          </p:cNvPr>
          <p:cNvSpPr>
            <a:spLocks noGrp="1"/>
          </p:cNvSpPr>
          <p:nvPr>
            <p:ph type="ftr" sz="quarter" idx="15"/>
          </p:nvPr>
        </p:nvSpPr>
        <p:spPr/>
        <p:txBody>
          <a:bodyPr/>
          <a:lstStyle/>
          <a:p>
            <a:r>
              <a:rPr lang="en-US"/>
              <a:t>Achieving robust textures with PTFE-free additives</a:t>
            </a:r>
            <a:endParaRPr lang="en-US" dirty="0"/>
          </a:p>
        </p:txBody>
      </p:sp>
      <p:sp>
        <p:nvSpPr>
          <p:cNvPr id="19" name="Foliennummernplatzhalter 18">
            <a:extLst>
              <a:ext uri="{FF2B5EF4-FFF2-40B4-BE49-F238E27FC236}">
                <a16:creationId xmlns:a16="http://schemas.microsoft.com/office/drawing/2014/main" id="{B3E4B310-18A1-7D8C-DFE4-BF6067EF2F4B}"/>
              </a:ext>
            </a:extLst>
          </p:cNvPr>
          <p:cNvSpPr>
            <a:spLocks noGrp="1"/>
          </p:cNvSpPr>
          <p:nvPr>
            <p:ph type="sldNum" sz="quarter" idx="16"/>
          </p:nvPr>
        </p:nvSpPr>
        <p:spPr/>
        <p:txBody>
          <a:bodyPr/>
          <a:lstStyle/>
          <a:p>
            <a:r>
              <a:rPr lang="en-US" dirty="0"/>
              <a:t>Page </a:t>
            </a:r>
            <a:fld id="{F833201C-4142-4F26-B8B7-249C87787C9A}" type="slidenum">
              <a:rPr lang="en-US" smtClean="0"/>
              <a:pPr/>
              <a:t>‹#›</a:t>
            </a:fld>
            <a:endParaRPr lang="en-US" dirty="0"/>
          </a:p>
        </p:txBody>
      </p:sp>
      <p:sp>
        <p:nvSpPr>
          <p:cNvPr id="9" name="Titel 8">
            <a:extLst>
              <a:ext uri="{FF2B5EF4-FFF2-40B4-BE49-F238E27FC236}">
                <a16:creationId xmlns:a16="http://schemas.microsoft.com/office/drawing/2014/main" id="{62DD9225-8895-5FE6-9734-161B37C05948}"/>
              </a:ext>
            </a:extLst>
          </p:cNvPr>
          <p:cNvSpPr>
            <a:spLocks noGrp="1"/>
          </p:cNvSpPr>
          <p:nvPr>
            <p:ph type="title" hasCustomPrompt="1"/>
          </p:nvPr>
        </p:nvSpPr>
        <p:spPr>
          <a:xfrm>
            <a:off x="407987" y="188913"/>
            <a:ext cx="5616576" cy="1008062"/>
          </a:xfrm>
        </p:spPr>
        <p:txBody>
          <a:bodyPr vert="horz"/>
          <a:lstStyle/>
          <a:p>
            <a:r>
              <a:rPr lang="en-US" dirty="0"/>
              <a:t>Edit master title format</a:t>
            </a:r>
          </a:p>
        </p:txBody>
      </p:sp>
    </p:spTree>
    <p:extLst>
      <p:ext uri="{BB962C8B-B14F-4D97-AF65-F5344CB8AC3E}">
        <p14:creationId xmlns:p14="http://schemas.microsoft.com/office/powerpoint/2010/main" val="15733975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A5FC46-5E16-DB3D-0978-52D86D9B8A7B}"/>
              </a:ext>
            </a:extLst>
          </p:cNvPr>
          <p:cNvGraphicFramePr>
            <a:graphicFrameLocks noChangeAspect="1"/>
          </p:cNvGraphicFramePr>
          <p:nvPr userDrawn="1">
            <p:custDataLst>
              <p:tags r:id="rId1"/>
            </p:custDataLst>
            <p:extLst>
              <p:ext uri="{D42A27DB-BD31-4B8C-83A1-F6EECF244321}">
                <p14:modId xmlns:p14="http://schemas.microsoft.com/office/powerpoint/2010/main" val="2454267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think-cell data - do not delete" hidden="1">
                        <a:extLst>
                          <a:ext uri="{FF2B5EF4-FFF2-40B4-BE49-F238E27FC236}">
                            <a16:creationId xmlns:a16="http://schemas.microsoft.com/office/drawing/2014/main" id="{60A5FC46-5E16-DB3D-0978-52D86D9B8A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Freihandform: Form 22">
            <a:extLst>
              <a:ext uri="{FF2B5EF4-FFF2-40B4-BE49-F238E27FC236}">
                <a16:creationId xmlns:a16="http://schemas.microsoft.com/office/drawing/2014/main" id="{DF435362-1AF3-A75E-8E5D-767633B52283}"/>
              </a:ext>
            </a:extLst>
          </p:cNvPr>
          <p:cNvSpPr/>
          <p:nvPr userDrawn="1"/>
        </p:nvSpPr>
        <p:spPr bwMode="auto">
          <a:xfrm>
            <a:off x="2534752" y="1"/>
            <a:ext cx="7009710" cy="6143202"/>
          </a:xfrm>
          <a:custGeom>
            <a:avLst/>
            <a:gdLst>
              <a:gd name="connsiteX0" fmla="*/ 4890626 w 7009710"/>
              <a:gd name="connsiteY0" fmla="*/ 0 h 6143202"/>
              <a:gd name="connsiteX1" fmla="*/ 4912812 w 7009710"/>
              <a:gd name="connsiteY1" fmla="*/ 16804 h 6143202"/>
              <a:gd name="connsiteX2" fmla="*/ 5766758 w 7009710"/>
              <a:gd name="connsiteY2" fmla="*/ 816742 h 6143202"/>
              <a:gd name="connsiteX3" fmla="*/ 6688260 w 7009710"/>
              <a:gd name="connsiteY3" fmla="*/ 2149311 h 6143202"/>
              <a:gd name="connsiteX4" fmla="*/ 7008689 w 7009710"/>
              <a:gd name="connsiteY4" fmla="*/ 3295034 h 6143202"/>
              <a:gd name="connsiteX5" fmla="*/ 6695244 w 7009710"/>
              <a:gd name="connsiteY5" fmla="*/ 4231120 h 6143202"/>
              <a:gd name="connsiteX6" fmla="*/ 5703221 w 7009710"/>
              <a:gd name="connsiteY6" fmla="*/ 5146233 h 6143202"/>
              <a:gd name="connsiteX7" fmla="*/ 3858425 w 7009710"/>
              <a:gd name="connsiteY7" fmla="*/ 5945982 h 6143202"/>
              <a:gd name="connsiteX8" fmla="*/ 2035249 w 7009710"/>
              <a:gd name="connsiteY8" fmla="*/ 6125195 h 6143202"/>
              <a:gd name="connsiteX9" fmla="*/ 840134 w 7009710"/>
              <a:gd name="connsiteY9" fmla="*/ 5677351 h 6143202"/>
              <a:gd name="connsiteX10" fmla="*/ 110698 w 7009710"/>
              <a:gd name="connsiteY10" fmla="*/ 4360675 h 6143202"/>
              <a:gd name="connsiteX11" fmla="*/ 75088 w 7009710"/>
              <a:gd name="connsiteY11" fmla="*/ 2109756 h 6143202"/>
              <a:gd name="connsiteX12" fmla="*/ 809790 w 7009710"/>
              <a:gd name="connsiteY12" fmla="*/ 91341 h 6143202"/>
              <a:gd name="connsiteX13" fmla="*/ 877417 w 7009710"/>
              <a:gd name="connsiteY13" fmla="*/ 0 h 6143202"/>
              <a:gd name="connsiteX0" fmla="*/ 4890626 w 7009710"/>
              <a:gd name="connsiteY0" fmla="*/ 0 h 6143202"/>
              <a:gd name="connsiteX1" fmla="*/ 4912812 w 7009710"/>
              <a:gd name="connsiteY1" fmla="*/ 16804 h 6143202"/>
              <a:gd name="connsiteX2" fmla="*/ 5766758 w 7009710"/>
              <a:gd name="connsiteY2" fmla="*/ 816742 h 6143202"/>
              <a:gd name="connsiteX3" fmla="*/ 6688260 w 7009710"/>
              <a:gd name="connsiteY3" fmla="*/ 2149311 h 6143202"/>
              <a:gd name="connsiteX4" fmla="*/ 7008689 w 7009710"/>
              <a:gd name="connsiteY4" fmla="*/ 3295034 h 6143202"/>
              <a:gd name="connsiteX5" fmla="*/ 6695244 w 7009710"/>
              <a:gd name="connsiteY5" fmla="*/ 4231120 h 6143202"/>
              <a:gd name="connsiteX6" fmla="*/ 5703221 w 7009710"/>
              <a:gd name="connsiteY6" fmla="*/ 5146233 h 6143202"/>
              <a:gd name="connsiteX7" fmla="*/ 3858425 w 7009710"/>
              <a:gd name="connsiteY7" fmla="*/ 5945982 h 6143202"/>
              <a:gd name="connsiteX8" fmla="*/ 2035249 w 7009710"/>
              <a:gd name="connsiteY8" fmla="*/ 6125195 h 6143202"/>
              <a:gd name="connsiteX9" fmla="*/ 840134 w 7009710"/>
              <a:gd name="connsiteY9" fmla="*/ 5677351 h 6143202"/>
              <a:gd name="connsiteX10" fmla="*/ 110698 w 7009710"/>
              <a:gd name="connsiteY10" fmla="*/ 4360675 h 6143202"/>
              <a:gd name="connsiteX11" fmla="*/ 75088 w 7009710"/>
              <a:gd name="connsiteY11" fmla="*/ 2109756 h 6143202"/>
              <a:gd name="connsiteX12" fmla="*/ 809790 w 7009710"/>
              <a:gd name="connsiteY12" fmla="*/ 91341 h 6143202"/>
              <a:gd name="connsiteX13" fmla="*/ 877417 w 7009710"/>
              <a:gd name="connsiteY13" fmla="*/ 0 h 6143202"/>
              <a:gd name="connsiteX14" fmla="*/ 4982066 w 7009710"/>
              <a:gd name="connsiteY14" fmla="*/ 91440 h 6143202"/>
              <a:gd name="connsiteX0" fmla="*/ 4890626 w 7009710"/>
              <a:gd name="connsiteY0" fmla="*/ 0 h 6143202"/>
              <a:gd name="connsiteX1" fmla="*/ 4912812 w 7009710"/>
              <a:gd name="connsiteY1" fmla="*/ 16804 h 6143202"/>
              <a:gd name="connsiteX2" fmla="*/ 5766758 w 7009710"/>
              <a:gd name="connsiteY2" fmla="*/ 816742 h 6143202"/>
              <a:gd name="connsiteX3" fmla="*/ 6688260 w 7009710"/>
              <a:gd name="connsiteY3" fmla="*/ 2149311 h 6143202"/>
              <a:gd name="connsiteX4" fmla="*/ 7008689 w 7009710"/>
              <a:gd name="connsiteY4" fmla="*/ 3295034 h 6143202"/>
              <a:gd name="connsiteX5" fmla="*/ 6695244 w 7009710"/>
              <a:gd name="connsiteY5" fmla="*/ 4231120 h 6143202"/>
              <a:gd name="connsiteX6" fmla="*/ 5703221 w 7009710"/>
              <a:gd name="connsiteY6" fmla="*/ 5146233 h 6143202"/>
              <a:gd name="connsiteX7" fmla="*/ 3858425 w 7009710"/>
              <a:gd name="connsiteY7" fmla="*/ 5945982 h 6143202"/>
              <a:gd name="connsiteX8" fmla="*/ 2035249 w 7009710"/>
              <a:gd name="connsiteY8" fmla="*/ 6125195 h 6143202"/>
              <a:gd name="connsiteX9" fmla="*/ 840134 w 7009710"/>
              <a:gd name="connsiteY9" fmla="*/ 5677351 h 6143202"/>
              <a:gd name="connsiteX10" fmla="*/ 110698 w 7009710"/>
              <a:gd name="connsiteY10" fmla="*/ 4360675 h 6143202"/>
              <a:gd name="connsiteX11" fmla="*/ 75088 w 7009710"/>
              <a:gd name="connsiteY11" fmla="*/ 2109756 h 6143202"/>
              <a:gd name="connsiteX12" fmla="*/ 809790 w 7009710"/>
              <a:gd name="connsiteY12" fmla="*/ 91341 h 6143202"/>
              <a:gd name="connsiteX13" fmla="*/ 877417 w 7009710"/>
              <a:gd name="connsiteY13" fmla="*/ 0 h 614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09710" h="6143202">
                <a:moveTo>
                  <a:pt x="4890626" y="0"/>
                </a:moveTo>
                <a:lnTo>
                  <a:pt x="4912812" y="16804"/>
                </a:lnTo>
                <a:cubicBezTo>
                  <a:pt x="5195439" y="237631"/>
                  <a:pt x="5501202" y="502246"/>
                  <a:pt x="5766758" y="816742"/>
                </a:cubicBezTo>
                <a:cubicBezTo>
                  <a:pt x="6263977" y="1400117"/>
                  <a:pt x="6481271" y="1736263"/>
                  <a:pt x="6688260" y="2149311"/>
                </a:cubicBezTo>
                <a:cubicBezTo>
                  <a:pt x="6895248" y="2562360"/>
                  <a:pt x="6995832" y="2997316"/>
                  <a:pt x="7008689" y="3295034"/>
                </a:cubicBezTo>
                <a:cubicBezTo>
                  <a:pt x="7021545" y="3592751"/>
                  <a:pt x="6912824" y="3922586"/>
                  <a:pt x="6695244" y="4231120"/>
                </a:cubicBezTo>
                <a:cubicBezTo>
                  <a:pt x="6477667" y="4539653"/>
                  <a:pt x="6181871" y="4835800"/>
                  <a:pt x="5703221" y="5146233"/>
                </a:cubicBezTo>
                <a:cubicBezTo>
                  <a:pt x="5224572" y="5456666"/>
                  <a:pt x="4593554" y="5765389"/>
                  <a:pt x="3858425" y="5945982"/>
                </a:cubicBezTo>
                <a:cubicBezTo>
                  <a:pt x="3123296" y="6126574"/>
                  <a:pt x="2442752" y="6174013"/>
                  <a:pt x="2035249" y="6125195"/>
                </a:cubicBezTo>
                <a:cubicBezTo>
                  <a:pt x="1627745" y="6076377"/>
                  <a:pt x="1166802" y="5937888"/>
                  <a:pt x="840134" y="5677351"/>
                </a:cubicBezTo>
                <a:cubicBezTo>
                  <a:pt x="513467" y="5416817"/>
                  <a:pt x="238206" y="4955274"/>
                  <a:pt x="110698" y="4360675"/>
                </a:cubicBezTo>
                <a:cubicBezTo>
                  <a:pt x="-16811" y="3766075"/>
                  <a:pt x="-41427" y="2821312"/>
                  <a:pt x="75088" y="2109756"/>
                </a:cubicBezTo>
                <a:cubicBezTo>
                  <a:pt x="191604" y="1398200"/>
                  <a:pt x="469671" y="593110"/>
                  <a:pt x="809790" y="91341"/>
                </a:cubicBezTo>
                <a:lnTo>
                  <a:pt x="877417"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rtl="0"/>
            <a:endParaRPr lang="en-US" dirty="0">
              <a:solidFill>
                <a:schemeClr val="lt1"/>
              </a:solidFill>
              <a:latin typeface="+mn-lt"/>
            </a:endParaRPr>
          </a:p>
        </p:txBody>
      </p:sp>
      <p:sp>
        <p:nvSpPr>
          <p:cNvPr id="15" name="Freihandform: Form 14">
            <a:extLst>
              <a:ext uri="{FF2B5EF4-FFF2-40B4-BE49-F238E27FC236}">
                <a16:creationId xmlns:a16="http://schemas.microsoft.com/office/drawing/2014/main" id="{E99ABEAB-F47D-027B-2756-6FA73CDE7001}"/>
              </a:ext>
            </a:extLst>
          </p:cNvPr>
          <p:cNvSpPr/>
          <p:nvPr userDrawn="1"/>
        </p:nvSpPr>
        <p:spPr bwMode="auto">
          <a:xfrm>
            <a:off x="5029073" y="1"/>
            <a:ext cx="4739288" cy="4331673"/>
          </a:xfrm>
          <a:custGeom>
            <a:avLst/>
            <a:gdLst>
              <a:gd name="connsiteX0" fmla="*/ 1040855 w 4739288"/>
              <a:gd name="connsiteY0" fmla="*/ 0 h 4331673"/>
              <a:gd name="connsiteX1" fmla="*/ 3698433 w 4739288"/>
              <a:gd name="connsiteY1" fmla="*/ 0 h 4331673"/>
              <a:gd name="connsiteX2" fmla="*/ 3876958 w 4739288"/>
              <a:gd name="connsiteY2" fmla="*/ 133498 h 4331673"/>
              <a:gd name="connsiteX3" fmla="*/ 4739288 w 4739288"/>
              <a:gd name="connsiteY3" fmla="*/ 1962030 h 4331673"/>
              <a:gd name="connsiteX4" fmla="*/ 2369644 w 4739288"/>
              <a:gd name="connsiteY4" fmla="*/ 4331673 h 4331673"/>
              <a:gd name="connsiteX5" fmla="*/ 0 w 4739288"/>
              <a:gd name="connsiteY5" fmla="*/ 1962030 h 4331673"/>
              <a:gd name="connsiteX6" fmla="*/ 862331 w 4739288"/>
              <a:gd name="connsiteY6" fmla="*/ 133498 h 4331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9288" h="4331673">
                <a:moveTo>
                  <a:pt x="1040855" y="0"/>
                </a:moveTo>
                <a:lnTo>
                  <a:pt x="3698433" y="0"/>
                </a:lnTo>
                <a:lnTo>
                  <a:pt x="3876958" y="133498"/>
                </a:lnTo>
                <a:cubicBezTo>
                  <a:pt x="4403605" y="568126"/>
                  <a:pt x="4739288" y="1225876"/>
                  <a:pt x="4739288" y="1962030"/>
                </a:cubicBezTo>
                <a:cubicBezTo>
                  <a:pt x="4739288" y="3270748"/>
                  <a:pt x="3678362" y="4331673"/>
                  <a:pt x="2369644" y="4331673"/>
                </a:cubicBezTo>
                <a:cubicBezTo>
                  <a:pt x="1060926" y="4331673"/>
                  <a:pt x="0" y="3270748"/>
                  <a:pt x="0" y="1962030"/>
                </a:cubicBezTo>
                <a:cubicBezTo>
                  <a:pt x="0" y="1225876"/>
                  <a:pt x="335684" y="568126"/>
                  <a:pt x="862331" y="133498"/>
                </a:cubicBezTo>
                <a:close/>
              </a:path>
            </a:pathLst>
          </a:custGeom>
          <a:solidFill>
            <a:schemeClr val="accent2"/>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p:txBody>
      </p:sp>
      <p:sp>
        <p:nvSpPr>
          <p:cNvPr id="14" name="Freihandform: Form 13">
            <a:extLst>
              <a:ext uri="{FF2B5EF4-FFF2-40B4-BE49-F238E27FC236}">
                <a16:creationId xmlns:a16="http://schemas.microsoft.com/office/drawing/2014/main" id="{30800A0D-3906-54C3-38AB-8549CABBF4F6}"/>
              </a:ext>
            </a:extLst>
          </p:cNvPr>
          <p:cNvSpPr>
            <a:spLocks noChangeAspect="1"/>
          </p:cNvSpPr>
          <p:nvPr userDrawn="1"/>
        </p:nvSpPr>
        <p:spPr>
          <a:xfrm>
            <a:off x="2632610" y="0"/>
            <a:ext cx="6387063" cy="5630318"/>
          </a:xfrm>
          <a:custGeom>
            <a:avLst/>
            <a:gdLst>
              <a:gd name="connsiteX0" fmla="*/ 1311763 w 6387063"/>
              <a:gd name="connsiteY0" fmla="*/ 0 h 5630318"/>
              <a:gd name="connsiteX1" fmla="*/ 4651086 w 6387063"/>
              <a:gd name="connsiteY1" fmla="*/ 0 h 5630318"/>
              <a:gd name="connsiteX2" fmla="*/ 4721847 w 6387063"/>
              <a:gd name="connsiteY2" fmla="*/ 65790 h 5630318"/>
              <a:gd name="connsiteX3" fmla="*/ 4975102 w 6387063"/>
              <a:gd name="connsiteY3" fmla="*/ 340380 h 5630318"/>
              <a:gd name="connsiteX4" fmla="*/ 5766287 w 6387063"/>
              <a:gd name="connsiteY4" fmla="*/ 1469742 h 5630318"/>
              <a:gd name="connsiteX5" fmla="*/ 6307240 w 6387063"/>
              <a:gd name="connsiteY5" fmla="*/ 2846207 h 5630318"/>
              <a:gd name="connsiteX6" fmla="*/ 6353003 w 6387063"/>
              <a:gd name="connsiteY6" fmla="*/ 3931239 h 5630318"/>
              <a:gd name="connsiteX7" fmla="*/ 5879181 w 6387063"/>
              <a:gd name="connsiteY7" fmla="*/ 4697743 h 5630318"/>
              <a:gd name="connsiteX8" fmla="*/ 4806688 w 6387063"/>
              <a:gd name="connsiteY8" fmla="*/ 5304057 h 5630318"/>
              <a:gd name="connsiteX9" fmla="*/ 3000411 w 6387063"/>
              <a:gd name="connsiteY9" fmla="*/ 5629958 h 5630318"/>
              <a:gd name="connsiteX10" fmla="*/ 1342790 w 6387063"/>
              <a:gd name="connsiteY10" fmla="*/ 5408906 h 5630318"/>
              <a:gd name="connsiteX11" fmla="*/ 374127 w 6387063"/>
              <a:gd name="connsiteY11" fmla="*/ 4761611 h 5630318"/>
              <a:gd name="connsiteX12" fmla="*/ 545 w 6387063"/>
              <a:gd name="connsiteY12" fmla="*/ 3439335 h 5630318"/>
              <a:gd name="connsiteX13" fmla="*/ 438443 w 6387063"/>
              <a:gd name="connsiteY13" fmla="*/ 1431542 h 5630318"/>
              <a:gd name="connsiteX14" fmla="*/ 1208361 w 6387063"/>
              <a:gd name="connsiteY14" fmla="*/ 120067 h 563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7063" h="5630318">
                <a:moveTo>
                  <a:pt x="1311763" y="0"/>
                </a:moveTo>
                <a:lnTo>
                  <a:pt x="4651086" y="0"/>
                </a:lnTo>
                <a:lnTo>
                  <a:pt x="4721847" y="65790"/>
                </a:lnTo>
                <a:cubicBezTo>
                  <a:pt x="4801061" y="142466"/>
                  <a:pt x="4879558" y="227792"/>
                  <a:pt x="4975102" y="340380"/>
                </a:cubicBezTo>
                <a:cubicBezTo>
                  <a:pt x="5229888" y="640614"/>
                  <a:pt x="5539098" y="1023232"/>
                  <a:pt x="5766287" y="1469742"/>
                </a:cubicBezTo>
                <a:cubicBezTo>
                  <a:pt x="6086468" y="2091901"/>
                  <a:pt x="6209454" y="2435958"/>
                  <a:pt x="6307240" y="2846207"/>
                </a:cubicBezTo>
                <a:cubicBezTo>
                  <a:pt x="6405026" y="3256457"/>
                  <a:pt x="6403682" y="3663979"/>
                  <a:pt x="6353003" y="3931239"/>
                </a:cubicBezTo>
                <a:cubicBezTo>
                  <a:pt x="6302324" y="4198498"/>
                  <a:pt x="6136901" y="4468940"/>
                  <a:pt x="5879181" y="4697743"/>
                </a:cubicBezTo>
                <a:cubicBezTo>
                  <a:pt x="5621461" y="4926546"/>
                  <a:pt x="5296814" y="5128025"/>
                  <a:pt x="4806688" y="5304057"/>
                </a:cubicBezTo>
                <a:cubicBezTo>
                  <a:pt x="4316561" y="5480088"/>
                  <a:pt x="3691383" y="5622816"/>
                  <a:pt x="3000411" y="5629958"/>
                </a:cubicBezTo>
                <a:cubicBezTo>
                  <a:pt x="2309438" y="5637100"/>
                  <a:pt x="1694750" y="5537296"/>
                  <a:pt x="1342790" y="5408906"/>
                </a:cubicBezTo>
                <a:cubicBezTo>
                  <a:pt x="990830" y="5280516"/>
                  <a:pt x="610085" y="5061289"/>
                  <a:pt x="374127" y="4761611"/>
                </a:cubicBezTo>
                <a:cubicBezTo>
                  <a:pt x="138169" y="4461933"/>
                  <a:pt x="-10174" y="3994347"/>
                  <a:pt x="545" y="3439335"/>
                </a:cubicBezTo>
                <a:cubicBezTo>
                  <a:pt x="11264" y="2884323"/>
                  <a:pt x="186466" y="2039588"/>
                  <a:pt x="438443" y="1431542"/>
                </a:cubicBezTo>
                <a:cubicBezTo>
                  <a:pt x="627426" y="975507"/>
                  <a:pt x="908141" y="491672"/>
                  <a:pt x="1208361" y="120067"/>
                </a:cubicBezTo>
                <a:close/>
              </a:path>
            </a:pathLst>
          </a:cu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dirty="0"/>
          </a:p>
        </p:txBody>
      </p:sp>
      <p:sp>
        <p:nvSpPr>
          <p:cNvPr id="22" name="Freihandform: Form 21">
            <a:extLst>
              <a:ext uri="{FF2B5EF4-FFF2-40B4-BE49-F238E27FC236}">
                <a16:creationId xmlns:a16="http://schemas.microsoft.com/office/drawing/2014/main" id="{412BCCE2-EEB6-8BFA-2023-0AFA8BECC315}"/>
              </a:ext>
            </a:extLst>
          </p:cNvPr>
          <p:cNvSpPr/>
          <p:nvPr userDrawn="1"/>
        </p:nvSpPr>
        <p:spPr bwMode="auto">
          <a:xfrm>
            <a:off x="2423639" y="0"/>
            <a:ext cx="6987976" cy="6033688"/>
          </a:xfrm>
          <a:custGeom>
            <a:avLst/>
            <a:gdLst>
              <a:gd name="connsiteX0" fmla="*/ 6456435 w 6987976"/>
              <a:gd name="connsiteY0" fmla="*/ 0 h 6033688"/>
              <a:gd name="connsiteX1" fmla="*/ 6467075 w 6987976"/>
              <a:gd name="connsiteY1" fmla="*/ 17173 h 6033688"/>
              <a:gd name="connsiteX2" fmla="*/ 6871417 w 6987976"/>
              <a:gd name="connsiteY2" fmla="*/ 1141424 h 6033688"/>
              <a:gd name="connsiteX3" fmla="*/ 6933619 w 6987976"/>
              <a:gd name="connsiteY3" fmla="*/ 3127391 h 6033688"/>
              <a:gd name="connsiteX4" fmla="*/ 6433729 w 6987976"/>
              <a:gd name="connsiteY4" fmla="*/ 4867332 h 6033688"/>
              <a:gd name="connsiteX5" fmla="*/ 5586788 w 6987976"/>
              <a:gd name="connsiteY5" fmla="*/ 5801838 h 6033688"/>
              <a:gd name="connsiteX6" fmla="*/ 4111534 w 6987976"/>
              <a:gd name="connsiteY6" fmla="*/ 5991944 h 6033688"/>
              <a:gd name="connsiteX7" fmla="*/ 2031045 w 6987976"/>
              <a:gd name="connsiteY7" fmla="*/ 5204249 h 6033688"/>
              <a:gd name="connsiteX8" fmla="*/ 444874 w 6987976"/>
              <a:gd name="connsiteY8" fmla="*/ 3793751 h 6033688"/>
              <a:gd name="connsiteX9" fmla="*/ 9530 w 6987976"/>
              <a:gd name="connsiteY9" fmla="*/ 2232526 h 6033688"/>
              <a:gd name="connsiteX10" fmla="*/ 746138 w 6987976"/>
              <a:gd name="connsiteY10" fmla="*/ 856062 h 6033688"/>
              <a:gd name="connsiteX11" fmla="*/ 1582881 w 6987976"/>
              <a:gd name="connsiteY11" fmla="*/ 172994 h 6033688"/>
              <a:gd name="connsiteX12" fmla="*/ 1723072 w 6987976"/>
              <a:gd name="connsiteY12" fmla="*/ 86718 h 6033688"/>
              <a:gd name="connsiteX13" fmla="*/ 1868312 w 6987976"/>
              <a:gd name="connsiteY13" fmla="*/ 1 h 6033688"/>
              <a:gd name="connsiteX0" fmla="*/ 6456435 w 6987976"/>
              <a:gd name="connsiteY0" fmla="*/ 0 h 6033688"/>
              <a:gd name="connsiteX1" fmla="*/ 6467075 w 6987976"/>
              <a:gd name="connsiteY1" fmla="*/ 17173 h 6033688"/>
              <a:gd name="connsiteX2" fmla="*/ 6871417 w 6987976"/>
              <a:gd name="connsiteY2" fmla="*/ 1141424 h 6033688"/>
              <a:gd name="connsiteX3" fmla="*/ 6933619 w 6987976"/>
              <a:gd name="connsiteY3" fmla="*/ 3127391 h 6033688"/>
              <a:gd name="connsiteX4" fmla="*/ 6433729 w 6987976"/>
              <a:gd name="connsiteY4" fmla="*/ 4867332 h 6033688"/>
              <a:gd name="connsiteX5" fmla="*/ 5586788 w 6987976"/>
              <a:gd name="connsiteY5" fmla="*/ 5801838 h 6033688"/>
              <a:gd name="connsiteX6" fmla="*/ 4111534 w 6987976"/>
              <a:gd name="connsiteY6" fmla="*/ 5991944 h 6033688"/>
              <a:gd name="connsiteX7" fmla="*/ 2031045 w 6987976"/>
              <a:gd name="connsiteY7" fmla="*/ 5204249 h 6033688"/>
              <a:gd name="connsiteX8" fmla="*/ 444874 w 6987976"/>
              <a:gd name="connsiteY8" fmla="*/ 3793751 h 6033688"/>
              <a:gd name="connsiteX9" fmla="*/ 9530 w 6987976"/>
              <a:gd name="connsiteY9" fmla="*/ 2232526 h 6033688"/>
              <a:gd name="connsiteX10" fmla="*/ 746138 w 6987976"/>
              <a:gd name="connsiteY10" fmla="*/ 856062 h 6033688"/>
              <a:gd name="connsiteX11" fmla="*/ 1582881 w 6987976"/>
              <a:gd name="connsiteY11" fmla="*/ 172994 h 6033688"/>
              <a:gd name="connsiteX12" fmla="*/ 1723072 w 6987976"/>
              <a:gd name="connsiteY12" fmla="*/ 86718 h 6033688"/>
              <a:gd name="connsiteX13" fmla="*/ 1868312 w 6987976"/>
              <a:gd name="connsiteY13" fmla="*/ 1 h 6033688"/>
              <a:gd name="connsiteX14" fmla="*/ 6547875 w 6987976"/>
              <a:gd name="connsiteY14" fmla="*/ 91440 h 6033688"/>
              <a:gd name="connsiteX0" fmla="*/ 6456435 w 6987976"/>
              <a:gd name="connsiteY0" fmla="*/ 0 h 6033688"/>
              <a:gd name="connsiteX1" fmla="*/ 6467075 w 6987976"/>
              <a:gd name="connsiteY1" fmla="*/ 17173 h 6033688"/>
              <a:gd name="connsiteX2" fmla="*/ 6871417 w 6987976"/>
              <a:gd name="connsiteY2" fmla="*/ 1141424 h 6033688"/>
              <a:gd name="connsiteX3" fmla="*/ 6933619 w 6987976"/>
              <a:gd name="connsiteY3" fmla="*/ 3127391 h 6033688"/>
              <a:gd name="connsiteX4" fmla="*/ 6433729 w 6987976"/>
              <a:gd name="connsiteY4" fmla="*/ 4867332 h 6033688"/>
              <a:gd name="connsiteX5" fmla="*/ 5586788 w 6987976"/>
              <a:gd name="connsiteY5" fmla="*/ 5801838 h 6033688"/>
              <a:gd name="connsiteX6" fmla="*/ 4111534 w 6987976"/>
              <a:gd name="connsiteY6" fmla="*/ 5991944 h 6033688"/>
              <a:gd name="connsiteX7" fmla="*/ 2031045 w 6987976"/>
              <a:gd name="connsiteY7" fmla="*/ 5204249 h 6033688"/>
              <a:gd name="connsiteX8" fmla="*/ 444874 w 6987976"/>
              <a:gd name="connsiteY8" fmla="*/ 3793751 h 6033688"/>
              <a:gd name="connsiteX9" fmla="*/ 9530 w 6987976"/>
              <a:gd name="connsiteY9" fmla="*/ 2232526 h 6033688"/>
              <a:gd name="connsiteX10" fmla="*/ 746138 w 6987976"/>
              <a:gd name="connsiteY10" fmla="*/ 856062 h 6033688"/>
              <a:gd name="connsiteX11" fmla="*/ 1582881 w 6987976"/>
              <a:gd name="connsiteY11" fmla="*/ 172994 h 6033688"/>
              <a:gd name="connsiteX12" fmla="*/ 1723072 w 6987976"/>
              <a:gd name="connsiteY12" fmla="*/ 86718 h 6033688"/>
              <a:gd name="connsiteX13" fmla="*/ 1868312 w 6987976"/>
              <a:gd name="connsiteY13" fmla="*/ 1 h 603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87976" h="6033688">
                <a:moveTo>
                  <a:pt x="6456435" y="0"/>
                </a:moveTo>
                <a:lnTo>
                  <a:pt x="6467075" y="17173"/>
                </a:lnTo>
                <a:cubicBezTo>
                  <a:pt x="6636744" y="306612"/>
                  <a:pt x="6774569" y="657731"/>
                  <a:pt x="6871417" y="1141424"/>
                </a:cubicBezTo>
                <a:cubicBezTo>
                  <a:pt x="6982100" y="1694217"/>
                  <a:pt x="7035678" y="2386341"/>
                  <a:pt x="6933619" y="3127391"/>
                </a:cubicBezTo>
                <a:cubicBezTo>
                  <a:pt x="6831561" y="3868442"/>
                  <a:pt x="6627094" y="4510826"/>
                  <a:pt x="6433729" y="4867332"/>
                </a:cubicBezTo>
                <a:cubicBezTo>
                  <a:pt x="6240363" y="5223838"/>
                  <a:pt x="5945156" y="5596746"/>
                  <a:pt x="5586788" y="5801838"/>
                </a:cubicBezTo>
                <a:cubicBezTo>
                  <a:pt x="5228419" y="6006931"/>
                  <a:pt x="4704158" y="6091542"/>
                  <a:pt x="4111534" y="5991944"/>
                </a:cubicBezTo>
                <a:cubicBezTo>
                  <a:pt x="3518910" y="5892346"/>
                  <a:pt x="2642156" y="5570615"/>
                  <a:pt x="2031045" y="5204249"/>
                </a:cubicBezTo>
                <a:cubicBezTo>
                  <a:pt x="1419935" y="4837884"/>
                  <a:pt x="781794" y="4289039"/>
                  <a:pt x="444874" y="3793751"/>
                </a:cubicBezTo>
                <a:cubicBezTo>
                  <a:pt x="107955" y="3298464"/>
                  <a:pt x="-40681" y="2722141"/>
                  <a:pt x="9530" y="2232526"/>
                </a:cubicBezTo>
                <a:cubicBezTo>
                  <a:pt x="59741" y="1742912"/>
                  <a:pt x="406465" y="1187834"/>
                  <a:pt x="746138" y="856062"/>
                </a:cubicBezTo>
                <a:cubicBezTo>
                  <a:pt x="1085813" y="524290"/>
                  <a:pt x="1220928" y="398159"/>
                  <a:pt x="1582881" y="172994"/>
                </a:cubicBezTo>
                <a:lnTo>
                  <a:pt x="1723072" y="86718"/>
                </a:lnTo>
                <a:lnTo>
                  <a:pt x="1868312" y="1"/>
                </a:ln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rtl="0"/>
            <a:endParaRPr lang="en-US" dirty="0"/>
          </a:p>
        </p:txBody>
      </p:sp>
      <p:sp>
        <p:nvSpPr>
          <p:cNvPr id="4" name="Textplatzhalter 3"/>
          <p:cNvSpPr>
            <a:spLocks noGrp="1"/>
          </p:cNvSpPr>
          <p:nvPr userDrawn="1">
            <p:ph type="body" sz="quarter" idx="10" hasCustomPrompt="1"/>
          </p:nvPr>
        </p:nvSpPr>
        <p:spPr bwMode="gray">
          <a:xfrm>
            <a:off x="3683446" y="1776434"/>
            <a:ext cx="4825107" cy="2025170"/>
          </a:xfrm>
          <a:prstGeom prst="rect">
            <a:avLst/>
          </a:prstGeom>
          <a:noFill/>
        </p:spPr>
        <p:txBody>
          <a:bodyPr lIns="0" tIns="0" rIns="0" bIns="0" anchor="ctr">
            <a:spAutoFit/>
          </a:bodyPr>
          <a:lstStyle>
            <a:lvl1pPr marL="0" indent="0" algn="ctr" rtl="0">
              <a:spcBef>
                <a:spcPts val="0"/>
              </a:spcBef>
              <a:spcAft>
                <a:spcPts val="1800"/>
              </a:spcAft>
              <a:buNone/>
              <a:defRPr sz="3800" b="0">
                <a:solidFill>
                  <a:schemeClr val="bg1"/>
                </a:solidFill>
              </a:defRPr>
            </a:lvl1pPr>
            <a:lvl2pPr marL="1588" indent="0" algn="ctr" rtl="0">
              <a:spcBef>
                <a:spcPts val="0"/>
              </a:spcBef>
              <a:buNone/>
              <a:defRPr sz="2400" b="1">
                <a:solidFill>
                  <a:schemeClr val="bg1"/>
                </a:solidFill>
              </a:defRPr>
            </a:lvl2pPr>
            <a:lvl3pPr marL="0" indent="0" algn="ctr" rtl="0">
              <a:spcBef>
                <a:spcPts val="0"/>
              </a:spcBef>
              <a:buNone/>
              <a:tabLst/>
              <a:defRPr sz="2400" b="0">
                <a:solidFill>
                  <a:schemeClr val="bg1"/>
                </a:solidFill>
              </a:defRPr>
            </a:lvl3pPr>
          </a:lstStyle>
          <a:p>
            <a:pPr lvl="0"/>
            <a:r>
              <a:rPr lang="en-US" dirty="0"/>
              <a:t>Edit master text format</a:t>
            </a:r>
          </a:p>
          <a:p>
            <a:pPr lvl="1"/>
            <a:r>
              <a:rPr lang="en-US" dirty="0"/>
              <a:t>Second line</a:t>
            </a:r>
          </a:p>
          <a:p>
            <a:pPr lvl="2"/>
            <a:r>
              <a:rPr lang="en-US" dirty="0"/>
              <a:t>Third line</a:t>
            </a:r>
          </a:p>
        </p:txBody>
      </p:sp>
      <p:pic>
        <p:nvPicPr>
          <p:cNvPr id="9" name="Grafik 8">
            <a:extLst>
              <a:ext uri="{FF2B5EF4-FFF2-40B4-BE49-F238E27FC236}">
                <a16:creationId xmlns:a16="http://schemas.microsoft.com/office/drawing/2014/main" id="{4AC5ADF6-4BA2-4402-9C1B-096AE4D42A2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07494" y="6232350"/>
            <a:ext cx="991557" cy="266400"/>
          </a:xfrm>
          <a:prstGeom prst="rect">
            <a:avLst/>
          </a:prstGeom>
        </p:spPr>
      </p:pic>
      <p:pic>
        <p:nvPicPr>
          <p:cNvPr id="5" name="Grafik 4" descr="Ein Bild, das Cartoon, Clipart, Animation, Lächeln enthält.&#10;&#10;Automatisch generierte Beschreibung">
            <a:extLst>
              <a:ext uri="{FF2B5EF4-FFF2-40B4-BE49-F238E27FC236}">
                <a16:creationId xmlns:a16="http://schemas.microsoft.com/office/drawing/2014/main" id="{8AA46CE3-963D-450A-7E86-0742B91F15A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8071830" y="288324"/>
            <a:ext cx="3456384" cy="6048672"/>
          </a:xfrm>
          <a:prstGeom prst="rect">
            <a:avLst/>
          </a:prstGeom>
        </p:spPr>
      </p:pic>
      <p:grpSp>
        <p:nvGrpSpPr>
          <p:cNvPr id="3" name="Gruppieren 2">
            <a:extLst>
              <a:ext uri="{FF2B5EF4-FFF2-40B4-BE49-F238E27FC236}">
                <a16:creationId xmlns:a16="http://schemas.microsoft.com/office/drawing/2014/main" id="{01CDBBE8-6EC3-9F0D-84BE-A885B23CDF73}"/>
              </a:ext>
            </a:extLst>
          </p:cNvPr>
          <p:cNvGrpSpPr/>
          <p:nvPr userDrawn="1"/>
        </p:nvGrpSpPr>
        <p:grpSpPr>
          <a:xfrm>
            <a:off x="407988" y="6352639"/>
            <a:ext cx="1619380" cy="131115"/>
            <a:chOff x="407988" y="6352639"/>
            <a:chExt cx="1619380" cy="131115"/>
          </a:xfrm>
        </p:grpSpPr>
        <p:sp>
          <p:nvSpPr>
            <p:cNvPr id="6" name="Freihandform: Form 5">
              <a:extLst>
                <a:ext uri="{FF2B5EF4-FFF2-40B4-BE49-F238E27FC236}">
                  <a16:creationId xmlns:a16="http://schemas.microsoft.com/office/drawing/2014/main" id="{8278DED2-8B0A-18AB-85B0-ACC9AEBD57E9}"/>
                </a:ext>
              </a:extLst>
            </p:cNvPr>
            <p:cNvSpPr/>
            <p:nvPr/>
          </p:nvSpPr>
          <p:spPr>
            <a:xfrm>
              <a:off x="1447893" y="6369409"/>
              <a:ext cx="102148" cy="100623"/>
            </a:xfrm>
            <a:custGeom>
              <a:avLst/>
              <a:gdLst>
                <a:gd name="connsiteX0" fmla="*/ 38737 w 103470"/>
                <a:gd name="connsiteY0" fmla="*/ 62031 h 101925"/>
                <a:gd name="connsiteX1" fmla="*/ 51735 w 103470"/>
                <a:gd name="connsiteY1" fmla="*/ 17245 h 101925"/>
                <a:gd name="connsiteX2" fmla="*/ 64090 w 103470"/>
                <a:gd name="connsiteY2" fmla="*/ 62031 h 101925"/>
                <a:gd name="connsiteX3" fmla="*/ 38737 w 103470"/>
                <a:gd name="connsiteY3" fmla="*/ 62031 h 101925"/>
                <a:gd name="connsiteX4" fmla="*/ 74514 w 103470"/>
                <a:gd name="connsiteY4" fmla="*/ 101926 h 101925"/>
                <a:gd name="connsiteX5" fmla="*/ 103470 w 103470"/>
                <a:gd name="connsiteY5" fmla="*/ 101926 h 101925"/>
                <a:gd name="connsiteX6" fmla="*/ 71297 w 103470"/>
                <a:gd name="connsiteY6" fmla="*/ 0 h 101925"/>
                <a:gd name="connsiteX7" fmla="*/ 51735 w 103470"/>
                <a:gd name="connsiteY7" fmla="*/ 0 h 101925"/>
                <a:gd name="connsiteX8" fmla="*/ 27155 w 103470"/>
                <a:gd name="connsiteY8" fmla="*/ 17888 h 101925"/>
                <a:gd name="connsiteX9" fmla="*/ 0 w 103470"/>
                <a:gd name="connsiteY9" fmla="*/ 101926 h 101925"/>
                <a:gd name="connsiteX10" fmla="*/ 27798 w 103470"/>
                <a:gd name="connsiteY10" fmla="*/ 101926 h 101925"/>
                <a:gd name="connsiteX11" fmla="*/ 33975 w 103470"/>
                <a:gd name="connsiteY11" fmla="*/ 81335 h 101925"/>
                <a:gd name="connsiteX12" fmla="*/ 68723 w 103470"/>
                <a:gd name="connsiteY12" fmla="*/ 81335 h 101925"/>
                <a:gd name="connsiteX13" fmla="*/ 74514 w 103470"/>
                <a:gd name="connsiteY13" fmla="*/ 101926 h 101925"/>
                <a:gd name="connsiteX14" fmla="*/ 74514 w 103470"/>
                <a:gd name="connsiteY14" fmla="*/ 101926 h 10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470" h="101925">
                  <a:moveTo>
                    <a:pt x="38737" y="62031"/>
                  </a:moveTo>
                  <a:lnTo>
                    <a:pt x="51735" y="17245"/>
                  </a:lnTo>
                  <a:lnTo>
                    <a:pt x="64090" y="62031"/>
                  </a:lnTo>
                  <a:lnTo>
                    <a:pt x="38737" y="62031"/>
                  </a:lnTo>
                  <a:close/>
                  <a:moveTo>
                    <a:pt x="74514" y="101926"/>
                  </a:moveTo>
                  <a:lnTo>
                    <a:pt x="103470" y="101926"/>
                  </a:lnTo>
                  <a:lnTo>
                    <a:pt x="71297" y="0"/>
                  </a:lnTo>
                  <a:lnTo>
                    <a:pt x="51735" y="0"/>
                  </a:lnTo>
                  <a:cubicBezTo>
                    <a:pt x="37965" y="0"/>
                    <a:pt x="31530" y="4890"/>
                    <a:pt x="27155" y="17888"/>
                  </a:cubicBezTo>
                  <a:lnTo>
                    <a:pt x="0" y="101926"/>
                  </a:lnTo>
                  <a:lnTo>
                    <a:pt x="27798" y="101926"/>
                  </a:lnTo>
                  <a:lnTo>
                    <a:pt x="33975" y="81335"/>
                  </a:lnTo>
                  <a:lnTo>
                    <a:pt x="68723" y="81335"/>
                  </a:lnTo>
                  <a:lnTo>
                    <a:pt x="74514" y="101926"/>
                  </a:lnTo>
                  <a:lnTo>
                    <a:pt x="74514" y="101926"/>
                  </a:lnTo>
                  <a:close/>
                </a:path>
              </a:pathLst>
            </a:custGeom>
            <a:solidFill>
              <a:schemeClr val="accent1"/>
            </a:solidFill>
            <a:ln w="0" cap="flat">
              <a:noFill/>
              <a:prstDash val="solid"/>
              <a:miter/>
            </a:ln>
          </p:spPr>
          <p:txBody>
            <a:bodyPr rtlCol="0" anchor="ctr"/>
            <a:lstStyle/>
            <a:p>
              <a:pPr rtl="0"/>
              <a:endParaRPr lang="en-US" dirty="0"/>
            </a:p>
          </p:txBody>
        </p:sp>
        <p:sp>
          <p:nvSpPr>
            <p:cNvPr id="7" name="Freihandform: Form 6">
              <a:extLst>
                <a:ext uri="{FF2B5EF4-FFF2-40B4-BE49-F238E27FC236}">
                  <a16:creationId xmlns:a16="http://schemas.microsoft.com/office/drawing/2014/main" id="{8327D5DF-F785-2442-F7E6-E15712491EE9}"/>
                </a:ext>
              </a:extLst>
            </p:cNvPr>
            <p:cNvSpPr/>
            <p:nvPr/>
          </p:nvSpPr>
          <p:spPr>
            <a:xfrm>
              <a:off x="1565287" y="6369409"/>
              <a:ext cx="65558" cy="100623"/>
            </a:xfrm>
            <a:custGeom>
              <a:avLst/>
              <a:gdLst>
                <a:gd name="connsiteX0" fmla="*/ 66406 w 66406"/>
                <a:gd name="connsiteY0" fmla="*/ 79276 h 101925"/>
                <a:gd name="connsiteX1" fmla="*/ 27541 w 66406"/>
                <a:gd name="connsiteY1" fmla="*/ 79276 h 101925"/>
                <a:gd name="connsiteX2" fmla="*/ 27541 w 66406"/>
                <a:gd name="connsiteY2" fmla="*/ 0 h 101925"/>
                <a:gd name="connsiteX3" fmla="*/ 0 w 66406"/>
                <a:gd name="connsiteY3" fmla="*/ 0 h 101925"/>
                <a:gd name="connsiteX4" fmla="*/ 0 w 66406"/>
                <a:gd name="connsiteY4" fmla="*/ 101926 h 101925"/>
                <a:gd name="connsiteX5" fmla="*/ 66406 w 66406"/>
                <a:gd name="connsiteY5" fmla="*/ 101926 h 101925"/>
                <a:gd name="connsiteX6" fmla="*/ 66406 w 66406"/>
                <a:gd name="connsiteY6" fmla="*/ 79276 h 101925"/>
                <a:gd name="connsiteX7" fmla="*/ 66406 w 66406"/>
                <a:gd name="connsiteY7" fmla="*/ 79276 h 101925"/>
                <a:gd name="connsiteX8" fmla="*/ 66406 w 66406"/>
                <a:gd name="connsiteY8" fmla="*/ 79276 h 10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06" h="101925">
                  <a:moveTo>
                    <a:pt x="66406" y="79276"/>
                  </a:moveTo>
                  <a:lnTo>
                    <a:pt x="27541" y="79276"/>
                  </a:lnTo>
                  <a:lnTo>
                    <a:pt x="27541" y="0"/>
                  </a:lnTo>
                  <a:lnTo>
                    <a:pt x="0" y="0"/>
                  </a:lnTo>
                  <a:lnTo>
                    <a:pt x="0" y="101926"/>
                  </a:lnTo>
                  <a:lnTo>
                    <a:pt x="66406" y="101926"/>
                  </a:lnTo>
                  <a:lnTo>
                    <a:pt x="66406" y="79276"/>
                  </a:lnTo>
                  <a:lnTo>
                    <a:pt x="66406" y="79276"/>
                  </a:lnTo>
                  <a:lnTo>
                    <a:pt x="66406" y="79276"/>
                  </a:lnTo>
                  <a:close/>
                </a:path>
              </a:pathLst>
            </a:custGeom>
            <a:solidFill>
              <a:schemeClr val="accent1"/>
            </a:solidFill>
            <a:ln w="0" cap="flat">
              <a:noFill/>
              <a:prstDash val="solid"/>
              <a:miter/>
            </a:ln>
          </p:spPr>
          <p:txBody>
            <a:bodyPr rtlCol="0" anchor="ctr"/>
            <a:lstStyle/>
            <a:p>
              <a:pPr rtl="0"/>
              <a:endParaRPr lang="en-US" dirty="0"/>
            </a:p>
          </p:txBody>
        </p:sp>
        <p:sp>
          <p:nvSpPr>
            <p:cNvPr id="11" name="Freihandform: Form 10">
              <a:extLst>
                <a:ext uri="{FF2B5EF4-FFF2-40B4-BE49-F238E27FC236}">
                  <a16:creationId xmlns:a16="http://schemas.microsoft.com/office/drawing/2014/main" id="{4B9243A6-8EA6-8901-B99D-07CF841402E5}"/>
                </a:ext>
              </a:extLst>
            </p:cNvPr>
            <p:cNvSpPr/>
            <p:nvPr/>
          </p:nvSpPr>
          <p:spPr>
            <a:xfrm>
              <a:off x="1629321" y="6369409"/>
              <a:ext cx="77754" cy="100623"/>
            </a:xfrm>
            <a:custGeom>
              <a:avLst/>
              <a:gdLst>
                <a:gd name="connsiteX0" fmla="*/ 78761 w 78760"/>
                <a:gd name="connsiteY0" fmla="*/ 0 h 101925"/>
                <a:gd name="connsiteX1" fmla="*/ 0 w 78760"/>
                <a:gd name="connsiteY1" fmla="*/ 0 h 101925"/>
                <a:gd name="connsiteX2" fmla="*/ 0 w 78760"/>
                <a:gd name="connsiteY2" fmla="*/ 22650 h 101925"/>
                <a:gd name="connsiteX3" fmla="*/ 25739 w 78760"/>
                <a:gd name="connsiteY3" fmla="*/ 22650 h 101925"/>
                <a:gd name="connsiteX4" fmla="*/ 25739 w 78760"/>
                <a:gd name="connsiteY4" fmla="*/ 101926 h 101925"/>
                <a:gd name="connsiteX5" fmla="*/ 53022 w 78760"/>
                <a:gd name="connsiteY5" fmla="*/ 101926 h 101925"/>
                <a:gd name="connsiteX6" fmla="*/ 53022 w 78760"/>
                <a:gd name="connsiteY6" fmla="*/ 22650 h 101925"/>
                <a:gd name="connsiteX7" fmla="*/ 78761 w 78760"/>
                <a:gd name="connsiteY7" fmla="*/ 22650 h 101925"/>
                <a:gd name="connsiteX8" fmla="*/ 78761 w 78760"/>
                <a:gd name="connsiteY8" fmla="*/ 0 h 101925"/>
                <a:gd name="connsiteX9" fmla="*/ 78761 w 78760"/>
                <a:gd name="connsiteY9" fmla="*/ 0 h 101925"/>
                <a:gd name="connsiteX10" fmla="*/ 78761 w 78760"/>
                <a:gd name="connsiteY10" fmla="*/ 0 h 10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760" h="101925">
                  <a:moveTo>
                    <a:pt x="78761" y="0"/>
                  </a:moveTo>
                  <a:lnTo>
                    <a:pt x="0" y="0"/>
                  </a:lnTo>
                  <a:lnTo>
                    <a:pt x="0" y="22650"/>
                  </a:lnTo>
                  <a:lnTo>
                    <a:pt x="25739" y="22650"/>
                  </a:lnTo>
                  <a:lnTo>
                    <a:pt x="25739" y="101926"/>
                  </a:lnTo>
                  <a:lnTo>
                    <a:pt x="53022" y="101926"/>
                  </a:lnTo>
                  <a:lnTo>
                    <a:pt x="53022" y="22650"/>
                  </a:lnTo>
                  <a:lnTo>
                    <a:pt x="78761" y="22650"/>
                  </a:lnTo>
                  <a:lnTo>
                    <a:pt x="78761" y="0"/>
                  </a:lnTo>
                  <a:lnTo>
                    <a:pt x="78761" y="0"/>
                  </a:lnTo>
                  <a:lnTo>
                    <a:pt x="78761" y="0"/>
                  </a:lnTo>
                  <a:close/>
                </a:path>
              </a:pathLst>
            </a:custGeom>
            <a:solidFill>
              <a:schemeClr val="accent1"/>
            </a:solidFill>
            <a:ln w="0" cap="flat">
              <a:noFill/>
              <a:prstDash val="solid"/>
              <a:miter/>
            </a:ln>
          </p:spPr>
          <p:txBody>
            <a:bodyPr rtlCol="0" anchor="ctr"/>
            <a:lstStyle/>
            <a:p>
              <a:pPr rtl="0"/>
              <a:endParaRPr lang="en-US" dirty="0"/>
            </a:p>
          </p:txBody>
        </p:sp>
        <p:sp>
          <p:nvSpPr>
            <p:cNvPr id="12" name="Freihandform: Form 11">
              <a:extLst>
                <a:ext uri="{FF2B5EF4-FFF2-40B4-BE49-F238E27FC236}">
                  <a16:creationId xmlns:a16="http://schemas.microsoft.com/office/drawing/2014/main" id="{A2262DCF-745C-CFAB-E9D7-CC2782072195}"/>
                </a:ext>
              </a:extLst>
            </p:cNvPr>
            <p:cNvSpPr/>
            <p:nvPr/>
          </p:nvSpPr>
          <p:spPr>
            <a:xfrm>
              <a:off x="1707075" y="6369409"/>
              <a:ext cx="100624" cy="100623"/>
            </a:xfrm>
            <a:custGeom>
              <a:avLst/>
              <a:gdLst>
                <a:gd name="connsiteX0" fmla="*/ 37965 w 101926"/>
                <a:gd name="connsiteY0" fmla="*/ 62031 h 101925"/>
                <a:gd name="connsiteX1" fmla="*/ 50706 w 101926"/>
                <a:gd name="connsiteY1" fmla="*/ 17245 h 101925"/>
                <a:gd name="connsiteX2" fmla="*/ 62803 w 101926"/>
                <a:gd name="connsiteY2" fmla="*/ 62031 h 101925"/>
                <a:gd name="connsiteX3" fmla="*/ 37965 w 101926"/>
                <a:gd name="connsiteY3" fmla="*/ 62031 h 101925"/>
                <a:gd name="connsiteX4" fmla="*/ 73098 w 101926"/>
                <a:gd name="connsiteY4" fmla="*/ 101926 h 101925"/>
                <a:gd name="connsiteX5" fmla="*/ 101926 w 101926"/>
                <a:gd name="connsiteY5" fmla="*/ 101926 h 101925"/>
                <a:gd name="connsiteX6" fmla="*/ 70010 w 101926"/>
                <a:gd name="connsiteY6" fmla="*/ 0 h 101925"/>
                <a:gd name="connsiteX7" fmla="*/ 50834 w 101926"/>
                <a:gd name="connsiteY7" fmla="*/ 0 h 101925"/>
                <a:gd name="connsiteX8" fmla="*/ 26640 w 101926"/>
                <a:gd name="connsiteY8" fmla="*/ 17888 h 101925"/>
                <a:gd name="connsiteX9" fmla="*/ 0 w 101926"/>
                <a:gd name="connsiteY9" fmla="*/ 101926 h 101925"/>
                <a:gd name="connsiteX10" fmla="*/ 27283 w 101926"/>
                <a:gd name="connsiteY10" fmla="*/ 101926 h 101925"/>
                <a:gd name="connsiteX11" fmla="*/ 33332 w 101926"/>
                <a:gd name="connsiteY11" fmla="*/ 81335 h 101925"/>
                <a:gd name="connsiteX12" fmla="*/ 67436 w 101926"/>
                <a:gd name="connsiteY12" fmla="*/ 81335 h 101925"/>
                <a:gd name="connsiteX13" fmla="*/ 73098 w 101926"/>
                <a:gd name="connsiteY13" fmla="*/ 101926 h 101925"/>
                <a:gd name="connsiteX14" fmla="*/ 73098 w 101926"/>
                <a:gd name="connsiteY14" fmla="*/ 101926 h 10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926" h="101925">
                  <a:moveTo>
                    <a:pt x="37965" y="62031"/>
                  </a:moveTo>
                  <a:lnTo>
                    <a:pt x="50706" y="17245"/>
                  </a:lnTo>
                  <a:lnTo>
                    <a:pt x="62803" y="62031"/>
                  </a:lnTo>
                  <a:lnTo>
                    <a:pt x="37965" y="62031"/>
                  </a:lnTo>
                  <a:close/>
                  <a:moveTo>
                    <a:pt x="73098" y="101926"/>
                  </a:moveTo>
                  <a:lnTo>
                    <a:pt x="101926" y="101926"/>
                  </a:lnTo>
                  <a:lnTo>
                    <a:pt x="70010" y="0"/>
                  </a:lnTo>
                  <a:lnTo>
                    <a:pt x="50834" y="0"/>
                  </a:lnTo>
                  <a:cubicBezTo>
                    <a:pt x="37321" y="0"/>
                    <a:pt x="30887" y="4890"/>
                    <a:pt x="26640" y="17888"/>
                  </a:cubicBezTo>
                  <a:lnTo>
                    <a:pt x="0" y="101926"/>
                  </a:lnTo>
                  <a:lnTo>
                    <a:pt x="27283" y="101926"/>
                  </a:lnTo>
                  <a:lnTo>
                    <a:pt x="33332" y="81335"/>
                  </a:lnTo>
                  <a:lnTo>
                    <a:pt x="67436" y="81335"/>
                  </a:lnTo>
                  <a:lnTo>
                    <a:pt x="73098" y="101926"/>
                  </a:lnTo>
                  <a:lnTo>
                    <a:pt x="73098" y="101926"/>
                  </a:lnTo>
                  <a:close/>
                </a:path>
              </a:pathLst>
            </a:custGeom>
            <a:solidFill>
              <a:schemeClr val="accent1"/>
            </a:solidFill>
            <a:ln w="0" cap="flat">
              <a:noFill/>
              <a:prstDash val="solid"/>
              <a:miter/>
            </a:ln>
          </p:spPr>
          <p:txBody>
            <a:bodyPr rtlCol="0" anchor="ctr"/>
            <a:lstStyle/>
            <a:p>
              <a:pPr rtl="0"/>
              <a:endParaRPr lang="en-US" dirty="0"/>
            </a:p>
          </p:txBody>
        </p:sp>
        <p:sp>
          <p:nvSpPr>
            <p:cNvPr id="13" name="Freihandform: Form 12">
              <a:extLst>
                <a:ext uri="{FF2B5EF4-FFF2-40B4-BE49-F238E27FC236}">
                  <a16:creationId xmlns:a16="http://schemas.microsoft.com/office/drawing/2014/main" id="{CEA0C1EB-F08C-94D9-DB1D-1EA3996C1725}"/>
                </a:ext>
              </a:extLst>
            </p:cNvPr>
            <p:cNvSpPr/>
            <p:nvPr/>
          </p:nvSpPr>
          <p:spPr>
            <a:xfrm>
              <a:off x="1822945" y="6369409"/>
              <a:ext cx="86901" cy="100623"/>
            </a:xfrm>
            <a:custGeom>
              <a:avLst/>
              <a:gdLst>
                <a:gd name="connsiteX0" fmla="*/ 88027 w 88026"/>
                <a:gd name="connsiteY0" fmla="*/ 101926 h 101925"/>
                <a:gd name="connsiteX1" fmla="*/ 88027 w 88026"/>
                <a:gd name="connsiteY1" fmla="*/ 0 h 101925"/>
                <a:gd name="connsiteX2" fmla="*/ 62417 w 88026"/>
                <a:gd name="connsiteY2" fmla="*/ 0 h 101925"/>
                <a:gd name="connsiteX3" fmla="*/ 63961 w 88026"/>
                <a:gd name="connsiteY3" fmla="*/ 67950 h 101925"/>
                <a:gd name="connsiteX4" fmla="*/ 30372 w 88026"/>
                <a:gd name="connsiteY4" fmla="*/ 0 h 101925"/>
                <a:gd name="connsiteX5" fmla="*/ 0 w 88026"/>
                <a:gd name="connsiteY5" fmla="*/ 0 h 101925"/>
                <a:gd name="connsiteX6" fmla="*/ 0 w 88026"/>
                <a:gd name="connsiteY6" fmla="*/ 101926 h 101925"/>
                <a:gd name="connsiteX7" fmla="*/ 25610 w 88026"/>
                <a:gd name="connsiteY7" fmla="*/ 101926 h 101925"/>
                <a:gd name="connsiteX8" fmla="*/ 24066 w 88026"/>
                <a:gd name="connsiteY8" fmla="*/ 35648 h 101925"/>
                <a:gd name="connsiteX9" fmla="*/ 57655 w 88026"/>
                <a:gd name="connsiteY9" fmla="*/ 101926 h 101925"/>
                <a:gd name="connsiteX10" fmla="*/ 88027 w 88026"/>
                <a:gd name="connsiteY10" fmla="*/ 101926 h 101925"/>
                <a:gd name="connsiteX11" fmla="*/ 88027 w 88026"/>
                <a:gd name="connsiteY11" fmla="*/ 101926 h 101925"/>
                <a:gd name="connsiteX12" fmla="*/ 88027 w 88026"/>
                <a:gd name="connsiteY12" fmla="*/ 101926 h 10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026" h="101925">
                  <a:moveTo>
                    <a:pt x="88027" y="101926"/>
                  </a:moveTo>
                  <a:lnTo>
                    <a:pt x="88027" y="0"/>
                  </a:lnTo>
                  <a:lnTo>
                    <a:pt x="62417" y="0"/>
                  </a:lnTo>
                  <a:lnTo>
                    <a:pt x="63961" y="67950"/>
                  </a:lnTo>
                  <a:lnTo>
                    <a:pt x="30372" y="0"/>
                  </a:lnTo>
                  <a:lnTo>
                    <a:pt x="0" y="0"/>
                  </a:lnTo>
                  <a:lnTo>
                    <a:pt x="0" y="101926"/>
                  </a:lnTo>
                  <a:lnTo>
                    <a:pt x="25610" y="101926"/>
                  </a:lnTo>
                  <a:lnTo>
                    <a:pt x="24066" y="35648"/>
                  </a:lnTo>
                  <a:lnTo>
                    <a:pt x="57655" y="101926"/>
                  </a:lnTo>
                  <a:lnTo>
                    <a:pt x="88027" y="101926"/>
                  </a:lnTo>
                  <a:lnTo>
                    <a:pt x="88027" y="101926"/>
                  </a:lnTo>
                  <a:lnTo>
                    <a:pt x="88027" y="101926"/>
                  </a:lnTo>
                  <a:close/>
                </a:path>
              </a:pathLst>
            </a:custGeom>
            <a:solidFill>
              <a:schemeClr val="accent1"/>
            </a:solidFill>
            <a:ln w="0" cap="flat">
              <a:noFill/>
              <a:prstDash val="solid"/>
              <a:miter/>
            </a:ln>
          </p:spPr>
          <p:txBody>
            <a:bodyPr rtlCol="0" anchor="ctr"/>
            <a:lstStyle/>
            <a:p>
              <a:pPr rtl="0"/>
              <a:endParaRPr lang="en-US" dirty="0"/>
            </a:p>
          </p:txBody>
        </p:sp>
        <p:sp>
          <p:nvSpPr>
            <p:cNvPr id="16" name="Freihandform: Form 15">
              <a:extLst>
                <a:ext uri="{FF2B5EF4-FFF2-40B4-BE49-F238E27FC236}">
                  <a16:creationId xmlns:a16="http://schemas.microsoft.com/office/drawing/2014/main" id="{463667DF-A7E3-6C56-2C1D-BA9FA37D4FDB}"/>
                </a:ext>
              </a:extLst>
            </p:cNvPr>
            <p:cNvSpPr/>
            <p:nvPr/>
          </p:nvSpPr>
          <p:spPr>
            <a:xfrm>
              <a:off x="1925347" y="6369409"/>
              <a:ext cx="102021" cy="100623"/>
            </a:xfrm>
            <a:custGeom>
              <a:avLst/>
              <a:gdLst>
                <a:gd name="connsiteX0" fmla="*/ 38737 w 103341"/>
                <a:gd name="connsiteY0" fmla="*/ 62031 h 101925"/>
                <a:gd name="connsiteX1" fmla="*/ 51735 w 103341"/>
                <a:gd name="connsiteY1" fmla="*/ 17245 h 101925"/>
                <a:gd name="connsiteX2" fmla="*/ 63961 w 103341"/>
                <a:gd name="connsiteY2" fmla="*/ 62031 h 101925"/>
                <a:gd name="connsiteX3" fmla="*/ 38737 w 103341"/>
                <a:gd name="connsiteY3" fmla="*/ 62031 h 101925"/>
                <a:gd name="connsiteX4" fmla="*/ 74128 w 103341"/>
                <a:gd name="connsiteY4" fmla="*/ 101926 h 101925"/>
                <a:gd name="connsiteX5" fmla="*/ 103342 w 103341"/>
                <a:gd name="connsiteY5" fmla="*/ 101926 h 101925"/>
                <a:gd name="connsiteX6" fmla="*/ 70911 w 103341"/>
                <a:gd name="connsiteY6" fmla="*/ 0 h 101925"/>
                <a:gd name="connsiteX7" fmla="*/ 51478 w 103341"/>
                <a:gd name="connsiteY7" fmla="*/ 0 h 101925"/>
                <a:gd name="connsiteX8" fmla="*/ 27026 w 103341"/>
                <a:gd name="connsiteY8" fmla="*/ 17888 h 101925"/>
                <a:gd name="connsiteX9" fmla="*/ 0 w 103341"/>
                <a:gd name="connsiteY9" fmla="*/ 101926 h 101925"/>
                <a:gd name="connsiteX10" fmla="*/ 27798 w 103341"/>
                <a:gd name="connsiteY10" fmla="*/ 101926 h 101925"/>
                <a:gd name="connsiteX11" fmla="*/ 33975 w 103341"/>
                <a:gd name="connsiteY11" fmla="*/ 81335 h 101925"/>
                <a:gd name="connsiteX12" fmla="*/ 68594 w 103341"/>
                <a:gd name="connsiteY12" fmla="*/ 81335 h 101925"/>
                <a:gd name="connsiteX13" fmla="*/ 74385 w 103341"/>
                <a:gd name="connsiteY13" fmla="*/ 101926 h 101925"/>
                <a:gd name="connsiteX14" fmla="*/ 74385 w 103341"/>
                <a:gd name="connsiteY14" fmla="*/ 101926 h 10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341" h="101925">
                  <a:moveTo>
                    <a:pt x="38737" y="62031"/>
                  </a:moveTo>
                  <a:lnTo>
                    <a:pt x="51735" y="17245"/>
                  </a:lnTo>
                  <a:lnTo>
                    <a:pt x="63961" y="62031"/>
                  </a:lnTo>
                  <a:lnTo>
                    <a:pt x="38737" y="62031"/>
                  </a:lnTo>
                  <a:close/>
                  <a:moveTo>
                    <a:pt x="74128" y="101926"/>
                  </a:moveTo>
                  <a:lnTo>
                    <a:pt x="103342" y="101926"/>
                  </a:lnTo>
                  <a:lnTo>
                    <a:pt x="70911" y="0"/>
                  </a:lnTo>
                  <a:lnTo>
                    <a:pt x="51478" y="0"/>
                  </a:lnTo>
                  <a:cubicBezTo>
                    <a:pt x="38094" y="0"/>
                    <a:pt x="31273" y="4890"/>
                    <a:pt x="27026" y="17888"/>
                  </a:cubicBezTo>
                  <a:lnTo>
                    <a:pt x="0" y="101926"/>
                  </a:lnTo>
                  <a:lnTo>
                    <a:pt x="27798" y="101926"/>
                  </a:lnTo>
                  <a:lnTo>
                    <a:pt x="33975" y="81335"/>
                  </a:lnTo>
                  <a:lnTo>
                    <a:pt x="68594" y="81335"/>
                  </a:lnTo>
                  <a:lnTo>
                    <a:pt x="74385" y="101926"/>
                  </a:lnTo>
                  <a:lnTo>
                    <a:pt x="74385" y="101926"/>
                  </a:lnTo>
                  <a:close/>
                </a:path>
              </a:pathLst>
            </a:custGeom>
            <a:solidFill>
              <a:schemeClr val="accent1"/>
            </a:solidFill>
            <a:ln w="0" cap="flat">
              <a:noFill/>
              <a:prstDash val="solid"/>
              <a:miter/>
            </a:ln>
          </p:spPr>
          <p:txBody>
            <a:bodyPr rtlCol="0" anchor="ctr"/>
            <a:lstStyle/>
            <a:p>
              <a:pPr rtl="0"/>
              <a:endParaRPr lang="en-US" dirty="0"/>
            </a:p>
          </p:txBody>
        </p:sp>
        <p:sp>
          <p:nvSpPr>
            <p:cNvPr id="17" name="Freihandform: Form 16">
              <a:extLst>
                <a:ext uri="{FF2B5EF4-FFF2-40B4-BE49-F238E27FC236}">
                  <a16:creationId xmlns:a16="http://schemas.microsoft.com/office/drawing/2014/main" id="{2DBEC3C0-B100-A224-A002-BB8927E3381E}"/>
                </a:ext>
              </a:extLst>
            </p:cNvPr>
            <p:cNvSpPr/>
            <p:nvPr/>
          </p:nvSpPr>
          <p:spPr>
            <a:xfrm>
              <a:off x="1339646" y="6361786"/>
              <a:ext cx="59458" cy="82327"/>
            </a:xfrm>
            <a:custGeom>
              <a:avLst/>
              <a:gdLst>
                <a:gd name="connsiteX0" fmla="*/ 60229 w 60228"/>
                <a:gd name="connsiteY0" fmla="*/ 48132 h 83393"/>
                <a:gd name="connsiteX1" fmla="*/ 11068 w 60228"/>
                <a:gd name="connsiteY1" fmla="*/ 0 h 83393"/>
                <a:gd name="connsiteX2" fmla="*/ 0 w 60228"/>
                <a:gd name="connsiteY2" fmla="*/ 1030 h 83393"/>
                <a:gd name="connsiteX3" fmla="*/ 44786 w 60228"/>
                <a:gd name="connsiteY3" fmla="*/ 80820 h 83393"/>
                <a:gd name="connsiteX4" fmla="*/ 44786 w 60228"/>
                <a:gd name="connsiteY4" fmla="*/ 83394 h 83393"/>
                <a:gd name="connsiteX5" fmla="*/ 60229 w 60228"/>
                <a:gd name="connsiteY5" fmla="*/ 48132 h 8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8" h="83393">
                  <a:moveTo>
                    <a:pt x="60229" y="48132"/>
                  </a:moveTo>
                  <a:cubicBezTo>
                    <a:pt x="60229" y="21235"/>
                    <a:pt x="38608" y="0"/>
                    <a:pt x="11068" y="0"/>
                  </a:cubicBezTo>
                  <a:cubicBezTo>
                    <a:pt x="7336" y="0"/>
                    <a:pt x="3732" y="386"/>
                    <a:pt x="0" y="1030"/>
                  </a:cubicBezTo>
                  <a:cubicBezTo>
                    <a:pt x="25739" y="18532"/>
                    <a:pt x="44786" y="55982"/>
                    <a:pt x="44786" y="80820"/>
                  </a:cubicBezTo>
                  <a:lnTo>
                    <a:pt x="44786" y="83394"/>
                  </a:lnTo>
                  <a:cubicBezTo>
                    <a:pt x="54309" y="75029"/>
                    <a:pt x="60229" y="61902"/>
                    <a:pt x="60229" y="48132"/>
                  </a:cubicBezTo>
                </a:path>
              </a:pathLst>
            </a:custGeom>
            <a:solidFill>
              <a:schemeClr val="accent2"/>
            </a:solidFill>
            <a:ln w="0" cap="flat">
              <a:noFill/>
              <a:prstDash val="solid"/>
              <a:miter/>
            </a:ln>
          </p:spPr>
          <p:txBody>
            <a:bodyPr rtlCol="0" anchor="ctr"/>
            <a:lstStyle/>
            <a:p>
              <a:pPr rtl="0"/>
              <a:endParaRPr lang="en-US" dirty="0"/>
            </a:p>
          </p:txBody>
        </p:sp>
        <p:sp>
          <p:nvSpPr>
            <p:cNvPr id="18" name="Freihandform: Form 17">
              <a:extLst>
                <a:ext uri="{FF2B5EF4-FFF2-40B4-BE49-F238E27FC236}">
                  <a16:creationId xmlns:a16="http://schemas.microsoft.com/office/drawing/2014/main" id="{45C32EE3-264F-ACB5-4C63-8DDE496BED41}"/>
                </a:ext>
              </a:extLst>
            </p:cNvPr>
            <p:cNvSpPr/>
            <p:nvPr/>
          </p:nvSpPr>
          <p:spPr>
            <a:xfrm>
              <a:off x="1255666" y="6352639"/>
              <a:ext cx="128193" cy="131115"/>
            </a:xfrm>
            <a:custGeom>
              <a:avLst/>
              <a:gdLst>
                <a:gd name="connsiteX0" fmla="*/ 129 w 129852"/>
                <a:gd name="connsiteY0" fmla="*/ 89056 h 132812"/>
                <a:gd name="connsiteX1" fmla="*/ 58299 w 129852"/>
                <a:gd name="connsiteY1" fmla="*/ 132812 h 132812"/>
                <a:gd name="connsiteX2" fmla="*/ 129853 w 129852"/>
                <a:gd name="connsiteY2" fmla="*/ 93046 h 132812"/>
                <a:gd name="connsiteX3" fmla="*/ 96650 w 129852"/>
                <a:gd name="connsiteY3" fmla="*/ 106301 h 132812"/>
                <a:gd name="connsiteX4" fmla="*/ 48904 w 129852"/>
                <a:gd name="connsiteY4" fmla="*/ 57398 h 132812"/>
                <a:gd name="connsiteX5" fmla="*/ 85711 w 129852"/>
                <a:gd name="connsiteY5" fmla="*/ 9909 h 132812"/>
                <a:gd name="connsiteX6" fmla="*/ 58556 w 129852"/>
                <a:gd name="connsiteY6" fmla="*/ 0 h 132812"/>
                <a:gd name="connsiteX7" fmla="*/ 0 w 129852"/>
                <a:gd name="connsiteY7" fmla="*/ 89056 h 132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2" h="132812">
                  <a:moveTo>
                    <a:pt x="129" y="89056"/>
                  </a:moveTo>
                  <a:cubicBezTo>
                    <a:pt x="129" y="123289"/>
                    <a:pt x="25482" y="132812"/>
                    <a:pt x="58299" y="132812"/>
                  </a:cubicBezTo>
                  <a:cubicBezTo>
                    <a:pt x="93303" y="132812"/>
                    <a:pt x="128051" y="119171"/>
                    <a:pt x="129853" y="93046"/>
                  </a:cubicBezTo>
                  <a:cubicBezTo>
                    <a:pt x="121230" y="101153"/>
                    <a:pt x="109648" y="106301"/>
                    <a:pt x="96650" y="106301"/>
                  </a:cubicBezTo>
                  <a:cubicBezTo>
                    <a:pt x="70267" y="106301"/>
                    <a:pt x="48904" y="85324"/>
                    <a:pt x="48904" y="57398"/>
                  </a:cubicBezTo>
                  <a:cubicBezTo>
                    <a:pt x="48904" y="34233"/>
                    <a:pt x="64862" y="15057"/>
                    <a:pt x="85711" y="9909"/>
                  </a:cubicBezTo>
                  <a:cubicBezTo>
                    <a:pt x="77345" y="3603"/>
                    <a:pt x="67951" y="0"/>
                    <a:pt x="58556" y="0"/>
                  </a:cubicBezTo>
                  <a:cubicBezTo>
                    <a:pt x="22779" y="0"/>
                    <a:pt x="0" y="55210"/>
                    <a:pt x="0" y="89056"/>
                  </a:cubicBezTo>
                </a:path>
              </a:pathLst>
            </a:custGeom>
            <a:solidFill>
              <a:schemeClr val="accent1"/>
            </a:solidFill>
            <a:ln w="0" cap="flat">
              <a:noFill/>
              <a:prstDash val="solid"/>
              <a:miter/>
            </a:ln>
          </p:spPr>
          <p:txBody>
            <a:bodyPr rtlCol="0" anchor="ctr"/>
            <a:lstStyle/>
            <a:p>
              <a:pPr rtl="0"/>
              <a:endParaRPr lang="en-US" dirty="0"/>
            </a:p>
          </p:txBody>
        </p:sp>
        <p:sp>
          <p:nvSpPr>
            <p:cNvPr id="19" name="Freihandform: Form 18">
              <a:extLst>
                <a:ext uri="{FF2B5EF4-FFF2-40B4-BE49-F238E27FC236}">
                  <a16:creationId xmlns:a16="http://schemas.microsoft.com/office/drawing/2014/main" id="{E2B8DB56-47EB-6A09-F4C4-6385A2CED96B}"/>
                </a:ext>
              </a:extLst>
            </p:cNvPr>
            <p:cNvSpPr/>
            <p:nvPr/>
          </p:nvSpPr>
          <p:spPr>
            <a:xfrm>
              <a:off x="407988" y="6372458"/>
              <a:ext cx="87029" cy="97573"/>
            </a:xfrm>
            <a:custGeom>
              <a:avLst/>
              <a:gdLst>
                <a:gd name="connsiteX0" fmla="*/ 40153 w 88155"/>
                <a:gd name="connsiteY0" fmla="*/ 0 h 98836"/>
                <a:gd name="connsiteX1" fmla="*/ 49805 w 88155"/>
                <a:gd name="connsiteY1" fmla="*/ 0 h 98836"/>
                <a:gd name="connsiteX2" fmla="*/ 88156 w 88155"/>
                <a:gd name="connsiteY2" fmla="*/ 98837 h 98836"/>
                <a:gd name="connsiteX3" fmla="*/ 78504 w 88155"/>
                <a:gd name="connsiteY3" fmla="*/ 98837 h 98836"/>
                <a:gd name="connsiteX4" fmla="*/ 68852 w 88155"/>
                <a:gd name="connsiteY4" fmla="*/ 72970 h 98836"/>
                <a:gd name="connsiteX5" fmla="*/ 19304 w 88155"/>
                <a:gd name="connsiteY5" fmla="*/ 72970 h 98836"/>
                <a:gd name="connsiteX6" fmla="*/ 9652 w 88155"/>
                <a:gd name="connsiteY6" fmla="*/ 98837 h 98836"/>
                <a:gd name="connsiteX7" fmla="*/ 0 w 88155"/>
                <a:gd name="connsiteY7" fmla="*/ 98837 h 98836"/>
                <a:gd name="connsiteX8" fmla="*/ 40153 w 88155"/>
                <a:gd name="connsiteY8" fmla="*/ 0 h 98836"/>
                <a:gd name="connsiteX9" fmla="*/ 40153 w 88155"/>
                <a:gd name="connsiteY9" fmla="*/ 0 h 98836"/>
                <a:gd name="connsiteX10" fmla="*/ 44914 w 88155"/>
                <a:gd name="connsiteY10" fmla="*/ 8108 h 98836"/>
                <a:gd name="connsiteX11" fmla="*/ 22522 w 88155"/>
                <a:gd name="connsiteY11" fmla="*/ 63189 h 98836"/>
                <a:gd name="connsiteX12" fmla="*/ 65763 w 88155"/>
                <a:gd name="connsiteY12" fmla="*/ 63189 h 98836"/>
                <a:gd name="connsiteX13" fmla="*/ 44914 w 88155"/>
                <a:gd name="connsiteY13" fmla="*/ 8108 h 98836"/>
                <a:gd name="connsiteX14" fmla="*/ 44914 w 88155"/>
                <a:gd name="connsiteY14" fmla="*/ 8108 h 9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155" h="98836">
                  <a:moveTo>
                    <a:pt x="40153" y="0"/>
                  </a:moveTo>
                  <a:lnTo>
                    <a:pt x="49805" y="0"/>
                  </a:lnTo>
                  <a:lnTo>
                    <a:pt x="88156" y="98837"/>
                  </a:lnTo>
                  <a:lnTo>
                    <a:pt x="78504" y="98837"/>
                  </a:lnTo>
                  <a:lnTo>
                    <a:pt x="68852" y="72970"/>
                  </a:lnTo>
                  <a:lnTo>
                    <a:pt x="19304" y="72970"/>
                  </a:lnTo>
                  <a:lnTo>
                    <a:pt x="9652" y="98837"/>
                  </a:lnTo>
                  <a:lnTo>
                    <a:pt x="0" y="98837"/>
                  </a:lnTo>
                  <a:lnTo>
                    <a:pt x="40153" y="0"/>
                  </a:lnTo>
                  <a:lnTo>
                    <a:pt x="40153" y="0"/>
                  </a:lnTo>
                  <a:close/>
                  <a:moveTo>
                    <a:pt x="44914" y="8108"/>
                  </a:moveTo>
                  <a:lnTo>
                    <a:pt x="22522" y="63189"/>
                  </a:lnTo>
                  <a:lnTo>
                    <a:pt x="65763" y="63189"/>
                  </a:lnTo>
                  <a:lnTo>
                    <a:pt x="44914" y="8108"/>
                  </a:lnTo>
                  <a:lnTo>
                    <a:pt x="44914" y="8108"/>
                  </a:lnTo>
                  <a:close/>
                </a:path>
              </a:pathLst>
            </a:custGeom>
            <a:solidFill>
              <a:schemeClr val="accent1"/>
            </a:solidFill>
            <a:ln w="0" cap="flat">
              <a:noFill/>
              <a:prstDash val="solid"/>
              <a:miter/>
            </a:ln>
          </p:spPr>
          <p:txBody>
            <a:bodyPr rtlCol="0" anchor="ctr"/>
            <a:lstStyle/>
            <a:p>
              <a:pPr rtl="0"/>
              <a:endParaRPr lang="en-US" dirty="0"/>
            </a:p>
          </p:txBody>
        </p:sp>
        <p:sp>
          <p:nvSpPr>
            <p:cNvPr id="20" name="Freihandform: Form 19">
              <a:extLst>
                <a:ext uri="{FF2B5EF4-FFF2-40B4-BE49-F238E27FC236}">
                  <a16:creationId xmlns:a16="http://schemas.microsoft.com/office/drawing/2014/main" id="{BDD30C60-BA06-964D-7A15-E9415D0E3DA9}"/>
                </a:ext>
              </a:extLst>
            </p:cNvPr>
            <p:cNvSpPr/>
            <p:nvPr/>
          </p:nvSpPr>
          <p:spPr>
            <a:xfrm>
              <a:off x="545202" y="6396852"/>
              <a:ext cx="94525" cy="73180"/>
            </a:xfrm>
            <a:custGeom>
              <a:avLst/>
              <a:gdLst>
                <a:gd name="connsiteX0" fmla="*/ 87126 w 95748"/>
                <a:gd name="connsiteY0" fmla="*/ 74128 h 74127"/>
                <a:gd name="connsiteX1" fmla="*/ 87126 w 95748"/>
                <a:gd name="connsiteY1" fmla="*/ 25867 h 74127"/>
                <a:gd name="connsiteX2" fmla="*/ 71811 w 95748"/>
                <a:gd name="connsiteY2" fmla="*/ 7464 h 74127"/>
                <a:gd name="connsiteX3" fmla="*/ 52507 w 95748"/>
                <a:gd name="connsiteY3" fmla="*/ 33975 h 74127"/>
                <a:gd name="connsiteX4" fmla="*/ 52507 w 95748"/>
                <a:gd name="connsiteY4" fmla="*/ 74128 h 74127"/>
                <a:gd name="connsiteX5" fmla="*/ 43756 w 95748"/>
                <a:gd name="connsiteY5" fmla="*/ 74128 h 74127"/>
                <a:gd name="connsiteX6" fmla="*/ 43756 w 95748"/>
                <a:gd name="connsiteY6" fmla="*/ 25867 h 74127"/>
                <a:gd name="connsiteX7" fmla="*/ 28441 w 95748"/>
                <a:gd name="connsiteY7" fmla="*/ 7464 h 74127"/>
                <a:gd name="connsiteX8" fmla="*/ 9137 w 95748"/>
                <a:gd name="connsiteY8" fmla="*/ 33975 h 74127"/>
                <a:gd name="connsiteX9" fmla="*/ 9137 w 95748"/>
                <a:gd name="connsiteY9" fmla="*/ 74128 h 74127"/>
                <a:gd name="connsiteX10" fmla="*/ 386 w 95748"/>
                <a:gd name="connsiteY10" fmla="*/ 74128 h 74127"/>
                <a:gd name="connsiteX11" fmla="*/ 386 w 95748"/>
                <a:gd name="connsiteY11" fmla="*/ 18403 h 74127"/>
                <a:gd name="connsiteX12" fmla="*/ 0 w 95748"/>
                <a:gd name="connsiteY12" fmla="*/ 1416 h 74127"/>
                <a:gd name="connsiteX13" fmla="*/ 8365 w 95748"/>
                <a:gd name="connsiteY13" fmla="*/ 1416 h 74127"/>
                <a:gd name="connsiteX14" fmla="*/ 8365 w 95748"/>
                <a:gd name="connsiteY14" fmla="*/ 13642 h 74127"/>
                <a:gd name="connsiteX15" fmla="*/ 8751 w 95748"/>
                <a:gd name="connsiteY15" fmla="*/ 14028 h 74127"/>
                <a:gd name="connsiteX16" fmla="*/ 31015 w 95748"/>
                <a:gd name="connsiteY16" fmla="*/ 0 h 74127"/>
                <a:gd name="connsiteX17" fmla="*/ 49933 w 95748"/>
                <a:gd name="connsiteY17" fmla="*/ 15057 h 74127"/>
                <a:gd name="connsiteX18" fmla="*/ 50320 w 95748"/>
                <a:gd name="connsiteY18" fmla="*/ 15057 h 74127"/>
                <a:gd name="connsiteX19" fmla="*/ 73227 w 95748"/>
                <a:gd name="connsiteY19" fmla="*/ 0 h 74127"/>
                <a:gd name="connsiteX20" fmla="*/ 95749 w 95748"/>
                <a:gd name="connsiteY20" fmla="*/ 23937 h 74127"/>
                <a:gd name="connsiteX21" fmla="*/ 95749 w 95748"/>
                <a:gd name="connsiteY21" fmla="*/ 74128 h 74127"/>
                <a:gd name="connsiteX22" fmla="*/ 86997 w 95748"/>
                <a:gd name="connsiteY22" fmla="*/ 74128 h 7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48" h="74127">
                  <a:moveTo>
                    <a:pt x="87126" y="74128"/>
                  </a:moveTo>
                  <a:lnTo>
                    <a:pt x="87126" y="25867"/>
                  </a:lnTo>
                  <a:cubicBezTo>
                    <a:pt x="87126" y="15572"/>
                    <a:pt x="83137" y="7464"/>
                    <a:pt x="71811" y="7464"/>
                  </a:cubicBezTo>
                  <a:cubicBezTo>
                    <a:pt x="62031" y="7464"/>
                    <a:pt x="52507" y="15958"/>
                    <a:pt x="52507" y="33975"/>
                  </a:cubicBezTo>
                  <a:lnTo>
                    <a:pt x="52507" y="74128"/>
                  </a:lnTo>
                  <a:lnTo>
                    <a:pt x="43756" y="74128"/>
                  </a:lnTo>
                  <a:lnTo>
                    <a:pt x="43756" y="25867"/>
                  </a:lnTo>
                  <a:cubicBezTo>
                    <a:pt x="43756" y="15572"/>
                    <a:pt x="39767" y="7464"/>
                    <a:pt x="28441" y="7464"/>
                  </a:cubicBezTo>
                  <a:cubicBezTo>
                    <a:pt x="18918" y="7464"/>
                    <a:pt x="9137" y="15958"/>
                    <a:pt x="9137" y="33975"/>
                  </a:cubicBezTo>
                  <a:lnTo>
                    <a:pt x="9137" y="74128"/>
                  </a:lnTo>
                  <a:lnTo>
                    <a:pt x="386" y="74128"/>
                  </a:lnTo>
                  <a:lnTo>
                    <a:pt x="386" y="18403"/>
                  </a:lnTo>
                  <a:cubicBezTo>
                    <a:pt x="386" y="12869"/>
                    <a:pt x="386" y="7336"/>
                    <a:pt x="0" y="1416"/>
                  </a:cubicBezTo>
                  <a:lnTo>
                    <a:pt x="8365" y="1416"/>
                  </a:lnTo>
                  <a:lnTo>
                    <a:pt x="8365" y="13642"/>
                  </a:lnTo>
                  <a:lnTo>
                    <a:pt x="8751" y="14028"/>
                  </a:lnTo>
                  <a:cubicBezTo>
                    <a:pt x="11711" y="8880"/>
                    <a:pt x="15701" y="0"/>
                    <a:pt x="31015" y="0"/>
                  </a:cubicBezTo>
                  <a:cubicBezTo>
                    <a:pt x="37193" y="0"/>
                    <a:pt x="47746" y="2574"/>
                    <a:pt x="49933" y="15057"/>
                  </a:cubicBezTo>
                  <a:lnTo>
                    <a:pt x="50320" y="15057"/>
                  </a:lnTo>
                  <a:cubicBezTo>
                    <a:pt x="53537" y="6563"/>
                    <a:pt x="62031" y="0"/>
                    <a:pt x="73227" y="0"/>
                  </a:cubicBezTo>
                  <a:cubicBezTo>
                    <a:pt x="87384" y="0"/>
                    <a:pt x="95749" y="9909"/>
                    <a:pt x="95749" y="23937"/>
                  </a:cubicBezTo>
                  <a:lnTo>
                    <a:pt x="95749" y="74128"/>
                  </a:lnTo>
                  <a:lnTo>
                    <a:pt x="86997" y="74128"/>
                  </a:lnTo>
                  <a:close/>
                </a:path>
              </a:pathLst>
            </a:custGeom>
            <a:solidFill>
              <a:schemeClr val="accent1"/>
            </a:solidFill>
            <a:ln w="0" cap="flat">
              <a:noFill/>
              <a:prstDash val="solid"/>
              <a:miter/>
            </a:ln>
          </p:spPr>
          <p:txBody>
            <a:bodyPr rtlCol="0" anchor="ctr"/>
            <a:lstStyle/>
            <a:p>
              <a:pPr rtl="0"/>
              <a:endParaRPr lang="en-US" dirty="0"/>
            </a:p>
          </p:txBody>
        </p:sp>
        <p:sp>
          <p:nvSpPr>
            <p:cNvPr id="21" name="Freihandform: Form 20">
              <a:extLst>
                <a:ext uri="{FF2B5EF4-FFF2-40B4-BE49-F238E27FC236}">
                  <a16:creationId xmlns:a16="http://schemas.microsoft.com/office/drawing/2014/main" id="{D76392D9-76AB-6A8D-55EC-348BC209480E}"/>
                </a:ext>
              </a:extLst>
            </p:cNvPr>
            <p:cNvSpPr/>
            <p:nvPr/>
          </p:nvSpPr>
          <p:spPr>
            <a:xfrm>
              <a:off x="654974" y="6396852"/>
              <a:ext cx="59458" cy="74705"/>
            </a:xfrm>
            <a:custGeom>
              <a:avLst/>
              <a:gdLst>
                <a:gd name="connsiteX0" fmla="*/ 54695 w 60228"/>
                <a:gd name="connsiteY0" fmla="*/ 71940 h 75672"/>
                <a:gd name="connsiteX1" fmla="*/ 33332 w 60228"/>
                <a:gd name="connsiteY1" fmla="*/ 75672 h 75672"/>
                <a:gd name="connsiteX2" fmla="*/ 0 w 60228"/>
                <a:gd name="connsiteY2" fmla="*/ 37707 h 75672"/>
                <a:gd name="connsiteX3" fmla="*/ 30629 w 60228"/>
                <a:gd name="connsiteY3" fmla="*/ 0 h 75672"/>
                <a:gd name="connsiteX4" fmla="*/ 60229 w 60228"/>
                <a:gd name="connsiteY4" fmla="*/ 35777 h 75672"/>
                <a:gd name="connsiteX5" fmla="*/ 60229 w 60228"/>
                <a:gd name="connsiteY5" fmla="*/ 40153 h 75672"/>
                <a:gd name="connsiteX6" fmla="*/ 9781 w 60228"/>
                <a:gd name="connsiteY6" fmla="*/ 40153 h 75672"/>
                <a:gd name="connsiteX7" fmla="*/ 34104 w 60228"/>
                <a:gd name="connsiteY7" fmla="*/ 68208 h 75672"/>
                <a:gd name="connsiteX8" fmla="*/ 54695 w 60228"/>
                <a:gd name="connsiteY8" fmla="*/ 62674 h 75672"/>
                <a:gd name="connsiteX9" fmla="*/ 54695 w 60228"/>
                <a:gd name="connsiteY9" fmla="*/ 71940 h 75672"/>
                <a:gd name="connsiteX10" fmla="*/ 54695 w 60228"/>
                <a:gd name="connsiteY10" fmla="*/ 71940 h 75672"/>
                <a:gd name="connsiteX11" fmla="*/ 50191 w 60228"/>
                <a:gd name="connsiteY11" fmla="*/ 32817 h 75672"/>
                <a:gd name="connsiteX12" fmla="*/ 31530 w 60228"/>
                <a:gd name="connsiteY12" fmla="*/ 7336 h 75672"/>
                <a:gd name="connsiteX13" fmla="*/ 9781 w 60228"/>
                <a:gd name="connsiteY13" fmla="*/ 32817 h 75672"/>
                <a:gd name="connsiteX14" fmla="*/ 50191 w 60228"/>
                <a:gd name="connsiteY14" fmla="*/ 32817 h 7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228" h="75672">
                  <a:moveTo>
                    <a:pt x="54695" y="71940"/>
                  </a:moveTo>
                  <a:cubicBezTo>
                    <a:pt x="48389" y="74128"/>
                    <a:pt x="40153" y="75672"/>
                    <a:pt x="33332" y="75672"/>
                  </a:cubicBezTo>
                  <a:cubicBezTo>
                    <a:pt x="9009" y="75672"/>
                    <a:pt x="0" y="59457"/>
                    <a:pt x="0" y="37707"/>
                  </a:cubicBezTo>
                  <a:cubicBezTo>
                    <a:pt x="0" y="15958"/>
                    <a:pt x="12355" y="0"/>
                    <a:pt x="30629" y="0"/>
                  </a:cubicBezTo>
                  <a:cubicBezTo>
                    <a:pt x="51606" y="0"/>
                    <a:pt x="60229" y="16215"/>
                    <a:pt x="60229" y="35777"/>
                  </a:cubicBezTo>
                  <a:lnTo>
                    <a:pt x="60229" y="40153"/>
                  </a:lnTo>
                  <a:lnTo>
                    <a:pt x="9781" y="40153"/>
                  </a:lnTo>
                  <a:cubicBezTo>
                    <a:pt x="9781" y="55596"/>
                    <a:pt x="18017" y="68208"/>
                    <a:pt x="34104" y="68208"/>
                  </a:cubicBezTo>
                  <a:cubicBezTo>
                    <a:pt x="40796" y="68208"/>
                    <a:pt x="50191" y="65248"/>
                    <a:pt x="54695" y="62674"/>
                  </a:cubicBezTo>
                  <a:lnTo>
                    <a:pt x="54695" y="71940"/>
                  </a:lnTo>
                  <a:lnTo>
                    <a:pt x="54695" y="71940"/>
                  </a:lnTo>
                  <a:close/>
                  <a:moveTo>
                    <a:pt x="50191" y="32817"/>
                  </a:moveTo>
                  <a:cubicBezTo>
                    <a:pt x="50191" y="19948"/>
                    <a:pt x="44914" y="7336"/>
                    <a:pt x="31530" y="7336"/>
                  </a:cubicBezTo>
                  <a:cubicBezTo>
                    <a:pt x="18146" y="7336"/>
                    <a:pt x="9781" y="20591"/>
                    <a:pt x="9781" y="32817"/>
                  </a:cubicBezTo>
                  <a:lnTo>
                    <a:pt x="50191" y="32817"/>
                  </a:lnTo>
                  <a:close/>
                </a:path>
              </a:pathLst>
            </a:custGeom>
            <a:solidFill>
              <a:schemeClr val="accent1"/>
            </a:solidFill>
            <a:ln w="0" cap="flat">
              <a:noFill/>
              <a:prstDash val="solid"/>
              <a:miter/>
            </a:ln>
          </p:spPr>
          <p:txBody>
            <a:bodyPr rtlCol="0" anchor="ctr"/>
            <a:lstStyle/>
            <a:p>
              <a:pPr rtl="0"/>
              <a:endParaRPr lang="en-US" dirty="0"/>
            </a:p>
          </p:txBody>
        </p:sp>
        <p:sp>
          <p:nvSpPr>
            <p:cNvPr id="24" name="Freihandform: Form 23">
              <a:extLst>
                <a:ext uri="{FF2B5EF4-FFF2-40B4-BE49-F238E27FC236}">
                  <a16:creationId xmlns:a16="http://schemas.microsoft.com/office/drawing/2014/main" id="{BEDE28A7-52F0-9B1B-22EE-DE48C9BE31D2}"/>
                </a:ext>
              </a:extLst>
            </p:cNvPr>
            <p:cNvSpPr/>
            <p:nvPr/>
          </p:nvSpPr>
          <p:spPr>
            <a:xfrm>
              <a:off x="729806" y="6396852"/>
              <a:ext cx="94779" cy="73180"/>
            </a:xfrm>
            <a:custGeom>
              <a:avLst/>
              <a:gdLst>
                <a:gd name="connsiteX0" fmla="*/ 86740 w 96006"/>
                <a:gd name="connsiteY0" fmla="*/ 74128 h 74127"/>
                <a:gd name="connsiteX1" fmla="*/ 86740 w 96006"/>
                <a:gd name="connsiteY1" fmla="*/ 25867 h 74127"/>
                <a:gd name="connsiteX2" fmla="*/ 71811 w 96006"/>
                <a:gd name="connsiteY2" fmla="*/ 7464 h 74127"/>
                <a:gd name="connsiteX3" fmla="*/ 52636 w 96006"/>
                <a:gd name="connsiteY3" fmla="*/ 33975 h 74127"/>
                <a:gd name="connsiteX4" fmla="*/ 52636 w 96006"/>
                <a:gd name="connsiteY4" fmla="*/ 74128 h 74127"/>
                <a:gd name="connsiteX5" fmla="*/ 43885 w 96006"/>
                <a:gd name="connsiteY5" fmla="*/ 74128 h 74127"/>
                <a:gd name="connsiteX6" fmla="*/ 43885 w 96006"/>
                <a:gd name="connsiteY6" fmla="*/ 25867 h 74127"/>
                <a:gd name="connsiteX7" fmla="*/ 28699 w 96006"/>
                <a:gd name="connsiteY7" fmla="*/ 7464 h 74127"/>
                <a:gd name="connsiteX8" fmla="*/ 9523 w 96006"/>
                <a:gd name="connsiteY8" fmla="*/ 33975 h 74127"/>
                <a:gd name="connsiteX9" fmla="*/ 9523 w 96006"/>
                <a:gd name="connsiteY9" fmla="*/ 74128 h 74127"/>
                <a:gd name="connsiteX10" fmla="*/ 772 w 96006"/>
                <a:gd name="connsiteY10" fmla="*/ 74128 h 74127"/>
                <a:gd name="connsiteX11" fmla="*/ 772 w 96006"/>
                <a:gd name="connsiteY11" fmla="*/ 18403 h 74127"/>
                <a:gd name="connsiteX12" fmla="*/ 0 w 96006"/>
                <a:gd name="connsiteY12" fmla="*/ 1416 h 74127"/>
                <a:gd name="connsiteX13" fmla="*/ 8751 w 96006"/>
                <a:gd name="connsiteY13" fmla="*/ 1416 h 74127"/>
                <a:gd name="connsiteX14" fmla="*/ 8751 w 96006"/>
                <a:gd name="connsiteY14" fmla="*/ 13642 h 74127"/>
                <a:gd name="connsiteX15" fmla="*/ 9137 w 96006"/>
                <a:gd name="connsiteY15" fmla="*/ 14028 h 74127"/>
                <a:gd name="connsiteX16" fmla="*/ 31273 w 96006"/>
                <a:gd name="connsiteY16" fmla="*/ 0 h 74127"/>
                <a:gd name="connsiteX17" fmla="*/ 50191 w 96006"/>
                <a:gd name="connsiteY17" fmla="*/ 15057 h 74127"/>
                <a:gd name="connsiteX18" fmla="*/ 50577 w 96006"/>
                <a:gd name="connsiteY18" fmla="*/ 15057 h 74127"/>
                <a:gd name="connsiteX19" fmla="*/ 73485 w 96006"/>
                <a:gd name="connsiteY19" fmla="*/ 0 h 74127"/>
                <a:gd name="connsiteX20" fmla="*/ 96006 w 96006"/>
                <a:gd name="connsiteY20" fmla="*/ 23937 h 74127"/>
                <a:gd name="connsiteX21" fmla="*/ 96006 w 96006"/>
                <a:gd name="connsiteY21" fmla="*/ 74128 h 74127"/>
                <a:gd name="connsiteX22" fmla="*/ 86997 w 96006"/>
                <a:gd name="connsiteY22" fmla="*/ 74128 h 7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6006" h="74127">
                  <a:moveTo>
                    <a:pt x="86740" y="74128"/>
                  </a:moveTo>
                  <a:lnTo>
                    <a:pt x="86740" y="25867"/>
                  </a:lnTo>
                  <a:cubicBezTo>
                    <a:pt x="86740" y="15572"/>
                    <a:pt x="83137" y="7464"/>
                    <a:pt x="71811" y="7464"/>
                  </a:cubicBezTo>
                  <a:cubicBezTo>
                    <a:pt x="62031" y="7464"/>
                    <a:pt x="52636" y="15958"/>
                    <a:pt x="52636" y="33975"/>
                  </a:cubicBezTo>
                  <a:lnTo>
                    <a:pt x="52636" y="74128"/>
                  </a:lnTo>
                  <a:lnTo>
                    <a:pt x="43885" y="74128"/>
                  </a:lnTo>
                  <a:lnTo>
                    <a:pt x="43885" y="25867"/>
                  </a:lnTo>
                  <a:cubicBezTo>
                    <a:pt x="43885" y="15572"/>
                    <a:pt x="39895" y="7464"/>
                    <a:pt x="28699" y="7464"/>
                  </a:cubicBezTo>
                  <a:cubicBezTo>
                    <a:pt x="18918" y="7464"/>
                    <a:pt x="9523" y="15958"/>
                    <a:pt x="9523" y="33975"/>
                  </a:cubicBezTo>
                  <a:lnTo>
                    <a:pt x="9523" y="74128"/>
                  </a:lnTo>
                  <a:lnTo>
                    <a:pt x="772" y="74128"/>
                  </a:lnTo>
                  <a:lnTo>
                    <a:pt x="772" y="18403"/>
                  </a:lnTo>
                  <a:cubicBezTo>
                    <a:pt x="772" y="12869"/>
                    <a:pt x="772" y="7336"/>
                    <a:pt x="0" y="1416"/>
                  </a:cubicBezTo>
                  <a:lnTo>
                    <a:pt x="8751" y="1416"/>
                  </a:lnTo>
                  <a:lnTo>
                    <a:pt x="8751" y="13642"/>
                  </a:lnTo>
                  <a:lnTo>
                    <a:pt x="9137" y="14028"/>
                  </a:lnTo>
                  <a:cubicBezTo>
                    <a:pt x="11711" y="8880"/>
                    <a:pt x="16087" y="0"/>
                    <a:pt x="31273" y="0"/>
                  </a:cubicBezTo>
                  <a:cubicBezTo>
                    <a:pt x="37450" y="0"/>
                    <a:pt x="48003" y="2574"/>
                    <a:pt x="50191" y="15057"/>
                  </a:cubicBezTo>
                  <a:lnTo>
                    <a:pt x="50577" y="15057"/>
                  </a:lnTo>
                  <a:cubicBezTo>
                    <a:pt x="53794" y="6563"/>
                    <a:pt x="62159" y="0"/>
                    <a:pt x="73485" y="0"/>
                  </a:cubicBezTo>
                  <a:cubicBezTo>
                    <a:pt x="87641" y="0"/>
                    <a:pt x="96006" y="9909"/>
                    <a:pt x="96006" y="23937"/>
                  </a:cubicBezTo>
                  <a:lnTo>
                    <a:pt x="96006" y="74128"/>
                  </a:lnTo>
                  <a:lnTo>
                    <a:pt x="86997" y="74128"/>
                  </a:lnTo>
                  <a:close/>
                </a:path>
              </a:pathLst>
            </a:custGeom>
            <a:solidFill>
              <a:schemeClr val="accent1"/>
            </a:solidFill>
            <a:ln w="0" cap="flat">
              <a:noFill/>
              <a:prstDash val="solid"/>
              <a:miter/>
            </a:ln>
          </p:spPr>
          <p:txBody>
            <a:bodyPr rtlCol="0" anchor="ctr"/>
            <a:lstStyle/>
            <a:p>
              <a:pPr rtl="0"/>
              <a:endParaRPr lang="en-US" dirty="0"/>
            </a:p>
          </p:txBody>
        </p:sp>
        <p:sp>
          <p:nvSpPr>
            <p:cNvPr id="25" name="Freihandform: Form 24">
              <a:extLst>
                <a:ext uri="{FF2B5EF4-FFF2-40B4-BE49-F238E27FC236}">
                  <a16:creationId xmlns:a16="http://schemas.microsoft.com/office/drawing/2014/main" id="{EFEE50ED-1439-E50F-86F0-DE45ACE4B5DF}"/>
                </a:ext>
              </a:extLst>
            </p:cNvPr>
            <p:cNvSpPr/>
            <p:nvPr/>
          </p:nvSpPr>
          <p:spPr>
            <a:xfrm>
              <a:off x="844151" y="6364835"/>
              <a:ext cx="59458" cy="106594"/>
            </a:xfrm>
            <a:custGeom>
              <a:avLst/>
              <a:gdLst>
                <a:gd name="connsiteX0" fmla="*/ 0 w 60228"/>
                <a:gd name="connsiteY0" fmla="*/ 0 h 107974"/>
                <a:gd name="connsiteX1" fmla="*/ 8623 w 60228"/>
                <a:gd name="connsiteY1" fmla="*/ 0 h 107974"/>
                <a:gd name="connsiteX2" fmla="*/ 8623 w 60228"/>
                <a:gd name="connsiteY2" fmla="*/ 46072 h 107974"/>
                <a:gd name="connsiteX3" fmla="*/ 9009 w 60228"/>
                <a:gd name="connsiteY3" fmla="*/ 46072 h 107974"/>
                <a:gd name="connsiteX4" fmla="*/ 31015 w 60228"/>
                <a:gd name="connsiteY4" fmla="*/ 32431 h 107974"/>
                <a:gd name="connsiteX5" fmla="*/ 60229 w 60228"/>
                <a:gd name="connsiteY5" fmla="*/ 70010 h 107974"/>
                <a:gd name="connsiteX6" fmla="*/ 31015 w 60228"/>
                <a:gd name="connsiteY6" fmla="*/ 107974 h 107974"/>
                <a:gd name="connsiteX7" fmla="*/ 9009 w 60228"/>
                <a:gd name="connsiteY7" fmla="*/ 95105 h 107974"/>
                <a:gd name="connsiteX8" fmla="*/ 8623 w 60228"/>
                <a:gd name="connsiteY8" fmla="*/ 95105 h 107974"/>
                <a:gd name="connsiteX9" fmla="*/ 8623 w 60228"/>
                <a:gd name="connsiteY9" fmla="*/ 106559 h 107974"/>
                <a:gd name="connsiteX10" fmla="*/ 0 w 60228"/>
                <a:gd name="connsiteY10" fmla="*/ 106559 h 107974"/>
                <a:gd name="connsiteX11" fmla="*/ 0 w 60228"/>
                <a:gd name="connsiteY11" fmla="*/ 0 h 107974"/>
                <a:gd name="connsiteX12" fmla="*/ 0 w 60228"/>
                <a:gd name="connsiteY12" fmla="*/ 0 h 107974"/>
                <a:gd name="connsiteX13" fmla="*/ 29600 w 60228"/>
                <a:gd name="connsiteY13" fmla="*/ 39895 h 107974"/>
                <a:gd name="connsiteX14" fmla="*/ 8623 w 60228"/>
                <a:gd name="connsiteY14" fmla="*/ 70138 h 107974"/>
                <a:gd name="connsiteX15" fmla="*/ 29600 w 60228"/>
                <a:gd name="connsiteY15" fmla="*/ 100767 h 107974"/>
                <a:gd name="connsiteX16" fmla="*/ 50577 w 60228"/>
                <a:gd name="connsiteY16" fmla="*/ 70138 h 107974"/>
                <a:gd name="connsiteX17" fmla="*/ 29600 w 60228"/>
                <a:gd name="connsiteY17" fmla="*/ 39895 h 10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228" h="107974">
                  <a:moveTo>
                    <a:pt x="0" y="0"/>
                  </a:moveTo>
                  <a:lnTo>
                    <a:pt x="8623" y="0"/>
                  </a:lnTo>
                  <a:lnTo>
                    <a:pt x="8623" y="46072"/>
                  </a:lnTo>
                  <a:lnTo>
                    <a:pt x="9009" y="46072"/>
                  </a:lnTo>
                  <a:cubicBezTo>
                    <a:pt x="10038" y="42726"/>
                    <a:pt x="16988" y="32431"/>
                    <a:pt x="31015" y="32431"/>
                  </a:cubicBezTo>
                  <a:cubicBezTo>
                    <a:pt x="51993" y="32431"/>
                    <a:pt x="60229" y="48260"/>
                    <a:pt x="60229" y="70010"/>
                  </a:cubicBezTo>
                  <a:cubicBezTo>
                    <a:pt x="60229" y="91759"/>
                    <a:pt x="50448" y="107974"/>
                    <a:pt x="31015" y="107974"/>
                  </a:cubicBezTo>
                  <a:cubicBezTo>
                    <a:pt x="20977" y="107974"/>
                    <a:pt x="13642" y="104242"/>
                    <a:pt x="9009" y="95105"/>
                  </a:cubicBezTo>
                  <a:lnTo>
                    <a:pt x="8623" y="95105"/>
                  </a:lnTo>
                  <a:lnTo>
                    <a:pt x="8623" y="106559"/>
                  </a:lnTo>
                  <a:lnTo>
                    <a:pt x="0" y="106559"/>
                  </a:lnTo>
                  <a:lnTo>
                    <a:pt x="0" y="0"/>
                  </a:lnTo>
                  <a:lnTo>
                    <a:pt x="0" y="0"/>
                  </a:lnTo>
                  <a:close/>
                  <a:moveTo>
                    <a:pt x="29600" y="39895"/>
                  </a:moveTo>
                  <a:cubicBezTo>
                    <a:pt x="13770" y="39895"/>
                    <a:pt x="8623" y="57269"/>
                    <a:pt x="8623" y="70138"/>
                  </a:cubicBezTo>
                  <a:cubicBezTo>
                    <a:pt x="8623" y="83008"/>
                    <a:pt x="14028" y="100767"/>
                    <a:pt x="29600" y="100767"/>
                  </a:cubicBezTo>
                  <a:cubicBezTo>
                    <a:pt x="46201" y="100767"/>
                    <a:pt x="50577" y="84552"/>
                    <a:pt x="50577" y="70138"/>
                  </a:cubicBezTo>
                  <a:cubicBezTo>
                    <a:pt x="50577" y="55725"/>
                    <a:pt x="46201" y="39895"/>
                    <a:pt x="29600" y="39895"/>
                  </a:cubicBezTo>
                </a:path>
              </a:pathLst>
            </a:custGeom>
            <a:solidFill>
              <a:schemeClr val="accent1"/>
            </a:solidFill>
            <a:ln w="0" cap="flat">
              <a:noFill/>
              <a:prstDash val="solid"/>
              <a:miter/>
            </a:ln>
          </p:spPr>
          <p:txBody>
            <a:bodyPr rtlCol="0" anchor="ctr"/>
            <a:lstStyle/>
            <a:p>
              <a:pPr rtl="0"/>
              <a:endParaRPr lang="en-US" dirty="0"/>
            </a:p>
          </p:txBody>
        </p:sp>
        <p:sp>
          <p:nvSpPr>
            <p:cNvPr id="26" name="Freihandform: Form 25">
              <a:extLst>
                <a:ext uri="{FF2B5EF4-FFF2-40B4-BE49-F238E27FC236}">
                  <a16:creationId xmlns:a16="http://schemas.microsoft.com/office/drawing/2014/main" id="{9A6E6C4B-7344-AE7E-4000-AE874D332D67}"/>
                </a:ext>
              </a:extLst>
            </p:cNvPr>
            <p:cNvSpPr/>
            <p:nvPr/>
          </p:nvSpPr>
          <p:spPr>
            <a:xfrm>
              <a:off x="915934" y="6396852"/>
              <a:ext cx="57934" cy="74705"/>
            </a:xfrm>
            <a:custGeom>
              <a:avLst/>
              <a:gdLst>
                <a:gd name="connsiteX0" fmla="*/ 53151 w 58684"/>
                <a:gd name="connsiteY0" fmla="*/ 71940 h 75672"/>
                <a:gd name="connsiteX1" fmla="*/ 32431 w 58684"/>
                <a:gd name="connsiteY1" fmla="*/ 75672 h 75672"/>
                <a:gd name="connsiteX2" fmla="*/ 0 w 58684"/>
                <a:gd name="connsiteY2" fmla="*/ 37707 h 75672"/>
                <a:gd name="connsiteX3" fmla="*/ 30243 w 58684"/>
                <a:gd name="connsiteY3" fmla="*/ 0 h 75672"/>
                <a:gd name="connsiteX4" fmla="*/ 58685 w 58684"/>
                <a:gd name="connsiteY4" fmla="*/ 35777 h 75672"/>
                <a:gd name="connsiteX5" fmla="*/ 58685 w 58684"/>
                <a:gd name="connsiteY5" fmla="*/ 40153 h 75672"/>
                <a:gd name="connsiteX6" fmla="*/ 9523 w 58684"/>
                <a:gd name="connsiteY6" fmla="*/ 40153 h 75672"/>
                <a:gd name="connsiteX7" fmla="*/ 33203 w 58684"/>
                <a:gd name="connsiteY7" fmla="*/ 68208 h 75672"/>
                <a:gd name="connsiteX8" fmla="*/ 53279 w 58684"/>
                <a:gd name="connsiteY8" fmla="*/ 62674 h 75672"/>
                <a:gd name="connsiteX9" fmla="*/ 53279 w 58684"/>
                <a:gd name="connsiteY9" fmla="*/ 71940 h 75672"/>
                <a:gd name="connsiteX10" fmla="*/ 53279 w 58684"/>
                <a:gd name="connsiteY10" fmla="*/ 71940 h 75672"/>
                <a:gd name="connsiteX11" fmla="*/ 48775 w 58684"/>
                <a:gd name="connsiteY11" fmla="*/ 32817 h 75672"/>
                <a:gd name="connsiteX12" fmla="*/ 30501 w 58684"/>
                <a:gd name="connsiteY12" fmla="*/ 7336 h 75672"/>
                <a:gd name="connsiteX13" fmla="*/ 9395 w 58684"/>
                <a:gd name="connsiteY13" fmla="*/ 32817 h 75672"/>
                <a:gd name="connsiteX14" fmla="*/ 48775 w 58684"/>
                <a:gd name="connsiteY14" fmla="*/ 32817 h 7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684" h="75672">
                  <a:moveTo>
                    <a:pt x="53151" y="71940"/>
                  </a:moveTo>
                  <a:cubicBezTo>
                    <a:pt x="46973" y="74128"/>
                    <a:pt x="38994" y="75672"/>
                    <a:pt x="32431" y="75672"/>
                  </a:cubicBezTo>
                  <a:cubicBezTo>
                    <a:pt x="8751" y="75672"/>
                    <a:pt x="0" y="59457"/>
                    <a:pt x="0" y="37707"/>
                  </a:cubicBezTo>
                  <a:cubicBezTo>
                    <a:pt x="0" y="15958"/>
                    <a:pt x="11969" y="0"/>
                    <a:pt x="30243" y="0"/>
                  </a:cubicBezTo>
                  <a:cubicBezTo>
                    <a:pt x="50320" y="0"/>
                    <a:pt x="58685" y="16215"/>
                    <a:pt x="58685" y="35777"/>
                  </a:cubicBezTo>
                  <a:lnTo>
                    <a:pt x="58685" y="40153"/>
                  </a:lnTo>
                  <a:lnTo>
                    <a:pt x="9523" y="40153"/>
                  </a:lnTo>
                  <a:cubicBezTo>
                    <a:pt x="9523" y="55596"/>
                    <a:pt x="17889" y="68208"/>
                    <a:pt x="33203" y="68208"/>
                  </a:cubicBezTo>
                  <a:cubicBezTo>
                    <a:pt x="39767" y="68208"/>
                    <a:pt x="49290" y="65248"/>
                    <a:pt x="53279" y="62674"/>
                  </a:cubicBezTo>
                  <a:lnTo>
                    <a:pt x="53279" y="71940"/>
                  </a:lnTo>
                  <a:lnTo>
                    <a:pt x="53279" y="71940"/>
                  </a:lnTo>
                  <a:close/>
                  <a:moveTo>
                    <a:pt x="48775" y="32817"/>
                  </a:moveTo>
                  <a:cubicBezTo>
                    <a:pt x="48775" y="19948"/>
                    <a:pt x="43627" y="7336"/>
                    <a:pt x="30501" y="7336"/>
                  </a:cubicBezTo>
                  <a:cubicBezTo>
                    <a:pt x="17374" y="7336"/>
                    <a:pt x="9395" y="20591"/>
                    <a:pt x="9395" y="32817"/>
                  </a:cubicBezTo>
                  <a:lnTo>
                    <a:pt x="48775" y="32817"/>
                  </a:lnTo>
                  <a:close/>
                </a:path>
              </a:pathLst>
            </a:custGeom>
            <a:solidFill>
              <a:schemeClr val="accent1"/>
            </a:solidFill>
            <a:ln w="0" cap="flat">
              <a:noFill/>
              <a:prstDash val="solid"/>
              <a:miter/>
            </a:ln>
          </p:spPr>
          <p:txBody>
            <a:bodyPr rtlCol="0" anchor="ctr"/>
            <a:lstStyle/>
            <a:p>
              <a:pPr rtl="0"/>
              <a:endParaRPr lang="en-US" dirty="0"/>
            </a:p>
          </p:txBody>
        </p:sp>
        <p:sp>
          <p:nvSpPr>
            <p:cNvPr id="27" name="Freihandform: Form 26">
              <a:extLst>
                <a:ext uri="{FF2B5EF4-FFF2-40B4-BE49-F238E27FC236}">
                  <a16:creationId xmlns:a16="http://schemas.microsoft.com/office/drawing/2014/main" id="{3848E862-3909-7906-436B-CFA6B7EC1D43}"/>
                </a:ext>
              </a:extLst>
            </p:cNvPr>
            <p:cNvSpPr/>
            <p:nvPr/>
          </p:nvSpPr>
          <p:spPr>
            <a:xfrm>
              <a:off x="990513" y="6396979"/>
              <a:ext cx="32143" cy="73180"/>
            </a:xfrm>
            <a:custGeom>
              <a:avLst/>
              <a:gdLst>
                <a:gd name="connsiteX0" fmla="*/ 386 w 32559"/>
                <a:gd name="connsiteY0" fmla="*/ 17631 h 74127"/>
                <a:gd name="connsiteX1" fmla="*/ 0 w 32559"/>
                <a:gd name="connsiteY1" fmla="*/ 1416 h 74127"/>
                <a:gd name="connsiteX2" fmla="*/ 8494 w 32559"/>
                <a:gd name="connsiteY2" fmla="*/ 1416 h 74127"/>
                <a:gd name="connsiteX3" fmla="*/ 8494 w 32559"/>
                <a:gd name="connsiteY3" fmla="*/ 15443 h 74127"/>
                <a:gd name="connsiteX4" fmla="*/ 8880 w 32559"/>
                <a:gd name="connsiteY4" fmla="*/ 15443 h 74127"/>
                <a:gd name="connsiteX5" fmla="*/ 26511 w 32559"/>
                <a:gd name="connsiteY5" fmla="*/ 0 h 74127"/>
                <a:gd name="connsiteX6" fmla="*/ 32560 w 32559"/>
                <a:gd name="connsiteY6" fmla="*/ 772 h 74127"/>
                <a:gd name="connsiteX7" fmla="*/ 32560 w 32559"/>
                <a:gd name="connsiteY7" fmla="*/ 10038 h 74127"/>
                <a:gd name="connsiteX8" fmla="*/ 26254 w 32559"/>
                <a:gd name="connsiteY8" fmla="*/ 9266 h 74127"/>
                <a:gd name="connsiteX9" fmla="*/ 9009 w 32559"/>
                <a:gd name="connsiteY9" fmla="*/ 38351 h 74127"/>
                <a:gd name="connsiteX10" fmla="*/ 9009 w 32559"/>
                <a:gd name="connsiteY10" fmla="*/ 74128 h 74127"/>
                <a:gd name="connsiteX11" fmla="*/ 515 w 32559"/>
                <a:gd name="connsiteY11" fmla="*/ 74128 h 74127"/>
                <a:gd name="connsiteX12" fmla="*/ 515 w 32559"/>
                <a:gd name="connsiteY12" fmla="*/ 17760 h 74127"/>
                <a:gd name="connsiteX13" fmla="*/ 515 w 32559"/>
                <a:gd name="connsiteY13" fmla="*/ 17760 h 7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559" h="74127">
                  <a:moveTo>
                    <a:pt x="386" y="17631"/>
                  </a:moveTo>
                  <a:cubicBezTo>
                    <a:pt x="386" y="9909"/>
                    <a:pt x="386" y="6563"/>
                    <a:pt x="0" y="1416"/>
                  </a:cubicBezTo>
                  <a:lnTo>
                    <a:pt x="8494" y="1416"/>
                  </a:lnTo>
                  <a:lnTo>
                    <a:pt x="8494" y="15443"/>
                  </a:lnTo>
                  <a:lnTo>
                    <a:pt x="8880" y="15443"/>
                  </a:lnTo>
                  <a:cubicBezTo>
                    <a:pt x="11711" y="7336"/>
                    <a:pt x="17631" y="0"/>
                    <a:pt x="26511" y="0"/>
                  </a:cubicBezTo>
                  <a:cubicBezTo>
                    <a:pt x="28570" y="0"/>
                    <a:pt x="31144" y="386"/>
                    <a:pt x="32560" y="772"/>
                  </a:cubicBezTo>
                  <a:lnTo>
                    <a:pt x="32560" y="10038"/>
                  </a:lnTo>
                  <a:cubicBezTo>
                    <a:pt x="30758" y="9652"/>
                    <a:pt x="28313" y="9266"/>
                    <a:pt x="26254" y="9266"/>
                  </a:cubicBezTo>
                  <a:cubicBezTo>
                    <a:pt x="12869" y="9266"/>
                    <a:pt x="9009" y="25095"/>
                    <a:pt x="9009" y="38351"/>
                  </a:cubicBezTo>
                  <a:lnTo>
                    <a:pt x="9009" y="74128"/>
                  </a:lnTo>
                  <a:lnTo>
                    <a:pt x="515" y="74128"/>
                  </a:lnTo>
                  <a:lnTo>
                    <a:pt x="515" y="17760"/>
                  </a:lnTo>
                  <a:lnTo>
                    <a:pt x="515" y="17760"/>
                  </a:lnTo>
                  <a:close/>
                </a:path>
              </a:pathLst>
            </a:custGeom>
            <a:solidFill>
              <a:schemeClr val="accent1"/>
            </a:solidFill>
            <a:ln w="0" cap="flat">
              <a:noFill/>
              <a:prstDash val="solid"/>
              <a:miter/>
            </a:ln>
          </p:spPr>
          <p:txBody>
            <a:bodyPr rtlCol="0" anchor="ctr"/>
            <a:lstStyle/>
            <a:p>
              <a:pPr rtl="0"/>
              <a:endParaRPr lang="en-US" dirty="0"/>
            </a:p>
          </p:txBody>
        </p:sp>
        <p:sp>
          <p:nvSpPr>
            <p:cNvPr id="28" name="Freihandform: Form 27">
              <a:extLst>
                <a:ext uri="{FF2B5EF4-FFF2-40B4-BE49-F238E27FC236}">
                  <a16:creationId xmlns:a16="http://schemas.microsoft.com/office/drawing/2014/main" id="{59C20AFB-BAB7-40B3-D611-52D5BA6E7F58}"/>
                </a:ext>
              </a:extLst>
            </p:cNvPr>
            <p:cNvSpPr/>
            <p:nvPr/>
          </p:nvSpPr>
          <p:spPr>
            <a:xfrm>
              <a:off x="1068268" y="6396852"/>
              <a:ext cx="65558" cy="74705"/>
            </a:xfrm>
            <a:custGeom>
              <a:avLst/>
              <a:gdLst>
                <a:gd name="connsiteX0" fmla="*/ 33074 w 66406"/>
                <a:gd name="connsiteY0" fmla="*/ 0 h 75672"/>
                <a:gd name="connsiteX1" fmla="*/ 66406 w 66406"/>
                <a:gd name="connsiteY1" fmla="*/ 37707 h 75672"/>
                <a:gd name="connsiteX2" fmla="*/ 33074 w 66406"/>
                <a:gd name="connsiteY2" fmla="*/ 75672 h 75672"/>
                <a:gd name="connsiteX3" fmla="*/ 0 w 66406"/>
                <a:gd name="connsiteY3" fmla="*/ 37707 h 75672"/>
                <a:gd name="connsiteX4" fmla="*/ 33074 w 66406"/>
                <a:gd name="connsiteY4" fmla="*/ 0 h 75672"/>
                <a:gd name="connsiteX5" fmla="*/ 33074 w 66406"/>
                <a:gd name="connsiteY5" fmla="*/ 68337 h 75672"/>
                <a:gd name="connsiteX6" fmla="*/ 57012 w 66406"/>
                <a:gd name="connsiteY6" fmla="*/ 37707 h 75672"/>
                <a:gd name="connsiteX7" fmla="*/ 33074 w 66406"/>
                <a:gd name="connsiteY7" fmla="*/ 7464 h 75672"/>
                <a:gd name="connsiteX8" fmla="*/ 9523 w 66406"/>
                <a:gd name="connsiteY8" fmla="*/ 37707 h 75672"/>
                <a:gd name="connsiteX9" fmla="*/ 33074 w 66406"/>
                <a:gd name="connsiteY9" fmla="*/ 68337 h 7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406" h="75672">
                  <a:moveTo>
                    <a:pt x="33074" y="0"/>
                  </a:moveTo>
                  <a:cubicBezTo>
                    <a:pt x="56239" y="0"/>
                    <a:pt x="66406" y="18146"/>
                    <a:pt x="66406" y="37707"/>
                  </a:cubicBezTo>
                  <a:cubicBezTo>
                    <a:pt x="66406" y="57269"/>
                    <a:pt x="56239" y="75672"/>
                    <a:pt x="33074" y="75672"/>
                  </a:cubicBezTo>
                  <a:cubicBezTo>
                    <a:pt x="9909" y="75672"/>
                    <a:pt x="0" y="57526"/>
                    <a:pt x="0" y="37707"/>
                  </a:cubicBezTo>
                  <a:cubicBezTo>
                    <a:pt x="0" y="17888"/>
                    <a:pt x="10167" y="0"/>
                    <a:pt x="33074" y="0"/>
                  </a:cubicBezTo>
                  <a:moveTo>
                    <a:pt x="33074" y="68337"/>
                  </a:moveTo>
                  <a:cubicBezTo>
                    <a:pt x="48647" y="68337"/>
                    <a:pt x="57012" y="54695"/>
                    <a:pt x="57012" y="37707"/>
                  </a:cubicBezTo>
                  <a:cubicBezTo>
                    <a:pt x="57012" y="20720"/>
                    <a:pt x="48647" y="7464"/>
                    <a:pt x="33074" y="7464"/>
                  </a:cubicBezTo>
                  <a:cubicBezTo>
                    <a:pt x="17502" y="7464"/>
                    <a:pt x="9523" y="21106"/>
                    <a:pt x="9523" y="37707"/>
                  </a:cubicBezTo>
                  <a:cubicBezTo>
                    <a:pt x="9523" y="54309"/>
                    <a:pt x="17889" y="68337"/>
                    <a:pt x="33074" y="68337"/>
                  </a:cubicBezTo>
                </a:path>
              </a:pathLst>
            </a:custGeom>
            <a:solidFill>
              <a:schemeClr val="accent1"/>
            </a:solidFill>
            <a:ln w="0" cap="flat">
              <a:noFill/>
              <a:prstDash val="solid"/>
              <a:miter/>
            </a:ln>
          </p:spPr>
          <p:txBody>
            <a:bodyPr rtlCol="0" anchor="ctr"/>
            <a:lstStyle/>
            <a:p>
              <a:pPr rtl="0"/>
              <a:endParaRPr lang="en-US" dirty="0"/>
            </a:p>
          </p:txBody>
        </p:sp>
        <p:sp>
          <p:nvSpPr>
            <p:cNvPr id="29" name="Freihandform: Form 28">
              <a:extLst>
                <a:ext uri="{FF2B5EF4-FFF2-40B4-BE49-F238E27FC236}">
                  <a16:creationId xmlns:a16="http://schemas.microsoft.com/office/drawing/2014/main" id="{1AB631A8-65E8-64C5-2DF2-AF7B05A7FAFA}"/>
                </a:ext>
              </a:extLst>
            </p:cNvPr>
            <p:cNvSpPr/>
            <p:nvPr/>
          </p:nvSpPr>
          <p:spPr>
            <a:xfrm>
              <a:off x="1138399" y="6363311"/>
              <a:ext cx="41291" cy="106848"/>
            </a:xfrm>
            <a:custGeom>
              <a:avLst/>
              <a:gdLst>
                <a:gd name="connsiteX0" fmla="*/ 14542 w 41825"/>
                <a:gd name="connsiteY0" fmla="*/ 43370 h 108231"/>
                <a:gd name="connsiteX1" fmla="*/ 0 w 41825"/>
                <a:gd name="connsiteY1" fmla="*/ 43370 h 108231"/>
                <a:gd name="connsiteX2" fmla="*/ 0 w 41825"/>
                <a:gd name="connsiteY2" fmla="*/ 35648 h 108231"/>
                <a:gd name="connsiteX3" fmla="*/ 14542 w 41825"/>
                <a:gd name="connsiteY3" fmla="*/ 35648 h 108231"/>
                <a:gd name="connsiteX4" fmla="*/ 14542 w 41825"/>
                <a:gd name="connsiteY4" fmla="*/ 30500 h 108231"/>
                <a:gd name="connsiteX5" fmla="*/ 33461 w 41825"/>
                <a:gd name="connsiteY5" fmla="*/ 0 h 108231"/>
                <a:gd name="connsiteX6" fmla="*/ 41826 w 41825"/>
                <a:gd name="connsiteY6" fmla="*/ 1416 h 108231"/>
                <a:gd name="connsiteX7" fmla="*/ 41054 w 41825"/>
                <a:gd name="connsiteY7" fmla="*/ 9137 h 108231"/>
                <a:gd name="connsiteX8" fmla="*/ 34104 w 41825"/>
                <a:gd name="connsiteY8" fmla="*/ 7722 h 108231"/>
                <a:gd name="connsiteX9" fmla="*/ 23165 w 41825"/>
                <a:gd name="connsiteY9" fmla="*/ 29471 h 108231"/>
                <a:gd name="connsiteX10" fmla="*/ 23165 w 41825"/>
                <a:gd name="connsiteY10" fmla="*/ 35777 h 108231"/>
                <a:gd name="connsiteX11" fmla="*/ 39509 w 41825"/>
                <a:gd name="connsiteY11" fmla="*/ 35777 h 108231"/>
                <a:gd name="connsiteX12" fmla="*/ 39509 w 41825"/>
                <a:gd name="connsiteY12" fmla="*/ 43499 h 108231"/>
                <a:gd name="connsiteX13" fmla="*/ 23165 w 41825"/>
                <a:gd name="connsiteY13" fmla="*/ 43499 h 108231"/>
                <a:gd name="connsiteX14" fmla="*/ 23165 w 41825"/>
                <a:gd name="connsiteY14" fmla="*/ 108232 h 108231"/>
                <a:gd name="connsiteX15" fmla="*/ 14414 w 41825"/>
                <a:gd name="connsiteY15" fmla="*/ 108232 h 108231"/>
                <a:gd name="connsiteX16" fmla="*/ 14414 w 41825"/>
                <a:gd name="connsiteY16" fmla="*/ 43499 h 108231"/>
                <a:gd name="connsiteX17" fmla="*/ 14414 w 41825"/>
                <a:gd name="connsiteY17" fmla="*/ 43499 h 108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825" h="108231">
                  <a:moveTo>
                    <a:pt x="14542" y="43370"/>
                  </a:moveTo>
                  <a:lnTo>
                    <a:pt x="0" y="43370"/>
                  </a:lnTo>
                  <a:lnTo>
                    <a:pt x="0" y="35648"/>
                  </a:lnTo>
                  <a:lnTo>
                    <a:pt x="14542" y="35648"/>
                  </a:lnTo>
                  <a:lnTo>
                    <a:pt x="14542" y="30500"/>
                  </a:lnTo>
                  <a:cubicBezTo>
                    <a:pt x="14542" y="15443"/>
                    <a:pt x="14929" y="0"/>
                    <a:pt x="33461" y="0"/>
                  </a:cubicBezTo>
                  <a:cubicBezTo>
                    <a:pt x="36421" y="0"/>
                    <a:pt x="40024" y="386"/>
                    <a:pt x="41826" y="1416"/>
                  </a:cubicBezTo>
                  <a:lnTo>
                    <a:pt x="41054" y="9137"/>
                  </a:lnTo>
                  <a:cubicBezTo>
                    <a:pt x="39252" y="7979"/>
                    <a:pt x="36678" y="7722"/>
                    <a:pt x="34104" y="7722"/>
                  </a:cubicBezTo>
                  <a:cubicBezTo>
                    <a:pt x="22135" y="7722"/>
                    <a:pt x="23165" y="20977"/>
                    <a:pt x="23165" y="29471"/>
                  </a:cubicBezTo>
                  <a:lnTo>
                    <a:pt x="23165" y="35777"/>
                  </a:lnTo>
                  <a:lnTo>
                    <a:pt x="39509" y="35777"/>
                  </a:lnTo>
                  <a:lnTo>
                    <a:pt x="39509" y="43499"/>
                  </a:lnTo>
                  <a:lnTo>
                    <a:pt x="23165" y="43499"/>
                  </a:lnTo>
                  <a:lnTo>
                    <a:pt x="23165" y="108232"/>
                  </a:lnTo>
                  <a:lnTo>
                    <a:pt x="14414" y="108232"/>
                  </a:lnTo>
                  <a:lnTo>
                    <a:pt x="14414" y="43499"/>
                  </a:lnTo>
                  <a:lnTo>
                    <a:pt x="14414" y="43499"/>
                  </a:lnTo>
                  <a:close/>
                </a:path>
              </a:pathLst>
            </a:custGeom>
            <a:solidFill>
              <a:schemeClr val="accent1"/>
            </a:solidFill>
            <a:ln w="0" cap="flat">
              <a:noFill/>
              <a:prstDash val="solid"/>
              <a:miter/>
            </a:ln>
          </p:spPr>
          <p:txBody>
            <a:bodyPr rtlCol="0" anchor="ctr"/>
            <a:lstStyle/>
            <a:p>
              <a:pPr rtl="0"/>
              <a:endParaRPr lang="en-US" dirty="0"/>
            </a:p>
          </p:txBody>
        </p:sp>
      </p:grpSp>
    </p:spTree>
    <p:extLst>
      <p:ext uri="{BB962C8B-B14F-4D97-AF65-F5344CB8AC3E}">
        <p14:creationId xmlns:p14="http://schemas.microsoft.com/office/powerpoint/2010/main" val="10019406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tIns="0"/>
          <a:lstStyle>
            <a:lvl1pPr marL="0" indent="0">
              <a:spcBef>
                <a:spcPts val="0"/>
              </a:spcBef>
              <a:buFont typeface="Arial" pitchFamily="34" charset="0"/>
              <a:buNone/>
              <a:defRPr sz="3800" b="1">
                <a:solidFill>
                  <a:schemeClr val="accent2"/>
                </a:solidFill>
              </a:defRPr>
            </a:lvl1pPr>
            <a:lvl2pPr marL="1588" indent="0">
              <a:spcBef>
                <a:spcPts val="0"/>
              </a:spcBef>
              <a:buNone/>
              <a:defRPr sz="3800">
                <a:solidFill>
                  <a:schemeClr val="accent2"/>
                </a:solidFill>
              </a:defRPr>
            </a:lvl2pPr>
            <a:lvl3pPr marL="273050" indent="0">
              <a:spcBef>
                <a:spcPts val="0"/>
              </a:spcBef>
              <a:buNone/>
              <a:tabLst/>
              <a:defRPr sz="3800">
                <a:solidFill>
                  <a:schemeClr val="accent2"/>
                </a:solidFill>
              </a:defRPr>
            </a:lvl3pPr>
            <a:lvl4pPr marL="534988" indent="0">
              <a:spcBef>
                <a:spcPts val="0"/>
              </a:spcBef>
              <a:buNone/>
              <a:defRPr sz="3800">
                <a:solidFill>
                  <a:schemeClr val="accent2"/>
                </a:solidFill>
              </a:defRPr>
            </a:lvl4pPr>
            <a:lvl5pPr marL="806450" indent="0">
              <a:spcBef>
                <a:spcPts val="0"/>
              </a:spcBef>
              <a:buNone/>
              <a:defRPr sz="3800">
                <a:solidFill>
                  <a:schemeClr val="accent2"/>
                </a:solidFill>
              </a:defRPr>
            </a:lvl5pPr>
          </a:lstStyle>
          <a:p>
            <a:pPr lvl="0"/>
            <a:r>
              <a:rPr lang="de-DE" noProof="0" dirty="0"/>
              <a:t>Textmasterformat bearbeiten</a:t>
            </a:r>
          </a:p>
          <a:p>
            <a:pPr lvl="1"/>
            <a:r>
              <a:rPr lang="de-DE" noProof="0" dirty="0"/>
              <a:t>Zweite Ebene</a:t>
            </a:r>
          </a:p>
        </p:txBody>
      </p:sp>
      <p:sp>
        <p:nvSpPr>
          <p:cNvPr id="7" name="Datumsplatzhalter 6">
            <a:extLst>
              <a:ext uri="{FF2B5EF4-FFF2-40B4-BE49-F238E27FC236}">
                <a16:creationId xmlns:a16="http://schemas.microsoft.com/office/drawing/2014/main" id="{4B75C5D4-D388-4981-A125-9A90BF645982}"/>
              </a:ext>
            </a:extLst>
          </p:cNvPr>
          <p:cNvSpPr>
            <a:spLocks noGrp="1"/>
          </p:cNvSpPr>
          <p:nvPr>
            <p:ph type="dt" sz="half" idx="10"/>
          </p:nvPr>
        </p:nvSpPr>
        <p:spPr/>
        <p:txBody>
          <a:bodyPr/>
          <a:lstStyle/>
          <a:p>
            <a:r>
              <a:rPr lang="en-US"/>
              <a:t>September 2025</a:t>
            </a:r>
            <a:endParaRPr lang="de-DE" dirty="0"/>
          </a:p>
        </p:txBody>
      </p:sp>
      <p:sp>
        <p:nvSpPr>
          <p:cNvPr id="8" name="Fußzeilenplatzhalter 7">
            <a:extLst>
              <a:ext uri="{FF2B5EF4-FFF2-40B4-BE49-F238E27FC236}">
                <a16:creationId xmlns:a16="http://schemas.microsoft.com/office/drawing/2014/main" id="{7937A002-2BF9-4172-A2F9-EFB3490379A2}"/>
              </a:ext>
            </a:extLst>
          </p:cNvPr>
          <p:cNvSpPr>
            <a:spLocks noGrp="1"/>
          </p:cNvSpPr>
          <p:nvPr>
            <p:ph type="ftr" sz="quarter" idx="11"/>
          </p:nvPr>
        </p:nvSpPr>
        <p:spPr/>
        <p:txBody>
          <a:bodyPr/>
          <a:lstStyle/>
          <a:p>
            <a:r>
              <a:rPr lang="en-US"/>
              <a:t>Achieving robust textures with PTFE-free additives</a:t>
            </a:r>
            <a:endParaRPr lang="de-DE" dirty="0"/>
          </a:p>
        </p:txBody>
      </p:sp>
      <p:sp>
        <p:nvSpPr>
          <p:cNvPr id="9" name="Foliennummernplatzhalter 8">
            <a:extLst>
              <a:ext uri="{FF2B5EF4-FFF2-40B4-BE49-F238E27FC236}">
                <a16:creationId xmlns:a16="http://schemas.microsoft.com/office/drawing/2014/main" id="{677E9E7F-AFE5-4316-84C5-36A690A089A6}"/>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10992104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no Footer)">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tIns="0"/>
          <a:lstStyle>
            <a:lvl1pPr marL="0" indent="0">
              <a:spcBef>
                <a:spcPts val="0"/>
              </a:spcBef>
              <a:buFont typeface="Arial" pitchFamily="34" charset="0"/>
              <a:buNone/>
              <a:defRPr sz="3800" b="1">
                <a:solidFill>
                  <a:schemeClr val="accent2"/>
                </a:solidFill>
              </a:defRPr>
            </a:lvl1pPr>
            <a:lvl2pPr marL="1588" indent="0">
              <a:spcBef>
                <a:spcPts val="0"/>
              </a:spcBef>
              <a:buNone/>
              <a:defRPr sz="3800">
                <a:solidFill>
                  <a:schemeClr val="accent2"/>
                </a:solidFill>
              </a:defRPr>
            </a:lvl2pPr>
            <a:lvl3pPr marL="273050" indent="0">
              <a:spcBef>
                <a:spcPts val="0"/>
              </a:spcBef>
              <a:buNone/>
              <a:tabLst/>
              <a:defRPr sz="3800">
                <a:solidFill>
                  <a:schemeClr val="accent2"/>
                </a:solidFill>
              </a:defRPr>
            </a:lvl3pPr>
            <a:lvl4pPr marL="534988" indent="0">
              <a:spcBef>
                <a:spcPts val="0"/>
              </a:spcBef>
              <a:buNone/>
              <a:defRPr sz="3800">
                <a:solidFill>
                  <a:schemeClr val="accent2"/>
                </a:solidFill>
              </a:defRPr>
            </a:lvl4pPr>
            <a:lvl5pPr marL="806450" indent="0">
              <a:spcBef>
                <a:spcPts val="0"/>
              </a:spcBef>
              <a:buNone/>
              <a:defRPr sz="3800">
                <a:solidFill>
                  <a:schemeClr val="accent2"/>
                </a:solidFill>
              </a:defRPr>
            </a:lvl5pPr>
          </a:lstStyle>
          <a:p>
            <a:pPr lvl="0"/>
            <a:r>
              <a:rPr lang="de-DE" noProof="0" dirty="0"/>
              <a:t>Textmasterformat bearbeiten</a:t>
            </a:r>
          </a:p>
          <a:p>
            <a:pPr lvl="1"/>
            <a:r>
              <a:rPr lang="de-DE" noProof="0" dirty="0"/>
              <a:t>Zweite Ebene</a:t>
            </a:r>
          </a:p>
        </p:txBody>
      </p:sp>
    </p:spTree>
    <p:extLst>
      <p:ext uri="{BB962C8B-B14F-4D97-AF65-F5344CB8AC3E}">
        <p14:creationId xmlns:p14="http://schemas.microsoft.com/office/powerpoint/2010/main" val="38344628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ith Pic)">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91BB3020-7E7E-4097-8FAA-169C45FA33A8}"/>
              </a:ext>
            </a:extLst>
          </p:cNvPr>
          <p:cNvSpPr>
            <a:spLocks noGrp="1"/>
          </p:cNvSpPr>
          <p:nvPr>
            <p:ph type="pic" sz="quarter" idx="13"/>
          </p:nvPr>
        </p:nvSpPr>
        <p:spPr bwMode="gray">
          <a:xfrm>
            <a:off x="407988" y="1"/>
            <a:ext cx="11784012" cy="6023869"/>
          </a:xfrm>
          <a:custGeom>
            <a:avLst/>
            <a:gdLst>
              <a:gd name="connsiteX0" fmla="*/ 0 w 11784012"/>
              <a:gd name="connsiteY0" fmla="*/ 0 h 6023869"/>
              <a:gd name="connsiteX1" fmla="*/ 11784012 w 11784012"/>
              <a:gd name="connsiteY1" fmla="*/ 0 h 6023869"/>
              <a:gd name="connsiteX2" fmla="*/ 11784012 w 11784012"/>
              <a:gd name="connsiteY2" fmla="*/ 6023869 h 6023869"/>
              <a:gd name="connsiteX3" fmla="*/ 431428 w 11784012"/>
              <a:gd name="connsiteY3" fmla="*/ 6023869 h 6023869"/>
              <a:gd name="connsiteX4" fmla="*/ 431428 w 11784012"/>
              <a:gd name="connsiteY4" fmla="*/ 6023867 h 6023869"/>
              <a:gd name="connsiteX5" fmla="*/ 196623 w 11784012"/>
              <a:gd name="connsiteY5" fmla="*/ 6023867 h 6023869"/>
              <a:gd name="connsiteX6" fmla="*/ 0 w 11784012"/>
              <a:gd name="connsiteY6" fmla="*/ 5827244 h 6023869"/>
              <a:gd name="connsiteX7" fmla="*/ 0 w 11784012"/>
              <a:gd name="connsiteY7" fmla="*/ 5592415 h 602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4012" h="6023869">
                <a:moveTo>
                  <a:pt x="0" y="0"/>
                </a:moveTo>
                <a:lnTo>
                  <a:pt x="11784012" y="0"/>
                </a:lnTo>
                <a:lnTo>
                  <a:pt x="11784012" y="6023869"/>
                </a:lnTo>
                <a:lnTo>
                  <a:pt x="431428" y="6023869"/>
                </a:lnTo>
                <a:lnTo>
                  <a:pt x="431428" y="6023867"/>
                </a:lnTo>
                <a:lnTo>
                  <a:pt x="196623" y="6023867"/>
                </a:lnTo>
                <a:cubicBezTo>
                  <a:pt x="88031" y="6023867"/>
                  <a:pt x="0" y="5935836"/>
                  <a:pt x="0" y="5827244"/>
                </a:cubicBezTo>
                <a:lnTo>
                  <a:pt x="0" y="5592415"/>
                </a:lnTo>
                <a:close/>
              </a:path>
            </a:pathLst>
          </a:custGeom>
          <a:solidFill>
            <a:schemeClr val="tx2"/>
          </a:solidFill>
          <a:ln>
            <a:noFill/>
          </a:ln>
          <a:effectLst/>
        </p:spPr>
        <p:txBody>
          <a:bodyPr wrap="square" tIns="0" anchor="ctr" anchorCtr="0">
            <a:noAutofit/>
          </a:bodyPr>
          <a:lstStyle>
            <a:lvl1pPr marL="0" indent="0" algn="ctr">
              <a:buNone/>
              <a:defRPr sz="1200"/>
            </a:lvl1pPr>
          </a:lstStyle>
          <a:p>
            <a:endParaRPr lang="de-DE" noProof="0" dirty="0"/>
          </a:p>
        </p:txBody>
      </p:sp>
      <p:sp>
        <p:nvSpPr>
          <p:cNvPr id="9" name="Textplatzhalter 8">
            <a:extLst>
              <a:ext uri="{FF2B5EF4-FFF2-40B4-BE49-F238E27FC236}">
                <a16:creationId xmlns:a16="http://schemas.microsoft.com/office/drawing/2014/main" id="{69FAF12D-869E-49D0-B4E5-064E69CA035E}"/>
              </a:ext>
            </a:extLst>
          </p:cNvPr>
          <p:cNvSpPr>
            <a:spLocks noGrp="1"/>
          </p:cNvSpPr>
          <p:nvPr>
            <p:ph type="body" sz="quarter" idx="14"/>
          </p:nvPr>
        </p:nvSpPr>
        <p:spPr>
          <a:xfrm>
            <a:off x="0" y="3093009"/>
            <a:ext cx="6886800" cy="1416111"/>
          </a:xfrm>
          <a:prstGeom prst="round1Rect">
            <a:avLst/>
          </a:prstGeom>
          <a:blipFill>
            <a:blip r:embed="rId2"/>
            <a:stretch>
              <a:fillRect/>
            </a:stretch>
          </a:blipFill>
        </p:spPr>
        <p:txBody>
          <a:bodyPr lIns="1008000" tIns="216000" rIns="108000" bIns="144000" anchor="b" anchorCtr="0">
            <a:spAutoFit/>
          </a:bodyPr>
          <a:lstStyle>
            <a:lvl1pPr marL="0" indent="0">
              <a:spcBef>
                <a:spcPts val="0"/>
              </a:spcBef>
              <a:buNone/>
              <a:defRPr sz="3800">
                <a:solidFill>
                  <a:schemeClr val="accent2"/>
                </a:solidFill>
              </a:defRPr>
            </a:lvl1pPr>
          </a:lstStyle>
          <a:p>
            <a:pPr lvl="0"/>
            <a:r>
              <a:rPr lang="de-DE" dirty="0"/>
              <a:t>Mastertextformat bearbeiten</a:t>
            </a:r>
          </a:p>
        </p:txBody>
      </p:sp>
      <p:sp>
        <p:nvSpPr>
          <p:cNvPr id="10" name="Datumsplatzhalter 9">
            <a:extLst>
              <a:ext uri="{FF2B5EF4-FFF2-40B4-BE49-F238E27FC236}">
                <a16:creationId xmlns:a16="http://schemas.microsoft.com/office/drawing/2014/main" id="{D0B2EED1-AAFE-4CFF-B1EC-9D7ADA86FDAE}"/>
              </a:ext>
            </a:extLst>
          </p:cNvPr>
          <p:cNvSpPr>
            <a:spLocks noGrp="1"/>
          </p:cNvSpPr>
          <p:nvPr>
            <p:ph type="dt" sz="half" idx="15"/>
          </p:nvPr>
        </p:nvSpPr>
        <p:spPr/>
        <p:txBody>
          <a:bodyPr/>
          <a:lstStyle/>
          <a:p>
            <a:r>
              <a:rPr lang="en-US"/>
              <a:t>September 2025</a:t>
            </a:r>
            <a:endParaRPr lang="de-DE" dirty="0"/>
          </a:p>
        </p:txBody>
      </p:sp>
      <p:sp>
        <p:nvSpPr>
          <p:cNvPr id="11" name="Fußzeilenplatzhalter 10">
            <a:extLst>
              <a:ext uri="{FF2B5EF4-FFF2-40B4-BE49-F238E27FC236}">
                <a16:creationId xmlns:a16="http://schemas.microsoft.com/office/drawing/2014/main" id="{417D2741-6857-40A2-8C26-EF24958046DC}"/>
              </a:ext>
            </a:extLst>
          </p:cNvPr>
          <p:cNvSpPr>
            <a:spLocks noGrp="1"/>
          </p:cNvSpPr>
          <p:nvPr>
            <p:ph type="ftr" sz="quarter" idx="16"/>
          </p:nvPr>
        </p:nvSpPr>
        <p:spPr/>
        <p:txBody>
          <a:bodyPr/>
          <a:lstStyle/>
          <a:p>
            <a:r>
              <a:rPr lang="en-US"/>
              <a:t>Achieving robust textures with PTFE-free additives</a:t>
            </a:r>
            <a:endParaRPr lang="de-DE" dirty="0"/>
          </a:p>
        </p:txBody>
      </p:sp>
      <p:sp>
        <p:nvSpPr>
          <p:cNvPr id="12" name="Foliennummernplatzhalter 11">
            <a:extLst>
              <a:ext uri="{FF2B5EF4-FFF2-40B4-BE49-F238E27FC236}">
                <a16:creationId xmlns:a16="http://schemas.microsoft.com/office/drawing/2014/main" id="{5C742750-B77F-44A7-BFFA-4A0AE5D15817}"/>
              </a:ext>
            </a:extLst>
          </p:cNvPr>
          <p:cNvSpPr>
            <a:spLocks noGrp="1"/>
          </p:cNvSpPr>
          <p:nvPr>
            <p:ph type="sldNum" sz="quarter" idx="17"/>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11635928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ith Pic, no Footer)">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91BB3020-7E7E-4097-8FAA-169C45FA33A8}"/>
              </a:ext>
            </a:extLst>
          </p:cNvPr>
          <p:cNvSpPr>
            <a:spLocks noGrp="1"/>
          </p:cNvSpPr>
          <p:nvPr>
            <p:ph type="pic" sz="quarter" idx="13"/>
          </p:nvPr>
        </p:nvSpPr>
        <p:spPr bwMode="gray">
          <a:xfrm>
            <a:off x="407988" y="1"/>
            <a:ext cx="11784012" cy="6023869"/>
          </a:xfrm>
          <a:custGeom>
            <a:avLst/>
            <a:gdLst>
              <a:gd name="connsiteX0" fmla="*/ 0 w 11784012"/>
              <a:gd name="connsiteY0" fmla="*/ 0 h 6023869"/>
              <a:gd name="connsiteX1" fmla="*/ 11784012 w 11784012"/>
              <a:gd name="connsiteY1" fmla="*/ 0 h 6023869"/>
              <a:gd name="connsiteX2" fmla="*/ 11784012 w 11784012"/>
              <a:gd name="connsiteY2" fmla="*/ 6023869 h 6023869"/>
              <a:gd name="connsiteX3" fmla="*/ 431428 w 11784012"/>
              <a:gd name="connsiteY3" fmla="*/ 6023869 h 6023869"/>
              <a:gd name="connsiteX4" fmla="*/ 431428 w 11784012"/>
              <a:gd name="connsiteY4" fmla="*/ 6023867 h 6023869"/>
              <a:gd name="connsiteX5" fmla="*/ 196623 w 11784012"/>
              <a:gd name="connsiteY5" fmla="*/ 6023867 h 6023869"/>
              <a:gd name="connsiteX6" fmla="*/ 0 w 11784012"/>
              <a:gd name="connsiteY6" fmla="*/ 5827244 h 6023869"/>
              <a:gd name="connsiteX7" fmla="*/ 0 w 11784012"/>
              <a:gd name="connsiteY7" fmla="*/ 5592415 h 602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4012" h="6023869">
                <a:moveTo>
                  <a:pt x="0" y="0"/>
                </a:moveTo>
                <a:lnTo>
                  <a:pt x="11784012" y="0"/>
                </a:lnTo>
                <a:lnTo>
                  <a:pt x="11784012" y="6023869"/>
                </a:lnTo>
                <a:lnTo>
                  <a:pt x="431428" y="6023869"/>
                </a:lnTo>
                <a:lnTo>
                  <a:pt x="431428" y="6023867"/>
                </a:lnTo>
                <a:lnTo>
                  <a:pt x="196623" y="6023867"/>
                </a:lnTo>
                <a:cubicBezTo>
                  <a:pt x="88031" y="6023867"/>
                  <a:pt x="0" y="5935836"/>
                  <a:pt x="0" y="5827244"/>
                </a:cubicBezTo>
                <a:lnTo>
                  <a:pt x="0" y="5592415"/>
                </a:lnTo>
                <a:close/>
              </a:path>
            </a:pathLst>
          </a:custGeom>
          <a:solidFill>
            <a:schemeClr val="tx2"/>
          </a:solidFill>
          <a:ln>
            <a:noFill/>
          </a:ln>
          <a:effectLst/>
        </p:spPr>
        <p:txBody>
          <a:bodyPr wrap="square" tIns="0" anchor="ctr" anchorCtr="0">
            <a:noAutofit/>
          </a:bodyPr>
          <a:lstStyle>
            <a:lvl1pPr marL="0" indent="0" algn="ctr">
              <a:buNone/>
              <a:defRPr sz="1200"/>
            </a:lvl1pPr>
          </a:lstStyle>
          <a:p>
            <a:endParaRPr lang="de-DE" noProof="0" dirty="0"/>
          </a:p>
        </p:txBody>
      </p:sp>
      <p:sp>
        <p:nvSpPr>
          <p:cNvPr id="9" name="Textplatzhalter 8">
            <a:extLst>
              <a:ext uri="{FF2B5EF4-FFF2-40B4-BE49-F238E27FC236}">
                <a16:creationId xmlns:a16="http://schemas.microsoft.com/office/drawing/2014/main" id="{69FAF12D-869E-49D0-B4E5-064E69CA035E}"/>
              </a:ext>
            </a:extLst>
          </p:cNvPr>
          <p:cNvSpPr>
            <a:spLocks noGrp="1"/>
          </p:cNvSpPr>
          <p:nvPr>
            <p:ph type="body" sz="quarter" idx="14"/>
          </p:nvPr>
        </p:nvSpPr>
        <p:spPr>
          <a:xfrm>
            <a:off x="0" y="3093009"/>
            <a:ext cx="6886800" cy="1416111"/>
          </a:xfrm>
          <a:prstGeom prst="round1Rect">
            <a:avLst/>
          </a:prstGeom>
          <a:blipFill>
            <a:blip r:embed="rId2"/>
            <a:stretch>
              <a:fillRect/>
            </a:stretch>
          </a:blipFill>
        </p:spPr>
        <p:txBody>
          <a:bodyPr lIns="1008000" tIns="216000" rIns="108000" bIns="144000" anchor="b" anchorCtr="0">
            <a:spAutoFit/>
          </a:bodyPr>
          <a:lstStyle>
            <a:lvl1pPr marL="0" indent="0">
              <a:spcBef>
                <a:spcPts val="0"/>
              </a:spcBef>
              <a:buNone/>
              <a:defRPr sz="3800">
                <a:solidFill>
                  <a:schemeClr val="accent2"/>
                </a:solidFill>
              </a:defRPr>
            </a:lvl1pPr>
          </a:lstStyle>
          <a:p>
            <a:pPr lvl="0"/>
            <a:r>
              <a:rPr lang="de-DE" dirty="0"/>
              <a:t>Mastertextformat bearbeiten</a:t>
            </a:r>
          </a:p>
        </p:txBody>
      </p:sp>
    </p:spTree>
    <p:extLst>
      <p:ext uri="{BB962C8B-B14F-4D97-AF65-F5344CB8AC3E}">
        <p14:creationId xmlns:p14="http://schemas.microsoft.com/office/powerpoint/2010/main" val="9295895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ext (24p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3" name="Inhaltsplatzhalter 2"/>
          <p:cNvSpPr>
            <a:spLocks noGrp="1"/>
          </p:cNvSpPr>
          <p:nvPr>
            <p:ph idx="1"/>
          </p:nvPr>
        </p:nvSpPr>
        <p:spPr bwMode="gray">
          <a:xfrm>
            <a:off x="407988" y="1202400"/>
            <a:ext cx="11376026" cy="5106325"/>
          </a:xfrm>
        </p:spPr>
        <p:txBody>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8" name="Datumsplatzhalter 7">
            <a:extLst>
              <a:ext uri="{FF2B5EF4-FFF2-40B4-BE49-F238E27FC236}">
                <a16:creationId xmlns:a16="http://schemas.microsoft.com/office/drawing/2014/main" id="{6A81822E-03C4-47BF-ACC0-84F5C37FBDE2}"/>
              </a:ext>
            </a:extLst>
          </p:cNvPr>
          <p:cNvSpPr>
            <a:spLocks noGrp="1"/>
          </p:cNvSpPr>
          <p:nvPr>
            <p:ph type="dt" sz="half" idx="10"/>
          </p:nvPr>
        </p:nvSpPr>
        <p:spPr/>
        <p:txBody>
          <a:bodyPr/>
          <a:lstStyle/>
          <a:p>
            <a:r>
              <a:rPr lang="en-US"/>
              <a:t>September 2025</a:t>
            </a:r>
            <a:endParaRPr lang="de-DE" dirty="0"/>
          </a:p>
        </p:txBody>
      </p:sp>
      <p:sp>
        <p:nvSpPr>
          <p:cNvPr id="9" name="Fußzeilenplatzhalter 8">
            <a:extLst>
              <a:ext uri="{FF2B5EF4-FFF2-40B4-BE49-F238E27FC236}">
                <a16:creationId xmlns:a16="http://schemas.microsoft.com/office/drawing/2014/main" id="{007453AD-1CC9-43F7-8D8B-08288FBEB5A5}"/>
              </a:ext>
            </a:extLst>
          </p:cNvPr>
          <p:cNvSpPr>
            <a:spLocks noGrp="1"/>
          </p:cNvSpPr>
          <p:nvPr>
            <p:ph type="ftr" sz="quarter" idx="11"/>
          </p:nvPr>
        </p:nvSpPr>
        <p:spPr/>
        <p:txBody>
          <a:bodyPr/>
          <a:lstStyle/>
          <a:p>
            <a:r>
              <a:rPr lang="en-US"/>
              <a:t>Achieving robust textures with PTFE-free additives</a:t>
            </a:r>
            <a:endParaRPr lang="de-DE" dirty="0"/>
          </a:p>
        </p:txBody>
      </p:sp>
      <p:sp>
        <p:nvSpPr>
          <p:cNvPr id="10" name="Foliennummernplatzhalter 9">
            <a:extLst>
              <a:ext uri="{FF2B5EF4-FFF2-40B4-BE49-F238E27FC236}">
                <a16:creationId xmlns:a16="http://schemas.microsoft.com/office/drawing/2014/main" id="{E3B1DE5F-0672-4890-B5A9-EB8830CED00D}"/>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35291372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ext (20p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dirty="0"/>
              <a:t>Titelmasterformat durch Klicken bearbeiten</a:t>
            </a:r>
          </a:p>
        </p:txBody>
      </p:sp>
      <p:sp>
        <p:nvSpPr>
          <p:cNvPr id="3" name="Inhaltsplatzhalter 2"/>
          <p:cNvSpPr>
            <a:spLocks noGrp="1"/>
          </p:cNvSpPr>
          <p:nvPr>
            <p:ph idx="1"/>
          </p:nvPr>
        </p:nvSpPr>
        <p:spPr bwMode="gray">
          <a:xfrm>
            <a:off x="407988" y="1212215"/>
            <a:ext cx="11376026" cy="5096510"/>
          </a:xfrm>
        </p:spPr>
        <p:txBody>
          <a:bodyPr/>
          <a:lstStyle>
            <a:lvl1pPr marL="228600" indent="-228600">
              <a:tabLst>
                <a:tab pos="228600" algn="l"/>
              </a:tabLst>
              <a:defRPr sz="2000"/>
            </a:lvl1pPr>
            <a:lvl2pPr marL="490538" indent="-247650">
              <a:defRPr sz="2000"/>
            </a:lvl2pPr>
            <a:lvl3pPr marL="719138" indent="-214313">
              <a:defRPr sz="2000"/>
            </a:lvl3pPr>
            <a:lvl4pPr marL="938213" indent="-219075">
              <a:defRPr sz="2000"/>
            </a:lvl4pPr>
            <a:lvl5pPr marL="1128713" indent="-195263">
              <a:defRPr sz="2000"/>
            </a:lvl5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8" name="Datumsplatzhalter 7">
            <a:extLst>
              <a:ext uri="{FF2B5EF4-FFF2-40B4-BE49-F238E27FC236}">
                <a16:creationId xmlns:a16="http://schemas.microsoft.com/office/drawing/2014/main" id="{C44B70F0-BDBB-46EC-9A85-C49C939AE43D}"/>
              </a:ext>
            </a:extLst>
          </p:cNvPr>
          <p:cNvSpPr>
            <a:spLocks noGrp="1"/>
          </p:cNvSpPr>
          <p:nvPr>
            <p:ph type="dt" sz="half" idx="10"/>
          </p:nvPr>
        </p:nvSpPr>
        <p:spPr/>
        <p:txBody>
          <a:bodyPr/>
          <a:lstStyle/>
          <a:p>
            <a:r>
              <a:rPr lang="en-US"/>
              <a:t>September 2025</a:t>
            </a:r>
            <a:endParaRPr lang="de-DE" dirty="0"/>
          </a:p>
        </p:txBody>
      </p:sp>
      <p:sp>
        <p:nvSpPr>
          <p:cNvPr id="9" name="Fußzeilenplatzhalter 8">
            <a:extLst>
              <a:ext uri="{FF2B5EF4-FFF2-40B4-BE49-F238E27FC236}">
                <a16:creationId xmlns:a16="http://schemas.microsoft.com/office/drawing/2014/main" id="{52F093D5-79CA-4D48-ABA1-E653E3E6F7E8}"/>
              </a:ext>
            </a:extLst>
          </p:cNvPr>
          <p:cNvSpPr>
            <a:spLocks noGrp="1"/>
          </p:cNvSpPr>
          <p:nvPr>
            <p:ph type="ftr" sz="quarter" idx="11"/>
          </p:nvPr>
        </p:nvSpPr>
        <p:spPr/>
        <p:txBody>
          <a:bodyPr/>
          <a:lstStyle/>
          <a:p>
            <a:r>
              <a:rPr lang="en-US"/>
              <a:t>Achieving robust textures with PTFE-free additives</a:t>
            </a:r>
            <a:endParaRPr lang="de-DE" dirty="0"/>
          </a:p>
        </p:txBody>
      </p:sp>
      <p:sp>
        <p:nvSpPr>
          <p:cNvPr id="10" name="Foliennummernplatzhalter 9">
            <a:extLst>
              <a:ext uri="{FF2B5EF4-FFF2-40B4-BE49-F238E27FC236}">
                <a16:creationId xmlns:a16="http://schemas.microsoft.com/office/drawing/2014/main" id="{61504FB4-7D47-470E-ABAA-7D2AB1B2B280}"/>
              </a:ext>
            </a:extLst>
          </p:cNvPr>
          <p:cNvSpPr>
            <a:spLocks noGrp="1"/>
          </p:cNvSpPr>
          <p:nvPr>
            <p:ph type="sldNum" sz="quarter" idx="12"/>
          </p:nvPr>
        </p:nvSpPr>
        <p:spPr/>
        <p:txBody>
          <a:bodyPr/>
          <a:lstStyle>
            <a:lvl1pPr algn="l">
              <a:defRPr/>
            </a:lvl1pPr>
          </a:lstStyle>
          <a:p>
            <a:r>
              <a:rPr lang="de-DE" dirty="0"/>
              <a:t>Page </a:t>
            </a:r>
            <a:fld id="{8F63C9D9-3015-4EB3-9DF0-04DE0400ED04}" type="slidenum">
              <a:rPr smtClean="0"/>
              <a:pPr/>
              <a:t>‹#›</a:t>
            </a:fld>
            <a:endParaRPr dirty="0"/>
          </a:p>
        </p:txBody>
      </p:sp>
    </p:spTree>
    <p:extLst>
      <p:ext uri="{BB962C8B-B14F-4D97-AF65-F5344CB8AC3E}">
        <p14:creationId xmlns:p14="http://schemas.microsoft.com/office/powerpoint/2010/main" val="1709070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407987" y="188913"/>
            <a:ext cx="11376026" cy="1008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0" numCol="1" anchor="t" anchorCtr="0" compatLnSpc="1">
            <a:prstTxWarp prst="textNoShape">
              <a:avLst/>
            </a:prstTxWarp>
          </a:bodyPr>
          <a:lstStyle/>
          <a:p>
            <a:pPr lvl="0"/>
            <a:r>
              <a:rPr lang="de-DE" noProof="0" dirty="0"/>
              <a:t>Titelmasterformat durch Klicken bearbeiten</a:t>
            </a:r>
          </a:p>
        </p:txBody>
      </p:sp>
      <p:sp>
        <p:nvSpPr>
          <p:cNvPr id="1027" name="Rectangle 3"/>
          <p:cNvSpPr>
            <a:spLocks noGrp="1" noChangeArrowheads="1"/>
          </p:cNvSpPr>
          <p:nvPr>
            <p:ph type="body" idx="1"/>
          </p:nvPr>
        </p:nvSpPr>
        <p:spPr bwMode="gray">
          <a:xfrm>
            <a:off x="407988" y="1203895"/>
            <a:ext cx="11376026" cy="510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25200" rIns="0" bIns="0" numCol="1" anchor="t" anchorCtr="0" compatLnSpc="1">
            <a:prstTxWarp prst="textNoShape">
              <a:avLst/>
            </a:prstTxWarp>
          </a:bodyPr>
          <a:lstStyle/>
          <a:p>
            <a:pPr lvl="0"/>
            <a:r>
              <a:rPr lang="de-DE" noProof="0" dirty="0"/>
              <a:t>Textmasterformate durch Klicken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7" name="Grafik 6">
            <a:extLst>
              <a:ext uri="{FF2B5EF4-FFF2-40B4-BE49-F238E27FC236}">
                <a16:creationId xmlns:a16="http://schemas.microsoft.com/office/drawing/2014/main" id="{850F393C-EE5D-4C64-A555-C60C477234BA}"/>
              </a:ext>
            </a:extLst>
          </p:cNvPr>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11090324" y="6477145"/>
            <a:ext cx="696770" cy="187200"/>
          </a:xfrm>
          <a:prstGeom prst="rect">
            <a:avLst/>
          </a:prstGeom>
        </p:spPr>
      </p:pic>
      <p:sp>
        <p:nvSpPr>
          <p:cNvPr id="10" name="Datumsplatzhalter 3">
            <a:extLst>
              <a:ext uri="{FF2B5EF4-FFF2-40B4-BE49-F238E27FC236}">
                <a16:creationId xmlns:a16="http://schemas.microsoft.com/office/drawing/2014/main" id="{60F6AB8B-1AA7-44B3-969D-40DED74013F6}"/>
              </a:ext>
            </a:extLst>
          </p:cNvPr>
          <p:cNvSpPr>
            <a:spLocks noGrp="1"/>
          </p:cNvSpPr>
          <p:nvPr>
            <p:ph type="dt" sz="half" idx="2"/>
          </p:nvPr>
        </p:nvSpPr>
        <p:spPr>
          <a:xfrm>
            <a:off x="1127448" y="6513439"/>
            <a:ext cx="792088" cy="14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lang="de-DE" sz="800" smtClean="0">
                <a:solidFill>
                  <a:schemeClr val="bg2"/>
                </a:solidFill>
              </a:defRPr>
            </a:lvl1pPr>
          </a:lstStyle>
          <a:p>
            <a:r>
              <a:rPr lang="en-US"/>
              <a:t>September 2025</a:t>
            </a:r>
            <a:endParaRPr lang="de-DE" dirty="0"/>
          </a:p>
        </p:txBody>
      </p:sp>
      <p:sp>
        <p:nvSpPr>
          <p:cNvPr id="11" name="Fußzeilenplatzhalter 4">
            <a:extLst>
              <a:ext uri="{FF2B5EF4-FFF2-40B4-BE49-F238E27FC236}">
                <a16:creationId xmlns:a16="http://schemas.microsoft.com/office/drawing/2014/main" id="{CDBAEBC6-DE2A-4D13-ABEF-D6CC7D0AB137}"/>
              </a:ext>
            </a:extLst>
          </p:cNvPr>
          <p:cNvSpPr>
            <a:spLocks noGrp="1"/>
          </p:cNvSpPr>
          <p:nvPr>
            <p:ph type="ftr" sz="quarter" idx="3"/>
          </p:nvPr>
        </p:nvSpPr>
        <p:spPr>
          <a:xfrm>
            <a:off x="1992796" y="6513440"/>
            <a:ext cx="8207660" cy="14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lang="de-DE" sz="800" smtClean="0">
                <a:solidFill>
                  <a:schemeClr val="bg2"/>
                </a:solidFill>
              </a:defRPr>
            </a:lvl1pPr>
          </a:lstStyle>
          <a:p>
            <a:r>
              <a:rPr lang="en-US"/>
              <a:t>Achieving robust textures with PTFE-free additives</a:t>
            </a:r>
            <a:endParaRPr lang="de-DE" dirty="0"/>
          </a:p>
        </p:txBody>
      </p:sp>
      <p:sp>
        <p:nvSpPr>
          <p:cNvPr id="12" name="Foliennummernplatzhalter 5">
            <a:extLst>
              <a:ext uri="{FF2B5EF4-FFF2-40B4-BE49-F238E27FC236}">
                <a16:creationId xmlns:a16="http://schemas.microsoft.com/office/drawing/2014/main" id="{5CA23856-9658-4136-90CC-CC7EAD75CA63}"/>
              </a:ext>
            </a:extLst>
          </p:cNvPr>
          <p:cNvSpPr>
            <a:spLocks noGrp="1"/>
          </p:cNvSpPr>
          <p:nvPr>
            <p:ph type="sldNum" sz="quarter" idx="4"/>
          </p:nvPr>
        </p:nvSpPr>
        <p:spPr>
          <a:xfrm>
            <a:off x="407368" y="6513439"/>
            <a:ext cx="620466" cy="14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defRPr lang="de-DE" sz="800" smtClean="0">
                <a:solidFill>
                  <a:schemeClr val="bg2"/>
                </a:solidFill>
              </a:defRPr>
            </a:lvl1pPr>
          </a:lstStyle>
          <a:p>
            <a:pPr algn="l"/>
            <a:r>
              <a:rPr lang="de-DE" dirty="0"/>
              <a:t>Page </a:t>
            </a:r>
            <a:fld id="{8F63C9D9-3015-4EB3-9DF0-04DE0400ED04}" type="slidenum">
              <a:rPr smtClean="0"/>
              <a:pPr algn="l"/>
              <a:t>‹#›</a:t>
            </a:fld>
            <a:endParaRPr dirty="0"/>
          </a:p>
        </p:txBody>
      </p:sp>
    </p:spTree>
  </p:cSld>
  <p:clrMap bg1="lt1" tx1="dk1" bg2="lt2" tx2="dk2" accent1="accent1" accent2="accent2" accent3="accent3" accent4="accent4" accent5="accent5" accent6="accent6" hlink="hlink" folHlink="folHlink"/>
  <p:sldLayoutIdLst>
    <p:sldLayoutId id="2147483656" r:id="rId1"/>
    <p:sldLayoutId id="2147483665" r:id="rId2"/>
    <p:sldLayoutId id="2147483657" r:id="rId3"/>
    <p:sldLayoutId id="2147483659" r:id="rId4"/>
    <p:sldLayoutId id="2147483689" r:id="rId5"/>
    <p:sldLayoutId id="2147483680" r:id="rId6"/>
    <p:sldLayoutId id="2147483690" r:id="rId7"/>
    <p:sldLayoutId id="2147483650" r:id="rId8"/>
    <p:sldLayoutId id="2147483667" r:id="rId9"/>
    <p:sldLayoutId id="2147483668" r:id="rId10"/>
    <p:sldLayoutId id="2147483660" r:id="rId11"/>
    <p:sldLayoutId id="2147483669" r:id="rId12"/>
    <p:sldLayoutId id="2147483654" r:id="rId13"/>
    <p:sldLayoutId id="2147483670" r:id="rId14"/>
    <p:sldLayoutId id="2147483671" r:id="rId15"/>
    <p:sldLayoutId id="2147483672" r:id="rId16"/>
    <p:sldLayoutId id="2147483673" r:id="rId17"/>
    <p:sldLayoutId id="2147483674" r:id="rId18"/>
    <p:sldLayoutId id="2147483661" r:id="rId19"/>
    <p:sldLayoutId id="2147483691" r:id="rId20"/>
    <p:sldLayoutId id="2147483683" r:id="rId21"/>
    <p:sldLayoutId id="2147483681" r:id="rId22"/>
    <p:sldLayoutId id="2147483682" r:id="rId23"/>
    <p:sldLayoutId id="2147483684" r:id="rId24"/>
    <p:sldLayoutId id="2147483685" r:id="rId25"/>
    <p:sldLayoutId id="2147483688" r:id="rId26"/>
    <p:sldLayoutId id="2147483662" r:id="rId27"/>
    <p:sldLayoutId id="2147483677" r:id="rId28"/>
    <p:sldLayoutId id="2147483678" r:id="rId29"/>
    <p:sldLayoutId id="2147483687" r:id="rId30"/>
    <p:sldLayoutId id="2147483686" r:id="rId31"/>
    <p:sldLayoutId id="2147483692" r:id="rId32"/>
    <p:sldLayoutId id="2147483693" r:id="rId33"/>
    <p:sldLayoutId id="2147483694" r:id="rId34"/>
    <p:sldLayoutId id="2147483695" r:id="rId35"/>
    <p:sldLayoutId id="2147483696" r:id="rId36"/>
    <p:sldLayoutId id="2147483697" r:id="rId37"/>
    <p:sldLayoutId id="2147483698" r:id="rId38"/>
  </p:sldLayoutIdLst>
  <p:hf hdr="0"/>
  <p:txStyles>
    <p:titleStyle>
      <a:lvl1pPr algn="l" rtl="0" fontAlgn="base">
        <a:lnSpc>
          <a:spcPct val="90000"/>
        </a:lnSpc>
        <a:spcBef>
          <a:spcPct val="20000"/>
        </a:spcBef>
        <a:spcAft>
          <a:spcPct val="0"/>
        </a:spcAft>
        <a:defRPr sz="2400" b="1">
          <a:solidFill>
            <a:schemeClr val="accent2"/>
          </a:solidFill>
          <a:latin typeface="+mj-lt"/>
          <a:ea typeface="+mj-ea"/>
          <a:cs typeface="+mj-cs"/>
        </a:defRPr>
      </a:lvl1pPr>
      <a:lvl2pPr algn="l" rtl="0" fontAlgn="base">
        <a:lnSpc>
          <a:spcPct val="90000"/>
        </a:lnSpc>
        <a:spcBef>
          <a:spcPct val="20000"/>
        </a:spcBef>
        <a:spcAft>
          <a:spcPct val="0"/>
        </a:spcAft>
        <a:defRPr sz="2400">
          <a:solidFill>
            <a:schemeClr val="accent2"/>
          </a:solidFill>
          <a:latin typeface="Arial" charset="0"/>
        </a:defRPr>
      </a:lvl2pPr>
      <a:lvl3pPr algn="l" rtl="0" fontAlgn="base">
        <a:lnSpc>
          <a:spcPct val="90000"/>
        </a:lnSpc>
        <a:spcBef>
          <a:spcPct val="20000"/>
        </a:spcBef>
        <a:spcAft>
          <a:spcPct val="0"/>
        </a:spcAft>
        <a:defRPr sz="2400">
          <a:solidFill>
            <a:schemeClr val="accent2"/>
          </a:solidFill>
          <a:latin typeface="Arial" charset="0"/>
        </a:defRPr>
      </a:lvl3pPr>
      <a:lvl4pPr algn="l" rtl="0" fontAlgn="base">
        <a:lnSpc>
          <a:spcPct val="90000"/>
        </a:lnSpc>
        <a:spcBef>
          <a:spcPct val="20000"/>
        </a:spcBef>
        <a:spcAft>
          <a:spcPct val="0"/>
        </a:spcAft>
        <a:defRPr sz="2400">
          <a:solidFill>
            <a:schemeClr val="accent2"/>
          </a:solidFill>
          <a:latin typeface="Arial" charset="0"/>
        </a:defRPr>
      </a:lvl4pPr>
      <a:lvl5pPr algn="l" rtl="0" fontAlgn="base">
        <a:lnSpc>
          <a:spcPct val="90000"/>
        </a:lnSpc>
        <a:spcBef>
          <a:spcPct val="20000"/>
        </a:spcBef>
        <a:spcAft>
          <a:spcPct val="0"/>
        </a:spcAft>
        <a:defRPr sz="2400">
          <a:solidFill>
            <a:schemeClr val="accent2"/>
          </a:solidFill>
          <a:latin typeface="Arial" charset="0"/>
        </a:defRPr>
      </a:lvl5pPr>
      <a:lvl6pPr marL="457200" algn="l" rtl="0" fontAlgn="base">
        <a:lnSpc>
          <a:spcPct val="90000"/>
        </a:lnSpc>
        <a:spcBef>
          <a:spcPct val="20000"/>
        </a:spcBef>
        <a:spcAft>
          <a:spcPct val="0"/>
        </a:spcAft>
        <a:defRPr sz="2400">
          <a:solidFill>
            <a:schemeClr val="accent2"/>
          </a:solidFill>
          <a:latin typeface="Arial" charset="0"/>
        </a:defRPr>
      </a:lvl6pPr>
      <a:lvl7pPr marL="914400" algn="l" rtl="0" fontAlgn="base">
        <a:lnSpc>
          <a:spcPct val="90000"/>
        </a:lnSpc>
        <a:spcBef>
          <a:spcPct val="20000"/>
        </a:spcBef>
        <a:spcAft>
          <a:spcPct val="0"/>
        </a:spcAft>
        <a:defRPr sz="2400">
          <a:solidFill>
            <a:schemeClr val="accent2"/>
          </a:solidFill>
          <a:latin typeface="Arial" charset="0"/>
        </a:defRPr>
      </a:lvl7pPr>
      <a:lvl8pPr marL="1371600" algn="l" rtl="0" fontAlgn="base">
        <a:lnSpc>
          <a:spcPct val="90000"/>
        </a:lnSpc>
        <a:spcBef>
          <a:spcPct val="20000"/>
        </a:spcBef>
        <a:spcAft>
          <a:spcPct val="0"/>
        </a:spcAft>
        <a:defRPr sz="2400">
          <a:solidFill>
            <a:schemeClr val="accent2"/>
          </a:solidFill>
          <a:latin typeface="Arial" charset="0"/>
        </a:defRPr>
      </a:lvl8pPr>
      <a:lvl9pPr marL="1828800" algn="l" rtl="0" fontAlgn="base">
        <a:lnSpc>
          <a:spcPct val="90000"/>
        </a:lnSpc>
        <a:spcBef>
          <a:spcPct val="20000"/>
        </a:spcBef>
        <a:spcAft>
          <a:spcPct val="0"/>
        </a:spcAft>
        <a:defRPr sz="2400">
          <a:solidFill>
            <a:schemeClr val="accent2"/>
          </a:solidFill>
          <a:latin typeface="Arial" charset="0"/>
        </a:defRPr>
      </a:lvl9pPr>
    </p:titleStyle>
    <p:bodyStyle>
      <a:lvl1pPr marL="266700" indent="-266700" algn="l" rtl="0" fontAlgn="base">
        <a:lnSpc>
          <a:spcPct val="90000"/>
        </a:lnSpc>
        <a:spcBef>
          <a:spcPts val="600"/>
        </a:spcBef>
        <a:spcAft>
          <a:spcPct val="0"/>
        </a:spcAft>
        <a:buFont typeface="Arial" pitchFamily="34" charset="0"/>
        <a:buChar char="•"/>
        <a:tabLst>
          <a:tab pos="266700" algn="l"/>
        </a:tabLst>
        <a:defRPr sz="2400">
          <a:solidFill>
            <a:schemeClr val="tx1"/>
          </a:solidFill>
          <a:latin typeface="+mn-lt"/>
          <a:ea typeface="+mn-ea"/>
          <a:cs typeface="+mn-cs"/>
        </a:defRPr>
      </a:lvl1pPr>
      <a:lvl2pPr marL="546100" indent="-269875" algn="l" rtl="0" fontAlgn="base">
        <a:lnSpc>
          <a:spcPct val="90000"/>
        </a:lnSpc>
        <a:spcBef>
          <a:spcPts val="600"/>
        </a:spcBef>
        <a:spcAft>
          <a:spcPct val="0"/>
        </a:spcAft>
        <a:buFont typeface="Arial" pitchFamily="34" charset="0"/>
        <a:buChar char="•"/>
        <a:tabLst/>
        <a:defRPr sz="2400">
          <a:solidFill>
            <a:schemeClr val="tx1"/>
          </a:solidFill>
          <a:latin typeface="+mn-lt"/>
        </a:defRPr>
      </a:lvl2pPr>
      <a:lvl3pPr marL="809625" indent="-266700" algn="l" rtl="0" fontAlgn="base">
        <a:lnSpc>
          <a:spcPct val="90000"/>
        </a:lnSpc>
        <a:spcBef>
          <a:spcPts val="600"/>
        </a:spcBef>
        <a:spcAft>
          <a:spcPct val="0"/>
        </a:spcAft>
        <a:buChar char="•"/>
        <a:tabLst/>
        <a:defRPr sz="2400">
          <a:solidFill>
            <a:schemeClr val="tx1"/>
          </a:solidFill>
          <a:latin typeface="+mn-lt"/>
        </a:defRPr>
      </a:lvl3pPr>
      <a:lvl4pPr marL="1071563" indent="-261938" algn="l" rtl="0" fontAlgn="base">
        <a:lnSpc>
          <a:spcPct val="90000"/>
        </a:lnSpc>
        <a:spcBef>
          <a:spcPts val="600"/>
        </a:spcBef>
        <a:spcAft>
          <a:spcPct val="0"/>
        </a:spcAft>
        <a:buChar char="•"/>
        <a:tabLst/>
        <a:defRPr sz="2400">
          <a:solidFill>
            <a:schemeClr val="tx1"/>
          </a:solidFill>
          <a:latin typeface="+mn-lt"/>
        </a:defRPr>
      </a:lvl4pPr>
      <a:lvl5pPr marL="1438275" indent="-276225" algn="l" rtl="0" fontAlgn="base">
        <a:lnSpc>
          <a:spcPct val="90000"/>
        </a:lnSpc>
        <a:spcBef>
          <a:spcPts val="600"/>
        </a:spcBef>
        <a:spcAft>
          <a:spcPct val="0"/>
        </a:spcAft>
        <a:buChar char="•"/>
        <a:tabLst/>
        <a:defRPr sz="2400">
          <a:solidFill>
            <a:schemeClr val="tx1"/>
          </a:solidFill>
          <a:latin typeface="+mn-lt"/>
        </a:defRPr>
      </a:lvl5pPr>
      <a:lvl6pPr marL="1441450" indent="-177800" algn="l" rtl="0" fontAlgn="base">
        <a:lnSpc>
          <a:spcPct val="90000"/>
        </a:lnSpc>
        <a:spcBef>
          <a:spcPct val="20000"/>
        </a:spcBef>
        <a:spcAft>
          <a:spcPct val="0"/>
        </a:spcAft>
        <a:buChar char="•"/>
        <a:tabLst>
          <a:tab pos="271463" algn="l"/>
        </a:tabLst>
        <a:defRPr sz="2400">
          <a:solidFill>
            <a:schemeClr val="tx1"/>
          </a:solidFill>
          <a:latin typeface="+mn-lt"/>
        </a:defRPr>
      </a:lvl6pPr>
      <a:lvl7pPr marL="1898650" indent="-177800" algn="l" rtl="0" fontAlgn="base">
        <a:lnSpc>
          <a:spcPct val="90000"/>
        </a:lnSpc>
        <a:spcBef>
          <a:spcPct val="20000"/>
        </a:spcBef>
        <a:spcAft>
          <a:spcPct val="0"/>
        </a:spcAft>
        <a:buChar char="•"/>
        <a:tabLst>
          <a:tab pos="271463" algn="l"/>
        </a:tabLst>
        <a:defRPr sz="2400">
          <a:solidFill>
            <a:schemeClr val="tx1"/>
          </a:solidFill>
          <a:latin typeface="+mn-lt"/>
        </a:defRPr>
      </a:lvl7pPr>
      <a:lvl8pPr marL="2355850" indent="-177800" algn="l" rtl="0" fontAlgn="base">
        <a:lnSpc>
          <a:spcPct val="90000"/>
        </a:lnSpc>
        <a:spcBef>
          <a:spcPct val="20000"/>
        </a:spcBef>
        <a:spcAft>
          <a:spcPct val="0"/>
        </a:spcAft>
        <a:buChar char="•"/>
        <a:tabLst>
          <a:tab pos="271463" algn="l"/>
        </a:tabLst>
        <a:defRPr sz="2400">
          <a:solidFill>
            <a:schemeClr val="tx1"/>
          </a:solidFill>
          <a:latin typeface="+mn-lt"/>
        </a:defRPr>
      </a:lvl8pPr>
      <a:lvl9pPr marL="2813050" indent="-177800" algn="l" rtl="0" fontAlgn="base">
        <a:lnSpc>
          <a:spcPct val="90000"/>
        </a:lnSpc>
        <a:spcBef>
          <a:spcPct val="20000"/>
        </a:spcBef>
        <a:spcAft>
          <a:spcPct val="0"/>
        </a:spcAft>
        <a:buChar char="•"/>
        <a:tabLst>
          <a:tab pos="271463"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7423" userDrawn="1">
          <p15:clr>
            <a:srgbClr val="F26B43"/>
          </p15:clr>
        </p15:guide>
        <p15:guide id="5" pos="257" userDrawn="1">
          <p15:clr>
            <a:srgbClr val="F26B43"/>
          </p15:clr>
        </p15:guide>
        <p15:guide id="6" orient="horz" pos="3974" userDrawn="1">
          <p15:clr>
            <a:srgbClr val="F26B43"/>
          </p15:clr>
        </p15:guide>
        <p15:guide id="7" pos="3885" userDrawn="1">
          <p15:clr>
            <a:srgbClr val="F26B43"/>
          </p15:clr>
        </p15:guide>
        <p15:guide id="8" pos="379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8" Type="http://schemas.openxmlformats.org/officeDocument/2006/relationships/image" Target="../media/image34.png"/><Relationship Id="rId13" Type="http://schemas.microsoft.com/office/2007/relationships/hdphoto" Target="../media/hdphoto5.wdp"/><Relationship Id="rId3" Type="http://schemas.openxmlformats.org/officeDocument/2006/relationships/notesSlide" Target="../notesSlides/notesSlide2.xml"/><Relationship Id="rId7" Type="http://schemas.microsoft.com/office/2007/relationships/hdphoto" Target="../media/hdphoto2.wdp"/><Relationship Id="rId12" Type="http://schemas.openxmlformats.org/officeDocument/2006/relationships/image" Target="../media/image36.png"/><Relationship Id="rId17" Type="http://schemas.openxmlformats.org/officeDocument/2006/relationships/image" Target="../media/image39.svg"/><Relationship Id="rId2" Type="http://schemas.openxmlformats.org/officeDocument/2006/relationships/slideLayout" Target="../slideLayouts/slideLayout8.xml"/><Relationship Id="rId16" Type="http://schemas.openxmlformats.org/officeDocument/2006/relationships/image" Target="../media/image38.png"/><Relationship Id="rId1" Type="http://schemas.openxmlformats.org/officeDocument/2006/relationships/tags" Target="../tags/tag9.xml"/><Relationship Id="rId6" Type="http://schemas.openxmlformats.org/officeDocument/2006/relationships/image" Target="../media/image33.png"/><Relationship Id="rId11" Type="http://schemas.microsoft.com/office/2007/relationships/hdphoto" Target="../media/hdphoto4.wdp"/><Relationship Id="rId5" Type="http://schemas.openxmlformats.org/officeDocument/2006/relationships/image" Target="../media/image5.emf"/><Relationship Id="rId15" Type="http://schemas.microsoft.com/office/2007/relationships/hdphoto" Target="../media/hdphoto6.wdp"/><Relationship Id="rId10" Type="http://schemas.openxmlformats.org/officeDocument/2006/relationships/image" Target="../media/image35.png"/><Relationship Id="rId4" Type="http://schemas.openxmlformats.org/officeDocument/2006/relationships/oleObject" Target="../embeddings/oleObject8.bin"/><Relationship Id="rId9" Type="http://schemas.microsoft.com/office/2007/relationships/hdphoto" Target="../media/hdphoto3.wdp"/><Relationship Id="rId14"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cid:60517012-9630-4b0b-8266-2f237922a034@eurprd04.prod.outlook.com" TargetMode="External"/><Relationship Id="rId2" Type="http://schemas.openxmlformats.org/officeDocument/2006/relationships/image" Target="../media/image66.jpe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3.xml"/><Relationship Id="rId1" Type="http://schemas.openxmlformats.org/officeDocument/2006/relationships/tags" Target="../tags/tag7.xml"/><Relationship Id="rId4" Type="http://schemas.openxmlformats.org/officeDocument/2006/relationships/image" Target="../media/image5.emf"/></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oleObject" Target="../embeddings/oleObject10.bin"/><Relationship Id="rId7" Type="http://schemas.openxmlformats.org/officeDocument/2006/relationships/image" Target="../media/image68.svg"/><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image" Target="../media/image67.png"/><Relationship Id="rId11" Type="http://schemas.openxmlformats.org/officeDocument/2006/relationships/image" Target="../media/image72.svg"/><Relationship Id="rId5" Type="http://schemas.openxmlformats.org/officeDocument/2006/relationships/image" Target="../media/image1.emf"/><Relationship Id="rId10" Type="http://schemas.openxmlformats.org/officeDocument/2006/relationships/image" Target="../media/image71.png"/><Relationship Id="rId4" Type="http://schemas.openxmlformats.org/officeDocument/2006/relationships/image" Target="../media/image5.emf"/><Relationship Id="rId9" Type="http://schemas.openxmlformats.org/officeDocument/2006/relationships/image" Target="../media/image70.svg"/></Relationships>
</file>

<file path=ppt/slides/_rels/slide3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1.emf"/><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3.jpeg"/><Relationship Id="rId1" Type="http://schemas.openxmlformats.org/officeDocument/2006/relationships/slideLayout" Target="../slideLayouts/slideLayout36.xml"/><Relationship Id="rId4" Type="http://schemas.openxmlformats.org/officeDocument/2006/relationships/image" Target="../media/image74.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7.xml"/><Relationship Id="rId1" Type="http://schemas.openxmlformats.org/officeDocument/2006/relationships/tags" Target="../tags/tag11.xml"/><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Layout" Target="../diagrams/layout2.xml"/><Relationship Id="rId7" Type="http://schemas.openxmlformats.org/officeDocument/2006/relationships/image" Target="../media/image12.png"/><Relationship Id="rId2" Type="http://schemas.openxmlformats.org/officeDocument/2006/relationships/diagramData" Target="../diagrams/data2.xml"/><Relationship Id="rId1" Type="http://schemas.openxmlformats.org/officeDocument/2006/relationships/slideLayout" Target="../slideLayouts/slideLayout3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xml"/><Relationship Id="rId7" Type="http://schemas.openxmlformats.org/officeDocument/2006/relationships/image" Target="../media/image17.jpeg"/><Relationship Id="rId12" Type="http://schemas.openxmlformats.org/officeDocument/2006/relationships/image" Target="../media/image21.jpeg"/><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16.jpeg"/><Relationship Id="rId11" Type="http://schemas.openxmlformats.org/officeDocument/2006/relationships/image" Target="../media/image20.jpeg"/><Relationship Id="rId5" Type="http://schemas.openxmlformats.org/officeDocument/2006/relationships/image" Target="../media/image5.emf"/><Relationship Id="rId10" Type="http://schemas.openxmlformats.org/officeDocument/2006/relationships/image" Target="../media/image19.jpeg"/><Relationship Id="rId4" Type="http://schemas.openxmlformats.org/officeDocument/2006/relationships/oleObject" Target="../embeddings/oleObject8.bin"/><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52" y="-9905"/>
            <a:ext cx="12192000" cy="6858000"/>
          </a:xfrm>
          <a:prstGeom prst="rect">
            <a:avLst/>
          </a:prstGeom>
        </p:spPr>
      </p:pic>
      <p:sp>
        <p:nvSpPr>
          <p:cNvPr id="3" name="TextBox 2">
            <a:extLst>
              <a:ext uri="{FF2B5EF4-FFF2-40B4-BE49-F238E27FC236}">
                <a16:creationId xmlns:a16="http://schemas.microsoft.com/office/drawing/2014/main" id="{5C058DC9-CE52-9E11-D9A3-EE3D86507159}"/>
              </a:ext>
            </a:extLst>
          </p:cNvPr>
          <p:cNvSpPr txBox="1"/>
          <p:nvPr/>
        </p:nvSpPr>
        <p:spPr>
          <a:xfrm>
            <a:off x="2783632" y="2432320"/>
            <a:ext cx="7704856" cy="2277547"/>
          </a:xfrm>
          <a:prstGeom prst="rect">
            <a:avLst/>
          </a:prstGeom>
          <a:noFill/>
        </p:spPr>
        <p:txBody>
          <a:bodyPr wrap="square">
            <a:spAutoFit/>
          </a:bodyPr>
          <a:lstStyle/>
          <a:p>
            <a:r>
              <a:rPr lang="en-GB" sz="3200" b="1" dirty="0"/>
              <a:t>Achieving robust sand textures in powder coatings formulations with PTFE-free additives</a:t>
            </a:r>
          </a:p>
          <a:p>
            <a:pPr lvl="1"/>
            <a:endParaRPr lang="en-GB" dirty="0"/>
          </a:p>
          <a:p>
            <a:pPr lvl="1"/>
            <a:endParaRPr lang="en-GB" dirty="0"/>
          </a:p>
          <a:p>
            <a:pPr lvl="1"/>
            <a:r>
              <a:rPr lang="en-GB" sz="1400" b="0" dirty="0"/>
              <a:t>September 2025, Derick A Forcha, End-Use Specialist</a:t>
            </a:r>
            <a:r>
              <a:rPr lang="en-GB" sz="1400" dirty="0"/>
              <a:t> – BYK USA Inc.</a:t>
            </a:r>
            <a:endParaRPr lang="en-GB" sz="1400" b="0" dirty="0"/>
          </a:p>
        </p:txBody>
      </p:sp>
    </p:spTree>
    <p:extLst>
      <p:ext uri="{BB962C8B-B14F-4D97-AF65-F5344CB8AC3E}">
        <p14:creationId xmlns:p14="http://schemas.microsoft.com/office/powerpoint/2010/main" val="34603183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A2E43D-B80D-34DF-70A6-62060F6D0106}"/>
              </a:ext>
            </a:extLst>
          </p:cNvPr>
          <p:cNvSpPr>
            <a:spLocks noGrp="1"/>
          </p:cNvSpPr>
          <p:nvPr>
            <p:ph type="title"/>
          </p:nvPr>
        </p:nvSpPr>
        <p:spPr>
          <a:xfrm>
            <a:off x="407987" y="188913"/>
            <a:ext cx="11376026" cy="1008062"/>
          </a:xfrm>
        </p:spPr>
        <p:txBody>
          <a:bodyPr wrap="square" anchor="t">
            <a:normAutofit/>
          </a:bodyPr>
          <a:lstStyle/>
          <a:p>
            <a:r>
              <a:rPr lang="en-US" dirty="0"/>
              <a:t>Experience of other PTFE-free solutions in the market</a:t>
            </a:r>
            <a:br>
              <a:rPr lang="en-US" dirty="0"/>
            </a:br>
            <a:r>
              <a:rPr lang="en-US" dirty="0"/>
              <a:t>Who will be the 1</a:t>
            </a:r>
            <a:r>
              <a:rPr lang="en-US" baseline="30000" dirty="0"/>
              <a:t>st</a:t>
            </a:r>
            <a:r>
              <a:rPr lang="en-US" dirty="0"/>
              <a:t> to offer a good match?</a:t>
            </a:r>
          </a:p>
        </p:txBody>
      </p:sp>
      <p:pic>
        <p:nvPicPr>
          <p:cNvPr id="8" name="Inhaltsplatzhalter 7" descr="Läufer an einer Startlinie">
            <a:extLst>
              <a:ext uri="{FF2B5EF4-FFF2-40B4-BE49-F238E27FC236}">
                <a16:creationId xmlns:a16="http://schemas.microsoft.com/office/drawing/2014/main" id="{15C41D98-965F-5D09-4BB0-5029EFC61DFF}"/>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rcRect t="27478" b="9128"/>
          <a:stretch>
            <a:fillRect/>
          </a:stretch>
        </p:blipFill>
        <p:spPr>
          <a:xfrm>
            <a:off x="407988" y="1206501"/>
            <a:ext cx="11376026" cy="5102224"/>
          </a:xfrm>
          <a:prstGeom prst="rect">
            <a:avLst/>
          </a:prstGeom>
          <a:noFill/>
          <a:ln>
            <a:noFill/>
          </a:ln>
          <a:effectLst>
            <a:softEdge rad="112500"/>
          </a:effectLst>
        </p:spPr>
      </p:pic>
      <p:sp>
        <p:nvSpPr>
          <p:cNvPr id="4" name="Datumsplatzhalter 3">
            <a:extLst>
              <a:ext uri="{FF2B5EF4-FFF2-40B4-BE49-F238E27FC236}">
                <a16:creationId xmlns:a16="http://schemas.microsoft.com/office/drawing/2014/main" id="{BB969FCA-F123-EC4F-FD72-16DF18D86768}"/>
              </a:ext>
            </a:extLst>
          </p:cNvPr>
          <p:cNvSpPr>
            <a:spLocks noGrp="1"/>
          </p:cNvSpPr>
          <p:nvPr>
            <p:ph type="dt" sz="half" idx="10"/>
          </p:nvPr>
        </p:nvSpPr>
        <p:spPr>
          <a:xfrm>
            <a:off x="1127448" y="6513439"/>
            <a:ext cx="792088" cy="144000"/>
          </a:xfrm>
        </p:spPr>
        <p:txBody>
          <a:bodyPr wrap="square" anchor="t">
            <a:normAutofit/>
          </a:bodyPr>
          <a:lstStyle/>
          <a:p>
            <a:r>
              <a:rPr lang="en-US"/>
              <a:t>September 2025</a:t>
            </a:r>
            <a:endParaRPr lang="en-US" dirty="0"/>
          </a:p>
        </p:txBody>
      </p:sp>
      <p:sp>
        <p:nvSpPr>
          <p:cNvPr id="5" name="Fußzeilenplatzhalter 4">
            <a:extLst>
              <a:ext uri="{FF2B5EF4-FFF2-40B4-BE49-F238E27FC236}">
                <a16:creationId xmlns:a16="http://schemas.microsoft.com/office/drawing/2014/main" id="{1DC4DB04-97B8-C2EC-C696-24079122F820}"/>
              </a:ext>
            </a:extLst>
          </p:cNvPr>
          <p:cNvSpPr>
            <a:spLocks noGrp="1"/>
          </p:cNvSpPr>
          <p:nvPr>
            <p:ph type="ftr" sz="quarter" idx="11"/>
          </p:nvPr>
        </p:nvSpPr>
        <p:spPr>
          <a:xfrm>
            <a:off x="1992796" y="6513440"/>
            <a:ext cx="8207660" cy="144000"/>
          </a:xfrm>
        </p:spPr>
        <p:txBody>
          <a:bodyPr wrap="square" anchor="t">
            <a:normAutofit/>
          </a:bodyPr>
          <a:lstStyle/>
          <a:p>
            <a:r>
              <a:rPr lang="en-US"/>
              <a:t>Achieving robust textures with PTFE-free additives</a:t>
            </a:r>
            <a:endParaRPr lang="en-US" dirty="0"/>
          </a:p>
        </p:txBody>
      </p:sp>
      <p:sp>
        <p:nvSpPr>
          <p:cNvPr id="6" name="Foliennummernplatzhalter 5">
            <a:extLst>
              <a:ext uri="{FF2B5EF4-FFF2-40B4-BE49-F238E27FC236}">
                <a16:creationId xmlns:a16="http://schemas.microsoft.com/office/drawing/2014/main" id="{C0CD239D-D56E-57ED-3342-CC20DA263FBB}"/>
              </a:ext>
            </a:extLst>
          </p:cNvPr>
          <p:cNvSpPr>
            <a:spLocks noGrp="1"/>
          </p:cNvSpPr>
          <p:nvPr>
            <p:ph type="sldNum" sz="quarter" idx="12"/>
          </p:nvPr>
        </p:nvSpPr>
        <p:spPr>
          <a:xfrm>
            <a:off x="407368" y="6513439"/>
            <a:ext cx="620466" cy="144000"/>
          </a:xfrm>
        </p:spPr>
        <p:txBody>
          <a:bodyPr wrap="square" anchor="t">
            <a:normAutofit/>
          </a:bodyPr>
          <a:lstStyle/>
          <a:p>
            <a:pPr>
              <a:spcAft>
                <a:spcPts val="600"/>
              </a:spcAft>
            </a:pPr>
            <a:r>
              <a:rPr lang="en-US"/>
              <a:t>Page </a:t>
            </a:r>
            <a:fld id="{F833201C-4142-4F26-B8B7-249C87787C9A}" type="slidenum">
              <a:rPr lang="en-US" smtClean="0"/>
              <a:pPr>
                <a:spcAft>
                  <a:spcPts val="600"/>
                </a:spcAft>
              </a:pPr>
              <a:t>10</a:t>
            </a:fld>
            <a:endParaRPr lang="en-US"/>
          </a:p>
        </p:txBody>
      </p:sp>
    </p:spTree>
    <p:extLst>
      <p:ext uri="{BB962C8B-B14F-4D97-AF65-F5344CB8AC3E}">
        <p14:creationId xmlns:p14="http://schemas.microsoft.com/office/powerpoint/2010/main" val="33534246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F8D8B-3D41-CF2A-F7C4-F553C69A81A2}"/>
            </a:ext>
          </a:extLst>
        </p:cNvPr>
        <p:cNvGrpSpPr/>
        <p:nvPr/>
      </p:nvGrpSpPr>
      <p:grpSpPr>
        <a:xfrm>
          <a:off x="0" y="0"/>
          <a:ext cx="0" cy="0"/>
          <a:chOff x="0" y="0"/>
          <a:chExt cx="0" cy="0"/>
        </a:xfrm>
      </p:grpSpPr>
      <p:sp>
        <p:nvSpPr>
          <p:cNvPr id="7" name="Titel 6">
            <a:extLst>
              <a:ext uri="{FF2B5EF4-FFF2-40B4-BE49-F238E27FC236}">
                <a16:creationId xmlns:a16="http://schemas.microsoft.com/office/drawing/2014/main" id="{68BF16B9-50B2-C2FF-AFC4-10C0B3B46194}"/>
              </a:ext>
            </a:extLst>
          </p:cNvPr>
          <p:cNvSpPr>
            <a:spLocks noGrp="1"/>
          </p:cNvSpPr>
          <p:nvPr>
            <p:ph type="title"/>
          </p:nvPr>
        </p:nvSpPr>
        <p:spPr>
          <a:xfrm>
            <a:off x="407987" y="188913"/>
            <a:ext cx="11376026" cy="564379"/>
          </a:xfrm>
        </p:spPr>
        <p:txBody>
          <a:bodyPr/>
          <a:lstStyle/>
          <a:p>
            <a:r>
              <a:rPr lang="en-US" dirty="0"/>
              <a:t>PTFE-free Solutions in the Market  	</a:t>
            </a:r>
            <a:br>
              <a:rPr lang="en-US" dirty="0"/>
            </a:br>
            <a:endParaRPr lang="en-US" dirty="0">
              <a:solidFill>
                <a:srgbClr val="00B050"/>
              </a:solidFill>
            </a:endParaRPr>
          </a:p>
        </p:txBody>
      </p:sp>
      <p:sp>
        <p:nvSpPr>
          <p:cNvPr id="4" name="Datumsplatzhalter 3">
            <a:extLst>
              <a:ext uri="{FF2B5EF4-FFF2-40B4-BE49-F238E27FC236}">
                <a16:creationId xmlns:a16="http://schemas.microsoft.com/office/drawing/2014/main" id="{A0EC580A-D9A9-07A9-B1DD-09C028368851}"/>
              </a:ext>
            </a:extLst>
          </p:cNvPr>
          <p:cNvSpPr>
            <a:spLocks noGrp="1"/>
          </p:cNvSpPr>
          <p:nvPr>
            <p:ph type="dt" sz="half" idx="14"/>
          </p:nvPr>
        </p:nvSpPr>
        <p:spPr/>
        <p:txBody>
          <a:bodyPr/>
          <a:lstStyle/>
          <a:p>
            <a:r>
              <a:rPr lang="en-US"/>
              <a:t>September 2025</a:t>
            </a:r>
            <a:endParaRPr lang="en-US" dirty="0"/>
          </a:p>
        </p:txBody>
      </p:sp>
      <p:sp>
        <p:nvSpPr>
          <p:cNvPr id="5" name="Fußzeilenplatzhalter 4">
            <a:extLst>
              <a:ext uri="{FF2B5EF4-FFF2-40B4-BE49-F238E27FC236}">
                <a16:creationId xmlns:a16="http://schemas.microsoft.com/office/drawing/2014/main" id="{9CA5B679-1720-2201-8DC7-5CBA48F76964}"/>
              </a:ext>
            </a:extLst>
          </p:cNvPr>
          <p:cNvSpPr>
            <a:spLocks noGrp="1"/>
          </p:cNvSpPr>
          <p:nvPr>
            <p:ph type="ftr" sz="quarter" idx="15"/>
          </p:nvPr>
        </p:nvSpPr>
        <p:spPr/>
        <p:txBody>
          <a:bodyPr/>
          <a:lstStyle/>
          <a:p>
            <a:r>
              <a:rPr lang="en-US"/>
              <a:t>Achieving robust textures with PTFE-free additives</a:t>
            </a:r>
            <a:endParaRPr lang="en-US" dirty="0"/>
          </a:p>
        </p:txBody>
      </p:sp>
      <p:sp>
        <p:nvSpPr>
          <p:cNvPr id="6" name="Foliennummernplatzhalter 5">
            <a:extLst>
              <a:ext uri="{FF2B5EF4-FFF2-40B4-BE49-F238E27FC236}">
                <a16:creationId xmlns:a16="http://schemas.microsoft.com/office/drawing/2014/main" id="{E38071E5-71BE-A54B-9BAB-1271D0088DC7}"/>
              </a:ext>
            </a:extLst>
          </p:cNvPr>
          <p:cNvSpPr>
            <a:spLocks noGrp="1"/>
          </p:cNvSpPr>
          <p:nvPr>
            <p:ph type="sldNum" sz="quarter" idx="16"/>
          </p:nvPr>
        </p:nvSpPr>
        <p:spPr/>
        <p:txBody>
          <a:bodyPr/>
          <a:lstStyle/>
          <a:p>
            <a:r>
              <a:rPr lang="en-US"/>
              <a:t>Page </a:t>
            </a:r>
            <a:fld id="{F833201C-4142-4F26-B8B7-249C87787C9A}" type="slidenum">
              <a:rPr lang="en-US" smtClean="0"/>
              <a:pPr/>
              <a:t>11</a:t>
            </a:fld>
            <a:endParaRPr lang="en-US"/>
          </a:p>
        </p:txBody>
      </p:sp>
      <p:pic>
        <p:nvPicPr>
          <p:cNvPr id="11" name="Grafik 10">
            <a:extLst>
              <a:ext uri="{FF2B5EF4-FFF2-40B4-BE49-F238E27FC236}">
                <a16:creationId xmlns:a16="http://schemas.microsoft.com/office/drawing/2014/main" id="{3BCEAB50-53CC-F963-71DE-E9CDFADD0663}"/>
              </a:ext>
            </a:extLst>
          </p:cNvPr>
          <p:cNvPicPr>
            <a:picLocks noChangeAspect="1"/>
          </p:cNvPicPr>
          <p:nvPr/>
        </p:nvPicPr>
        <p:blipFill>
          <a:blip r:embed="rId2"/>
          <a:srcRect t="14235" b="11890"/>
          <a:stretch>
            <a:fillRect/>
          </a:stretch>
        </p:blipFill>
        <p:spPr>
          <a:xfrm>
            <a:off x="430796" y="620688"/>
            <a:ext cx="11137812" cy="2340260"/>
          </a:xfrm>
          <a:prstGeom prst="rect">
            <a:avLst/>
          </a:prstGeom>
        </p:spPr>
      </p:pic>
      <p:pic>
        <p:nvPicPr>
          <p:cNvPr id="14" name="Grafik 13">
            <a:extLst>
              <a:ext uri="{FF2B5EF4-FFF2-40B4-BE49-F238E27FC236}">
                <a16:creationId xmlns:a16="http://schemas.microsoft.com/office/drawing/2014/main" id="{B35E8825-2A85-50E1-D7FF-CE9EA4B262D2}"/>
              </a:ext>
            </a:extLst>
          </p:cNvPr>
          <p:cNvPicPr>
            <a:picLocks noChangeAspect="1"/>
          </p:cNvPicPr>
          <p:nvPr/>
        </p:nvPicPr>
        <p:blipFill>
          <a:blip r:embed="rId3" cstate="screen">
            <a:extLst>
              <a:ext uri="{28A0092B-C50C-407E-A947-70E740481C1C}">
                <a14:useLocalDpi xmlns:a14="http://schemas.microsoft.com/office/drawing/2010/main"/>
              </a:ext>
            </a:extLst>
          </a:blip>
          <a:srcRect t="11950" b="15366"/>
          <a:stretch>
            <a:fillRect/>
          </a:stretch>
        </p:blipFill>
        <p:spPr>
          <a:xfrm>
            <a:off x="406352" y="3290558"/>
            <a:ext cx="11195433" cy="2586714"/>
          </a:xfrm>
          <a:prstGeom prst="rect">
            <a:avLst/>
          </a:prstGeom>
        </p:spPr>
      </p:pic>
      <p:sp>
        <p:nvSpPr>
          <p:cNvPr id="2" name="TextBox 1">
            <a:extLst>
              <a:ext uri="{FF2B5EF4-FFF2-40B4-BE49-F238E27FC236}">
                <a16:creationId xmlns:a16="http://schemas.microsoft.com/office/drawing/2014/main" id="{EBF9F337-968F-630D-09D3-D8C3DC24E0E4}"/>
              </a:ext>
            </a:extLst>
          </p:cNvPr>
          <p:cNvSpPr txBox="1"/>
          <p:nvPr/>
        </p:nvSpPr>
        <p:spPr>
          <a:xfrm>
            <a:off x="263351" y="2960948"/>
            <a:ext cx="11376025" cy="307777"/>
          </a:xfrm>
          <a:prstGeom prst="rect">
            <a:avLst/>
          </a:prstGeom>
          <a:noFill/>
        </p:spPr>
        <p:txBody>
          <a:bodyPr wrap="square" rtlCol="0">
            <a:spAutoFit/>
          </a:bodyPr>
          <a:lstStyle/>
          <a:p>
            <a:pPr algn="l"/>
            <a:r>
              <a:rPr lang="en-US" sz="1400" b="1" dirty="0"/>
              <a:t>     </a:t>
            </a:r>
            <a:r>
              <a:rPr lang="en-US" sz="1300" b="1" dirty="0"/>
              <a:t>1% </a:t>
            </a:r>
            <a:r>
              <a:rPr lang="en-US" sz="1300" dirty="0"/>
              <a:t>PTFE                    </a:t>
            </a:r>
            <a:r>
              <a:rPr lang="en-US" sz="1300" b="1" dirty="0"/>
              <a:t>4% </a:t>
            </a:r>
            <a:r>
              <a:rPr lang="en-US" sz="1300" dirty="0"/>
              <a:t>ORGANOCLAY MX     </a:t>
            </a:r>
            <a:r>
              <a:rPr lang="en-US" sz="1300" b="1" dirty="0"/>
              <a:t>7% </a:t>
            </a:r>
            <a:r>
              <a:rPr lang="en-US" sz="1300" dirty="0"/>
              <a:t>COMPTITOR 1         </a:t>
            </a:r>
            <a:r>
              <a:rPr lang="en-US" sz="1300" b="1" dirty="0"/>
              <a:t>6%</a:t>
            </a:r>
            <a:r>
              <a:rPr lang="en-US" sz="1300" dirty="0"/>
              <a:t> COMPETITOR 2          </a:t>
            </a:r>
            <a:r>
              <a:rPr lang="en-US" sz="1300" b="1" dirty="0"/>
              <a:t>6%</a:t>
            </a:r>
            <a:r>
              <a:rPr lang="en-US" sz="1300" dirty="0"/>
              <a:t> COMPETITOR 3         </a:t>
            </a:r>
            <a:r>
              <a:rPr lang="en-US" sz="1300" b="1" dirty="0"/>
              <a:t>15%</a:t>
            </a:r>
            <a:r>
              <a:rPr lang="en-US" sz="1300" dirty="0"/>
              <a:t> COMPETITOR 4</a:t>
            </a:r>
          </a:p>
        </p:txBody>
      </p:sp>
    </p:spTree>
    <p:extLst>
      <p:ext uri="{BB962C8B-B14F-4D97-AF65-F5344CB8AC3E}">
        <p14:creationId xmlns:p14="http://schemas.microsoft.com/office/powerpoint/2010/main" val="2007841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outVertical)">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8F3BE-F239-8718-8304-A0CA09398F16}"/>
              </a:ext>
            </a:extLst>
          </p:cNvPr>
          <p:cNvSpPr>
            <a:spLocks noGrp="1"/>
          </p:cNvSpPr>
          <p:nvPr>
            <p:ph type="title"/>
          </p:nvPr>
        </p:nvSpPr>
        <p:spPr>
          <a:xfrm>
            <a:off x="407987" y="188913"/>
            <a:ext cx="11376026" cy="1008062"/>
          </a:xfrm>
        </p:spPr>
        <p:txBody>
          <a:bodyPr wrap="square" anchor="t">
            <a:normAutofit/>
          </a:bodyPr>
          <a:lstStyle/>
          <a:p>
            <a:r>
              <a:rPr lang="en-US" dirty="0"/>
              <a:t>Formulation Strategies for PTFE-Free Powder Coatings</a:t>
            </a:r>
            <a:br>
              <a:rPr lang="en-US" dirty="0"/>
            </a:br>
            <a:endParaRPr lang="en-US" b="0" dirty="0"/>
          </a:p>
        </p:txBody>
      </p:sp>
      <p:sp>
        <p:nvSpPr>
          <p:cNvPr id="4" name="Date Placeholder 3">
            <a:extLst>
              <a:ext uri="{FF2B5EF4-FFF2-40B4-BE49-F238E27FC236}">
                <a16:creationId xmlns:a16="http://schemas.microsoft.com/office/drawing/2014/main" id="{37E32ED0-CCF6-DC51-FB93-1F5D7F9632D7}"/>
              </a:ext>
            </a:extLst>
          </p:cNvPr>
          <p:cNvSpPr>
            <a:spLocks noGrp="1"/>
          </p:cNvSpPr>
          <p:nvPr>
            <p:ph type="dt" sz="half" idx="10"/>
          </p:nvPr>
        </p:nvSpPr>
        <p:spPr>
          <a:xfrm>
            <a:off x="1127448" y="6513439"/>
            <a:ext cx="792088" cy="144000"/>
          </a:xfrm>
        </p:spPr>
        <p:txBody>
          <a:bodyPr wrap="square" anchor="t">
            <a:normAutofit/>
          </a:bodyPr>
          <a:lstStyle/>
          <a:p>
            <a:r>
              <a:rPr lang="en-US"/>
              <a:t>September 2025</a:t>
            </a:r>
            <a:endParaRPr lang="en-US" dirty="0"/>
          </a:p>
        </p:txBody>
      </p:sp>
      <p:sp>
        <p:nvSpPr>
          <p:cNvPr id="5" name="Footer Placeholder 4">
            <a:extLst>
              <a:ext uri="{FF2B5EF4-FFF2-40B4-BE49-F238E27FC236}">
                <a16:creationId xmlns:a16="http://schemas.microsoft.com/office/drawing/2014/main" id="{FF9BC179-14C1-96BB-CC7B-AA06A8F6E953}"/>
              </a:ext>
            </a:extLst>
          </p:cNvPr>
          <p:cNvSpPr>
            <a:spLocks noGrp="1"/>
          </p:cNvSpPr>
          <p:nvPr>
            <p:ph type="ftr" sz="quarter" idx="11"/>
          </p:nvPr>
        </p:nvSpPr>
        <p:spPr>
          <a:xfrm>
            <a:off x="1992796" y="6513440"/>
            <a:ext cx="8207660" cy="144000"/>
          </a:xfrm>
        </p:spPr>
        <p:txBody>
          <a:bodyPr wrap="square" anchor="t">
            <a:normAutofit/>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82A41A0A-64DD-CADE-E282-8FB8D208062D}"/>
              </a:ext>
            </a:extLst>
          </p:cNvPr>
          <p:cNvSpPr>
            <a:spLocks noGrp="1"/>
          </p:cNvSpPr>
          <p:nvPr>
            <p:ph type="sldNum" sz="quarter" idx="12"/>
          </p:nvPr>
        </p:nvSpPr>
        <p:spPr>
          <a:xfrm>
            <a:off x="407368" y="6513439"/>
            <a:ext cx="620466" cy="144000"/>
          </a:xfrm>
        </p:spPr>
        <p:txBody>
          <a:bodyPr wrap="square" anchor="t">
            <a:normAutofit/>
          </a:bodyPr>
          <a:lstStyle/>
          <a:p>
            <a:pPr>
              <a:spcAft>
                <a:spcPts val="600"/>
              </a:spcAft>
            </a:pPr>
            <a:r>
              <a:rPr lang="de-DE"/>
              <a:t>Page </a:t>
            </a:r>
            <a:fld id="{8F63C9D9-3015-4EB3-9DF0-04DE0400ED04}" type="slidenum">
              <a:rPr smtClean="0"/>
              <a:pPr>
                <a:spcAft>
                  <a:spcPts val="600"/>
                </a:spcAft>
              </a:pPr>
              <a:t>12</a:t>
            </a:fld>
            <a:endParaRPr lang="en-US"/>
          </a:p>
        </p:txBody>
      </p:sp>
      <p:graphicFrame>
        <p:nvGraphicFramePr>
          <p:cNvPr id="9" name="Rectangle 1">
            <a:extLst>
              <a:ext uri="{FF2B5EF4-FFF2-40B4-BE49-F238E27FC236}">
                <a16:creationId xmlns:a16="http://schemas.microsoft.com/office/drawing/2014/main" id="{1D743ABA-08D0-B361-C68B-3565FB7B1B4C}"/>
              </a:ext>
            </a:extLst>
          </p:cNvPr>
          <p:cNvGraphicFramePr>
            <a:graphicFrameLocks noGrp="1"/>
          </p:cNvGraphicFramePr>
          <p:nvPr>
            <p:ph idx="1"/>
            <p:extLst>
              <p:ext uri="{D42A27DB-BD31-4B8C-83A1-F6EECF244321}">
                <p14:modId xmlns:p14="http://schemas.microsoft.com/office/powerpoint/2010/main" val="4266345713"/>
              </p:ext>
            </p:extLst>
          </p:nvPr>
        </p:nvGraphicFramePr>
        <p:xfrm>
          <a:off x="407368" y="1201738"/>
          <a:ext cx="11376646" cy="51069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10296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5AE35-115C-4FFF-7709-3020C3AA672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8593174-7D6E-9BD6-32F9-CEAE48BCF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think-cell data - do not delete" hidden="1">
                        <a:extLst>
                          <a:ext uri="{FF2B5EF4-FFF2-40B4-BE49-F238E27FC236}">
                            <a16:creationId xmlns:a16="http://schemas.microsoft.com/office/drawing/2014/main" id="{28593174-7D6E-9BD6-32F9-CEAE48BCF8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346" name="Rectangle 2">
            <a:extLst>
              <a:ext uri="{FF2B5EF4-FFF2-40B4-BE49-F238E27FC236}">
                <a16:creationId xmlns:a16="http://schemas.microsoft.com/office/drawing/2014/main" id="{2610AD50-BEE2-DB39-1D58-BC4C5A136FE2}"/>
              </a:ext>
            </a:extLst>
          </p:cNvPr>
          <p:cNvSpPr>
            <a:spLocks noGrp="1" noChangeArrowheads="1"/>
          </p:cNvSpPr>
          <p:nvPr>
            <p:ph type="title"/>
          </p:nvPr>
        </p:nvSpPr>
        <p:spPr>
          <a:xfrm>
            <a:off x="407987" y="188913"/>
            <a:ext cx="11376026" cy="575565"/>
          </a:xfrm>
        </p:spPr>
        <p:txBody>
          <a:bodyPr vert="horz"/>
          <a:lstStyle/>
          <a:p>
            <a:r>
              <a:rPr lang="en-US" dirty="0"/>
              <a:t>PTFE-Free Replacement in PE-Epoxy Hybrid</a:t>
            </a:r>
            <a:br>
              <a:rPr lang="en-US" dirty="0"/>
            </a:br>
            <a:endParaRPr lang="en-US" b="0" kern="0" dirty="0"/>
          </a:p>
        </p:txBody>
      </p:sp>
      <p:sp>
        <p:nvSpPr>
          <p:cNvPr id="5" name="Datumsplatzhalter 4">
            <a:extLst>
              <a:ext uri="{FF2B5EF4-FFF2-40B4-BE49-F238E27FC236}">
                <a16:creationId xmlns:a16="http://schemas.microsoft.com/office/drawing/2014/main" id="{1A4122EA-50F3-1257-24C4-D3105DDCE7C9}"/>
              </a:ext>
            </a:extLst>
          </p:cNvPr>
          <p:cNvSpPr>
            <a:spLocks noGrp="1"/>
          </p:cNvSpPr>
          <p:nvPr>
            <p:ph type="dt" sz="half" idx="10"/>
          </p:nvPr>
        </p:nvSpPr>
        <p:spPr>
          <a:xfrm>
            <a:off x="1127448" y="6523883"/>
            <a:ext cx="792088" cy="123111"/>
          </a:xfrm>
        </p:spPr>
        <p:txBody>
          <a:bodyPr/>
          <a:lstStyle/>
          <a:p>
            <a:r>
              <a:rPr lang="en-US"/>
              <a:t>September 2025</a:t>
            </a:r>
            <a:endParaRPr lang="en-US" dirty="0"/>
          </a:p>
        </p:txBody>
      </p:sp>
      <p:sp>
        <p:nvSpPr>
          <p:cNvPr id="6" name="Fußzeilenplatzhalter 5">
            <a:extLst>
              <a:ext uri="{FF2B5EF4-FFF2-40B4-BE49-F238E27FC236}">
                <a16:creationId xmlns:a16="http://schemas.microsoft.com/office/drawing/2014/main" id="{01877A86-0994-8E87-BE34-043B18521458}"/>
              </a:ext>
            </a:extLst>
          </p:cNvPr>
          <p:cNvSpPr>
            <a:spLocks noGrp="1"/>
          </p:cNvSpPr>
          <p:nvPr>
            <p:ph type="ftr" sz="quarter" idx="11"/>
          </p:nvPr>
        </p:nvSpPr>
        <p:spPr>
          <a:xfrm>
            <a:off x="1992796" y="6523884"/>
            <a:ext cx="8207660" cy="123111"/>
          </a:xfrm>
        </p:spPr>
        <p:txBody>
          <a:bodyPr/>
          <a:lstStyle/>
          <a:p>
            <a:r>
              <a:rPr lang="en-US"/>
              <a:t>Achieving robust textures with PTFE-free additives</a:t>
            </a:r>
            <a:endParaRPr lang="en-US" dirty="0"/>
          </a:p>
        </p:txBody>
      </p:sp>
      <p:sp>
        <p:nvSpPr>
          <p:cNvPr id="7" name="Foliennummernplatzhalter 6">
            <a:extLst>
              <a:ext uri="{FF2B5EF4-FFF2-40B4-BE49-F238E27FC236}">
                <a16:creationId xmlns:a16="http://schemas.microsoft.com/office/drawing/2014/main" id="{4671A3DD-84CB-6A31-F4C0-D8ED257B2792}"/>
              </a:ext>
            </a:extLst>
          </p:cNvPr>
          <p:cNvSpPr>
            <a:spLocks noGrp="1"/>
          </p:cNvSpPr>
          <p:nvPr>
            <p:ph type="sldNum" sz="quarter" idx="12"/>
          </p:nvPr>
        </p:nvSpPr>
        <p:spPr>
          <a:xfrm>
            <a:off x="407986" y="6523884"/>
            <a:ext cx="646202" cy="123111"/>
          </a:xfrm>
        </p:spPr>
        <p:txBody>
          <a:bodyPr/>
          <a:lstStyle/>
          <a:p>
            <a:r>
              <a:rPr lang="en-US"/>
              <a:t>Page </a:t>
            </a:r>
            <a:fld id="{F833201C-4142-4F26-B8B7-249C87787C9A}" type="slidenum">
              <a:rPr lang="en-US" smtClean="0"/>
              <a:pPr/>
              <a:t>13</a:t>
            </a:fld>
            <a:endParaRPr lang="en-US"/>
          </a:p>
        </p:txBody>
      </p:sp>
      <p:sp>
        <p:nvSpPr>
          <p:cNvPr id="10" name="Freihandform: Form 9">
            <a:extLst>
              <a:ext uri="{FF2B5EF4-FFF2-40B4-BE49-F238E27FC236}">
                <a16:creationId xmlns:a16="http://schemas.microsoft.com/office/drawing/2014/main" id="{F3500603-3FC3-9BAC-7E54-269FBA8932CB}"/>
              </a:ext>
            </a:extLst>
          </p:cNvPr>
          <p:cNvSpPr>
            <a:spLocks noChangeAspect="1"/>
          </p:cNvSpPr>
          <p:nvPr/>
        </p:nvSpPr>
        <p:spPr>
          <a:xfrm rot="12456207">
            <a:off x="8741032" y="376746"/>
            <a:ext cx="3164127" cy="6260550"/>
          </a:xfrm>
          <a:custGeom>
            <a:avLst/>
            <a:gdLst>
              <a:gd name="connsiteX0" fmla="*/ 5002445 w 5002445"/>
              <a:gd name="connsiteY0" fmla="*/ 5372063 h 6763397"/>
              <a:gd name="connsiteX1" fmla="*/ 3249139 w 5002445"/>
              <a:gd name="connsiteY1" fmla="*/ 6763397 h 6763397"/>
              <a:gd name="connsiteX2" fmla="*/ 3211242 w 5002445"/>
              <a:gd name="connsiteY2" fmla="*/ 6754119 h 6763397"/>
              <a:gd name="connsiteX3" fmla="*/ 2751334 w 5002445"/>
              <a:gd name="connsiteY3" fmla="*/ 6613380 h 6763397"/>
              <a:gd name="connsiteX4" fmla="*/ 766573 w 5002445"/>
              <a:gd name="connsiteY4" fmla="*/ 5287092 h 6763397"/>
              <a:gd name="connsiteX5" fmla="*/ 1116 w 5002445"/>
              <a:gd name="connsiteY5" fmla="*/ 2577788 h 6763397"/>
              <a:gd name="connsiteX6" fmla="*/ 264361 w 5002445"/>
              <a:gd name="connsiteY6" fmla="*/ 561585 h 6763397"/>
              <a:gd name="connsiteX7" fmla="*/ 317749 w 5002445"/>
              <a:gd name="connsiteY7" fmla="*/ 334643 h 6763397"/>
              <a:gd name="connsiteX8" fmla="*/ 739454 w 5002445"/>
              <a:gd name="connsiteY8" fmla="*/ 0 h 6763397"/>
              <a:gd name="connsiteX0" fmla="*/ 5002445 w 5093885"/>
              <a:gd name="connsiteY0" fmla="*/ 5372063 h 6763397"/>
              <a:gd name="connsiteX1" fmla="*/ 3249139 w 5093885"/>
              <a:gd name="connsiteY1" fmla="*/ 6763397 h 6763397"/>
              <a:gd name="connsiteX2" fmla="*/ 3211242 w 5093885"/>
              <a:gd name="connsiteY2" fmla="*/ 6754119 h 6763397"/>
              <a:gd name="connsiteX3" fmla="*/ 2751334 w 5093885"/>
              <a:gd name="connsiteY3" fmla="*/ 6613380 h 6763397"/>
              <a:gd name="connsiteX4" fmla="*/ 766573 w 5093885"/>
              <a:gd name="connsiteY4" fmla="*/ 5287092 h 6763397"/>
              <a:gd name="connsiteX5" fmla="*/ 1116 w 5093885"/>
              <a:gd name="connsiteY5" fmla="*/ 2577788 h 6763397"/>
              <a:gd name="connsiteX6" fmla="*/ 264361 w 5093885"/>
              <a:gd name="connsiteY6" fmla="*/ 561585 h 6763397"/>
              <a:gd name="connsiteX7" fmla="*/ 317749 w 5093885"/>
              <a:gd name="connsiteY7" fmla="*/ 334643 h 6763397"/>
              <a:gd name="connsiteX8" fmla="*/ 739454 w 5093885"/>
              <a:gd name="connsiteY8" fmla="*/ 0 h 6763397"/>
              <a:gd name="connsiteX9" fmla="*/ 5093885 w 5093885"/>
              <a:gd name="connsiteY9" fmla="*/ 5463503 h 6763397"/>
              <a:gd name="connsiteX0" fmla="*/ 5002445 w 5002445"/>
              <a:gd name="connsiteY0" fmla="*/ 5372063 h 6763397"/>
              <a:gd name="connsiteX1" fmla="*/ 3249139 w 5002445"/>
              <a:gd name="connsiteY1" fmla="*/ 6763397 h 6763397"/>
              <a:gd name="connsiteX2" fmla="*/ 3211242 w 5002445"/>
              <a:gd name="connsiteY2" fmla="*/ 6754119 h 6763397"/>
              <a:gd name="connsiteX3" fmla="*/ 2751334 w 5002445"/>
              <a:gd name="connsiteY3" fmla="*/ 6613380 h 6763397"/>
              <a:gd name="connsiteX4" fmla="*/ 766573 w 5002445"/>
              <a:gd name="connsiteY4" fmla="*/ 5287092 h 6763397"/>
              <a:gd name="connsiteX5" fmla="*/ 1116 w 5002445"/>
              <a:gd name="connsiteY5" fmla="*/ 2577788 h 6763397"/>
              <a:gd name="connsiteX6" fmla="*/ 264361 w 5002445"/>
              <a:gd name="connsiteY6" fmla="*/ 561585 h 6763397"/>
              <a:gd name="connsiteX7" fmla="*/ 317749 w 5002445"/>
              <a:gd name="connsiteY7" fmla="*/ 334643 h 6763397"/>
              <a:gd name="connsiteX8" fmla="*/ 739454 w 5002445"/>
              <a:gd name="connsiteY8" fmla="*/ 0 h 6763397"/>
              <a:gd name="connsiteX0" fmla="*/ 3249139 w 3249139"/>
              <a:gd name="connsiteY0" fmla="*/ 6763397 h 6763397"/>
              <a:gd name="connsiteX1" fmla="*/ 3211242 w 3249139"/>
              <a:gd name="connsiteY1" fmla="*/ 6754119 h 6763397"/>
              <a:gd name="connsiteX2" fmla="*/ 2751334 w 3249139"/>
              <a:gd name="connsiteY2" fmla="*/ 6613380 h 6763397"/>
              <a:gd name="connsiteX3" fmla="*/ 766573 w 3249139"/>
              <a:gd name="connsiteY3" fmla="*/ 5287092 h 6763397"/>
              <a:gd name="connsiteX4" fmla="*/ 1116 w 3249139"/>
              <a:gd name="connsiteY4" fmla="*/ 2577788 h 6763397"/>
              <a:gd name="connsiteX5" fmla="*/ 264361 w 3249139"/>
              <a:gd name="connsiteY5" fmla="*/ 561585 h 6763397"/>
              <a:gd name="connsiteX6" fmla="*/ 317749 w 3249139"/>
              <a:gd name="connsiteY6" fmla="*/ 334643 h 6763397"/>
              <a:gd name="connsiteX7" fmla="*/ 739454 w 3249139"/>
              <a:gd name="connsiteY7" fmla="*/ 0 h 6763397"/>
              <a:gd name="connsiteX0" fmla="*/ 3249139 w 3249139"/>
              <a:gd name="connsiteY0" fmla="*/ 6428754 h 6428754"/>
              <a:gd name="connsiteX1" fmla="*/ 3211242 w 3249139"/>
              <a:gd name="connsiteY1" fmla="*/ 6419476 h 6428754"/>
              <a:gd name="connsiteX2" fmla="*/ 2751334 w 3249139"/>
              <a:gd name="connsiteY2" fmla="*/ 6278737 h 6428754"/>
              <a:gd name="connsiteX3" fmla="*/ 766573 w 3249139"/>
              <a:gd name="connsiteY3" fmla="*/ 4952449 h 6428754"/>
              <a:gd name="connsiteX4" fmla="*/ 1116 w 3249139"/>
              <a:gd name="connsiteY4" fmla="*/ 2243145 h 6428754"/>
              <a:gd name="connsiteX5" fmla="*/ 264361 w 3249139"/>
              <a:gd name="connsiteY5" fmla="*/ 226942 h 6428754"/>
              <a:gd name="connsiteX6" fmla="*/ 317749 w 3249139"/>
              <a:gd name="connsiteY6" fmla="*/ 0 h 642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9139" h="6428754">
                <a:moveTo>
                  <a:pt x="3249139" y="6428754"/>
                </a:moveTo>
                <a:lnTo>
                  <a:pt x="3211242" y="6419476"/>
                </a:lnTo>
                <a:cubicBezTo>
                  <a:pt x="3040693" y="6375327"/>
                  <a:pt x="2886551" y="6328062"/>
                  <a:pt x="2751334" y="6278737"/>
                </a:cubicBezTo>
                <a:cubicBezTo>
                  <a:pt x="2030179" y="6015670"/>
                  <a:pt x="1250044" y="5566480"/>
                  <a:pt x="766573" y="4952449"/>
                </a:cubicBezTo>
                <a:cubicBezTo>
                  <a:pt x="283103" y="4338418"/>
                  <a:pt x="-20847" y="3380348"/>
                  <a:pt x="1116" y="2243145"/>
                </a:cubicBezTo>
                <a:cubicBezTo>
                  <a:pt x="12097" y="1674544"/>
                  <a:pt x="107334" y="957535"/>
                  <a:pt x="264361" y="226942"/>
                </a:cubicBezTo>
                <a:lnTo>
                  <a:pt x="317749" y="0"/>
                </a:ln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a:p>
        </p:txBody>
      </p:sp>
      <p:sp>
        <p:nvSpPr>
          <p:cNvPr id="11" name="Freihandform: Form 10">
            <a:extLst>
              <a:ext uri="{FF2B5EF4-FFF2-40B4-BE49-F238E27FC236}">
                <a16:creationId xmlns:a16="http://schemas.microsoft.com/office/drawing/2014/main" id="{C2BFD69C-5C89-48B2-06AF-C6E3EE589787}"/>
              </a:ext>
            </a:extLst>
          </p:cNvPr>
          <p:cNvSpPr>
            <a:spLocks noChangeAspect="1"/>
          </p:cNvSpPr>
          <p:nvPr/>
        </p:nvSpPr>
        <p:spPr>
          <a:xfrm rot="17207410">
            <a:off x="7264747" y="2725192"/>
            <a:ext cx="6752009" cy="1425589"/>
          </a:xfrm>
          <a:custGeom>
            <a:avLst/>
            <a:gdLst>
              <a:gd name="connsiteX0" fmla="*/ 6565637 w 7187062"/>
              <a:gd name="connsiteY0" fmla="*/ 0 h 3485125"/>
              <a:gd name="connsiteX1" fmla="*/ 7187062 w 7187062"/>
              <a:gd name="connsiteY1" fmla="*/ 2059536 h 3485125"/>
              <a:gd name="connsiteX2" fmla="*/ 7184213 w 7187062"/>
              <a:gd name="connsiteY2" fmla="*/ 2061489 h 3485125"/>
              <a:gd name="connsiteX3" fmla="*/ 5630930 w 7187062"/>
              <a:gd name="connsiteY3" fmla="*/ 2808636 h 3485125"/>
              <a:gd name="connsiteX4" fmla="*/ 1885690 w 7187062"/>
              <a:gd name="connsiteY4" fmla="*/ 3484378 h 3485125"/>
              <a:gd name="connsiteX5" fmla="*/ 600668 w 7187062"/>
              <a:gd name="connsiteY5" fmla="*/ 3438254 h 3485125"/>
              <a:gd name="connsiteX6" fmla="*/ 435053 w 7187062"/>
              <a:gd name="connsiteY6" fmla="*/ 3422914 h 3485125"/>
              <a:gd name="connsiteX7" fmla="*/ 0 w 7187062"/>
              <a:gd name="connsiteY7" fmla="*/ 1981053 h 3485125"/>
              <a:gd name="connsiteX0" fmla="*/ 6565637 w 7187062"/>
              <a:gd name="connsiteY0" fmla="*/ 0 h 3485125"/>
              <a:gd name="connsiteX1" fmla="*/ 7187062 w 7187062"/>
              <a:gd name="connsiteY1" fmla="*/ 2059536 h 3485125"/>
              <a:gd name="connsiteX2" fmla="*/ 7184213 w 7187062"/>
              <a:gd name="connsiteY2" fmla="*/ 2061489 h 3485125"/>
              <a:gd name="connsiteX3" fmla="*/ 5630930 w 7187062"/>
              <a:gd name="connsiteY3" fmla="*/ 2808636 h 3485125"/>
              <a:gd name="connsiteX4" fmla="*/ 1885690 w 7187062"/>
              <a:gd name="connsiteY4" fmla="*/ 3484378 h 3485125"/>
              <a:gd name="connsiteX5" fmla="*/ 600668 w 7187062"/>
              <a:gd name="connsiteY5" fmla="*/ 3438254 h 3485125"/>
              <a:gd name="connsiteX6" fmla="*/ 435053 w 7187062"/>
              <a:gd name="connsiteY6" fmla="*/ 3422914 h 3485125"/>
              <a:gd name="connsiteX7" fmla="*/ 0 w 7187062"/>
              <a:gd name="connsiteY7" fmla="*/ 1981053 h 3485125"/>
              <a:gd name="connsiteX8" fmla="*/ 6657077 w 7187062"/>
              <a:gd name="connsiteY8" fmla="*/ 91440 h 3485125"/>
              <a:gd name="connsiteX0" fmla="*/ 6565637 w 7187062"/>
              <a:gd name="connsiteY0" fmla="*/ 0 h 3485125"/>
              <a:gd name="connsiteX1" fmla="*/ 7187062 w 7187062"/>
              <a:gd name="connsiteY1" fmla="*/ 2059536 h 3485125"/>
              <a:gd name="connsiteX2" fmla="*/ 7184213 w 7187062"/>
              <a:gd name="connsiteY2" fmla="*/ 2061489 h 3485125"/>
              <a:gd name="connsiteX3" fmla="*/ 5630930 w 7187062"/>
              <a:gd name="connsiteY3" fmla="*/ 2808636 h 3485125"/>
              <a:gd name="connsiteX4" fmla="*/ 1885690 w 7187062"/>
              <a:gd name="connsiteY4" fmla="*/ 3484378 h 3485125"/>
              <a:gd name="connsiteX5" fmla="*/ 600668 w 7187062"/>
              <a:gd name="connsiteY5" fmla="*/ 3438254 h 3485125"/>
              <a:gd name="connsiteX6" fmla="*/ 435053 w 7187062"/>
              <a:gd name="connsiteY6" fmla="*/ 3422914 h 3485125"/>
              <a:gd name="connsiteX7" fmla="*/ 0 w 7187062"/>
              <a:gd name="connsiteY7" fmla="*/ 1981053 h 3485125"/>
              <a:gd name="connsiteX0" fmla="*/ 7187062 w 7187062"/>
              <a:gd name="connsiteY0" fmla="*/ 78483 h 1504072"/>
              <a:gd name="connsiteX1" fmla="*/ 7184213 w 7187062"/>
              <a:gd name="connsiteY1" fmla="*/ 80436 h 1504072"/>
              <a:gd name="connsiteX2" fmla="*/ 5630930 w 7187062"/>
              <a:gd name="connsiteY2" fmla="*/ 827583 h 1504072"/>
              <a:gd name="connsiteX3" fmla="*/ 1885690 w 7187062"/>
              <a:gd name="connsiteY3" fmla="*/ 1503325 h 1504072"/>
              <a:gd name="connsiteX4" fmla="*/ 600668 w 7187062"/>
              <a:gd name="connsiteY4" fmla="*/ 1457201 h 1504072"/>
              <a:gd name="connsiteX5" fmla="*/ 435053 w 7187062"/>
              <a:gd name="connsiteY5" fmla="*/ 1441861 h 1504072"/>
              <a:gd name="connsiteX6" fmla="*/ 0 w 7187062"/>
              <a:gd name="connsiteY6" fmla="*/ 0 h 1504072"/>
              <a:gd name="connsiteX0" fmla="*/ 6752009 w 6752009"/>
              <a:gd name="connsiteY0" fmla="*/ 0 h 1425589"/>
              <a:gd name="connsiteX1" fmla="*/ 6749160 w 6752009"/>
              <a:gd name="connsiteY1" fmla="*/ 1953 h 1425589"/>
              <a:gd name="connsiteX2" fmla="*/ 5195877 w 6752009"/>
              <a:gd name="connsiteY2" fmla="*/ 749100 h 1425589"/>
              <a:gd name="connsiteX3" fmla="*/ 1450637 w 6752009"/>
              <a:gd name="connsiteY3" fmla="*/ 1424842 h 1425589"/>
              <a:gd name="connsiteX4" fmla="*/ 165615 w 6752009"/>
              <a:gd name="connsiteY4" fmla="*/ 1378718 h 1425589"/>
              <a:gd name="connsiteX5" fmla="*/ 0 w 6752009"/>
              <a:gd name="connsiteY5" fmla="*/ 1363378 h 142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2009" h="1425589">
                <a:moveTo>
                  <a:pt x="6752009" y="0"/>
                </a:moveTo>
                <a:lnTo>
                  <a:pt x="6749160" y="1953"/>
                </a:lnTo>
                <a:cubicBezTo>
                  <a:pt x="6332169" y="272246"/>
                  <a:pt x="5831038" y="520979"/>
                  <a:pt x="5195877" y="749100"/>
                </a:cubicBezTo>
                <a:cubicBezTo>
                  <a:pt x="4179620" y="1114095"/>
                  <a:pt x="2883339" y="1410034"/>
                  <a:pt x="1450637" y="1424842"/>
                </a:cubicBezTo>
                <a:cubicBezTo>
                  <a:pt x="1002918" y="1429469"/>
                  <a:pt x="570644" y="1412442"/>
                  <a:pt x="165615" y="1378718"/>
                </a:cubicBezTo>
                <a:lnTo>
                  <a:pt x="0" y="1363378"/>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a:p>
        </p:txBody>
      </p:sp>
      <p:sp>
        <p:nvSpPr>
          <p:cNvPr id="3" name="Textfeld 2">
            <a:extLst>
              <a:ext uri="{FF2B5EF4-FFF2-40B4-BE49-F238E27FC236}">
                <a16:creationId xmlns:a16="http://schemas.microsoft.com/office/drawing/2014/main" id="{F606CA73-C227-4C6B-7D77-C68744777DD2}"/>
              </a:ext>
            </a:extLst>
          </p:cNvPr>
          <p:cNvSpPr txBox="1"/>
          <p:nvPr/>
        </p:nvSpPr>
        <p:spPr>
          <a:xfrm>
            <a:off x="341860" y="1021001"/>
            <a:ext cx="9314089" cy="5111999"/>
          </a:xfrm>
          <a:prstGeom prst="rect">
            <a:avLst/>
          </a:prstGeom>
          <a:noFill/>
          <a:effectLst/>
        </p:spPr>
        <p:txBody>
          <a:bodyPr wrap="square" lIns="91440" tIns="45720" rIns="91440" bIns="45720" rtlCol="0" anchor="t">
            <a:noAutofit/>
          </a:bodyPr>
          <a:lstStyle/>
          <a:p>
            <a:pPr algn="l"/>
            <a:r>
              <a:rPr lang="en-US" sz="1800" b="1" dirty="0">
                <a:solidFill>
                  <a:srgbClr val="004DA0"/>
                </a:solidFill>
                <a:latin typeface="Arial"/>
                <a:cs typeface="Arial"/>
              </a:rPr>
              <a:t> </a:t>
            </a:r>
            <a:endParaRPr lang="en-US" dirty="0">
              <a:latin typeface="Arial"/>
              <a:cs typeface="Arial"/>
            </a:endParaRPr>
          </a:p>
        </p:txBody>
      </p:sp>
      <p:pic>
        <p:nvPicPr>
          <p:cNvPr id="4" name="Bildplatzhalter 2" descr="Ein Bild, das Wolke, Nebel, Himmel, Natur enthält.&#10;&#10;Automatisch generierte Beschreibung">
            <a:extLst>
              <a:ext uri="{FF2B5EF4-FFF2-40B4-BE49-F238E27FC236}">
                <a16:creationId xmlns:a16="http://schemas.microsoft.com/office/drawing/2014/main" id="{6A7654AA-0DAA-CD3A-329C-CA5CE52AE2C8}"/>
              </a:ext>
            </a:extLst>
          </p:cNvPr>
          <p:cNvPicPr>
            <a:picLocks noChangeAspect="1"/>
          </p:cNvPicPr>
          <p:nvPr/>
        </p:nvPicPr>
        <p:blipFill>
          <a:blip r:embed="rId6" cstate="screen">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5400000">
            <a:off x="-828368" y="2667753"/>
            <a:ext cx="4297379" cy="19292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500" name="Bildplatzhalter 14" descr="Ein Bild, das Kleidung, Grau, Stoff enthält.&#10;&#10;Automatisch generierte Beschreibung">
            <a:extLst>
              <a:ext uri="{FF2B5EF4-FFF2-40B4-BE49-F238E27FC236}">
                <a16:creationId xmlns:a16="http://schemas.microsoft.com/office/drawing/2014/main" id="{9327D3C8-19CB-EEFB-095D-6D49E869EA7F}"/>
              </a:ext>
            </a:extLst>
          </p:cNvPr>
          <p:cNvPicPr>
            <a:picLocks noChangeAspect="1"/>
          </p:cNvPicPr>
          <p:nvPr/>
        </p:nvPicPr>
        <p:blipFill>
          <a:blip r:embed="rId8" cstate="screen">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1136735" y="2667746"/>
            <a:ext cx="4297379" cy="19292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503" name="Bildplatzhalter 20" descr="Ein Bild, das Kleidung, Stoff, Grau, Muster enthält.&#10;&#10;Automatisch generierte Beschreibung">
            <a:extLst>
              <a:ext uri="{FF2B5EF4-FFF2-40B4-BE49-F238E27FC236}">
                <a16:creationId xmlns:a16="http://schemas.microsoft.com/office/drawing/2014/main" id="{D3740677-FAFF-C1D2-D49F-801697F82913}"/>
              </a:ext>
            </a:extLst>
          </p:cNvPr>
          <p:cNvPicPr>
            <a:picLocks noChangeAspect="1"/>
          </p:cNvPicPr>
          <p:nvPr/>
        </p:nvPicPr>
        <p:blipFill>
          <a:blip r:embed="rId10" cstate="screen">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7018575" y="2670901"/>
            <a:ext cx="4297384" cy="1922925"/>
          </a:xfrm>
          <a:prstGeom prst="rect">
            <a:avLst/>
          </a:prstGeom>
          <a:ln>
            <a:noFill/>
          </a:ln>
          <a:effectLst>
            <a:outerShdw blurRad="292100" dist="139700" dir="2700000" algn="tl" rotWithShape="0">
              <a:srgbClr val="333333">
                <a:alpha val="65000"/>
              </a:srgbClr>
            </a:outerShdw>
          </a:effectLst>
        </p:spPr>
      </p:pic>
      <p:sp>
        <p:nvSpPr>
          <p:cNvPr id="30" name="Textfeld 29">
            <a:extLst>
              <a:ext uri="{FF2B5EF4-FFF2-40B4-BE49-F238E27FC236}">
                <a16:creationId xmlns:a16="http://schemas.microsoft.com/office/drawing/2014/main" id="{83D0B33B-2300-218F-E2E8-A8B85CC4C19F}"/>
              </a:ext>
            </a:extLst>
          </p:cNvPr>
          <p:cNvSpPr txBox="1"/>
          <p:nvPr/>
        </p:nvSpPr>
        <p:spPr>
          <a:xfrm>
            <a:off x="354285" y="938276"/>
            <a:ext cx="1929233" cy="579482"/>
          </a:xfrm>
          <a:prstGeom prst="rect">
            <a:avLst/>
          </a:prstGeom>
          <a:noFill/>
          <a:effectLst>
            <a:outerShdw blurRad="63500" dist="38100" dir="2700000">
              <a:srgbClr val="000000">
                <a:alpha val="40000"/>
              </a:srgbClr>
            </a:outerShdw>
          </a:effectLst>
        </p:spPr>
        <p:txBody>
          <a:bodyPr wrap="none" lIns="91440" tIns="45720" rIns="91440" bIns="45720" rtlCol="0" anchor="t">
            <a:noAutofit/>
          </a:bodyPr>
          <a:lstStyle/>
          <a:p>
            <a:endParaRPr lang="en-US" b="1">
              <a:latin typeface="Arial"/>
              <a:cs typeface="Arial"/>
            </a:endParaRPr>
          </a:p>
          <a:p>
            <a:r>
              <a:rPr lang="en-US" b="1"/>
              <a:t>Control</a:t>
            </a:r>
          </a:p>
          <a:p>
            <a:endParaRPr lang="en-US" b="1"/>
          </a:p>
        </p:txBody>
      </p:sp>
      <p:sp>
        <p:nvSpPr>
          <p:cNvPr id="63492" name="Textfeld 63491">
            <a:extLst>
              <a:ext uri="{FF2B5EF4-FFF2-40B4-BE49-F238E27FC236}">
                <a16:creationId xmlns:a16="http://schemas.microsoft.com/office/drawing/2014/main" id="{97B20049-FC6C-DB87-7967-797EF71D6EE3}"/>
              </a:ext>
            </a:extLst>
          </p:cNvPr>
          <p:cNvSpPr txBox="1"/>
          <p:nvPr/>
        </p:nvSpPr>
        <p:spPr>
          <a:xfrm>
            <a:off x="2324797" y="956666"/>
            <a:ext cx="1929233" cy="579482"/>
          </a:xfrm>
          <a:prstGeom prst="rect">
            <a:avLst/>
          </a:prstGeom>
          <a:noFill/>
          <a:effectLst/>
        </p:spPr>
        <p:txBody>
          <a:bodyPr wrap="none" rtlCol="0">
            <a:noAutofit/>
          </a:bodyPr>
          <a:lstStyle/>
          <a:p>
            <a:r>
              <a:rPr lang="en-US" b="1" dirty="0"/>
              <a:t>0.5 % </a:t>
            </a:r>
          </a:p>
          <a:p>
            <a:r>
              <a:rPr lang="en-US" b="1" dirty="0"/>
              <a:t>PTFE</a:t>
            </a:r>
          </a:p>
        </p:txBody>
      </p:sp>
      <p:grpSp>
        <p:nvGrpSpPr>
          <p:cNvPr id="9" name="Group 8">
            <a:extLst>
              <a:ext uri="{FF2B5EF4-FFF2-40B4-BE49-F238E27FC236}">
                <a16:creationId xmlns:a16="http://schemas.microsoft.com/office/drawing/2014/main" id="{680B6627-1AC3-B549-CCD3-405981B404D7}"/>
              </a:ext>
            </a:extLst>
          </p:cNvPr>
          <p:cNvGrpSpPr/>
          <p:nvPr/>
        </p:nvGrpSpPr>
        <p:grpSpPr>
          <a:xfrm>
            <a:off x="4285333" y="938275"/>
            <a:ext cx="1929698" cy="4842776"/>
            <a:chOff x="4360334" y="1492944"/>
            <a:chExt cx="1929698" cy="4842776"/>
          </a:xfrm>
        </p:grpSpPr>
        <p:pic>
          <p:nvPicPr>
            <p:cNvPr id="63501" name="Bildplatzhalter 20" descr="Ein Bild, das Kleidung, Stoff, Grau, Muster enthält.&#10;&#10;Automatisch generierte Beschreibung">
              <a:extLst>
                <a:ext uri="{FF2B5EF4-FFF2-40B4-BE49-F238E27FC236}">
                  <a16:creationId xmlns:a16="http://schemas.microsoft.com/office/drawing/2014/main" id="{0F52B778-1B1E-C3B2-BB72-96FD3C5D23FA}"/>
                </a:ext>
              </a:extLst>
            </p:cNvPr>
            <p:cNvPicPr>
              <a:picLocks noChangeAspect="1"/>
            </p:cNvPicPr>
            <p:nvPr/>
          </p:nvPicPr>
          <p:blipFill>
            <a:blip r:embed="rId12" cstate="screen">
              <a:extLst>
                <a:ext uri="{BEBA8EAE-BF5A-486C-A8C5-ECC9F3942E4B}">
                  <a14:imgProps xmlns:a14="http://schemas.microsoft.com/office/drawing/2010/main">
                    <a14:imgLayer r:embed="rId13">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173107" y="3225569"/>
              <a:ext cx="4297378" cy="1922923"/>
            </a:xfrm>
            <a:prstGeom prst="rect">
              <a:avLst/>
            </a:prstGeom>
            <a:ln>
              <a:noFill/>
            </a:ln>
            <a:effectLst>
              <a:outerShdw blurRad="292100" dist="139700" dir="2700000" algn="tl" rotWithShape="0">
                <a:srgbClr val="333333">
                  <a:alpha val="65000"/>
                </a:srgbClr>
              </a:outerShdw>
            </a:effectLst>
          </p:spPr>
        </p:pic>
        <p:sp>
          <p:nvSpPr>
            <p:cNvPr id="63497" name="Textfeld 63496">
              <a:extLst>
                <a:ext uri="{FF2B5EF4-FFF2-40B4-BE49-F238E27FC236}">
                  <a16:creationId xmlns:a16="http://schemas.microsoft.com/office/drawing/2014/main" id="{F2D54FBA-56E3-668F-96CA-1AC87B7383DB}"/>
                </a:ext>
              </a:extLst>
            </p:cNvPr>
            <p:cNvSpPr txBox="1"/>
            <p:nvPr/>
          </p:nvSpPr>
          <p:spPr>
            <a:xfrm>
              <a:off x="4360799" y="1492944"/>
              <a:ext cx="1929233" cy="579482"/>
            </a:xfrm>
            <a:prstGeom prst="rect">
              <a:avLst/>
            </a:prstGeom>
            <a:noFill/>
            <a:effectLst/>
          </p:spPr>
          <p:txBody>
            <a:bodyPr wrap="none" lIns="91440" tIns="45720" rIns="91440" bIns="45720" rtlCol="0" anchor="t">
              <a:noAutofit/>
            </a:bodyPr>
            <a:lstStyle/>
            <a:p>
              <a:r>
                <a:rPr lang="en-US" b="1" dirty="0">
                  <a:latin typeface="Arial"/>
                  <a:cs typeface="Arial"/>
                </a:rPr>
                <a:t>5.0 % </a:t>
              </a:r>
            </a:p>
            <a:p>
              <a:r>
                <a:rPr lang="en-US" b="1" dirty="0">
                  <a:latin typeface="Arial"/>
                  <a:cs typeface="Arial"/>
                </a:rPr>
                <a:t>ORGANOCLAY-G</a:t>
              </a:r>
            </a:p>
          </p:txBody>
        </p:sp>
      </p:grpSp>
      <p:sp>
        <p:nvSpPr>
          <p:cNvPr id="63498" name="Textfeld 63497">
            <a:extLst>
              <a:ext uri="{FF2B5EF4-FFF2-40B4-BE49-F238E27FC236}">
                <a16:creationId xmlns:a16="http://schemas.microsoft.com/office/drawing/2014/main" id="{73A68247-0D7D-593E-53BB-CA9C4B71FE27}"/>
              </a:ext>
            </a:extLst>
          </p:cNvPr>
          <p:cNvSpPr txBox="1"/>
          <p:nvPr/>
        </p:nvSpPr>
        <p:spPr>
          <a:xfrm>
            <a:off x="8198078" y="938274"/>
            <a:ext cx="1929232" cy="579482"/>
          </a:xfrm>
          <a:prstGeom prst="rect">
            <a:avLst/>
          </a:prstGeom>
          <a:noFill/>
          <a:effectLst/>
        </p:spPr>
        <p:txBody>
          <a:bodyPr wrap="none" lIns="91440" tIns="45720" rIns="91440" bIns="45720" rtlCol="0" anchor="t">
            <a:noAutofit/>
          </a:bodyPr>
          <a:lstStyle/>
          <a:p>
            <a:r>
              <a:rPr lang="en-US" b="1" dirty="0">
                <a:latin typeface="Arial"/>
                <a:cs typeface="Arial"/>
              </a:rPr>
              <a:t>4.0 % Combination</a:t>
            </a:r>
          </a:p>
          <a:p>
            <a:r>
              <a:rPr lang="en-US" b="1" dirty="0">
                <a:latin typeface="Arial"/>
                <a:cs typeface="Arial"/>
              </a:rPr>
              <a:t>1:1 TYPE-G/C</a:t>
            </a:r>
          </a:p>
        </p:txBody>
      </p:sp>
      <p:grpSp>
        <p:nvGrpSpPr>
          <p:cNvPr id="12" name="Group 11">
            <a:extLst>
              <a:ext uri="{FF2B5EF4-FFF2-40B4-BE49-F238E27FC236}">
                <a16:creationId xmlns:a16="http://schemas.microsoft.com/office/drawing/2014/main" id="{5302AB70-3CE4-ECAA-2ED6-E844F2C0ACB3}"/>
              </a:ext>
            </a:extLst>
          </p:cNvPr>
          <p:cNvGrpSpPr/>
          <p:nvPr/>
        </p:nvGrpSpPr>
        <p:grpSpPr>
          <a:xfrm>
            <a:off x="6245568" y="942017"/>
            <a:ext cx="1948932" cy="4839034"/>
            <a:chOff x="6320569" y="1496686"/>
            <a:chExt cx="1948932" cy="4839034"/>
          </a:xfrm>
        </p:grpSpPr>
        <p:pic>
          <p:nvPicPr>
            <p:cNvPr id="63502" name="Bildplatzhalter 19" descr="Ein Bild, das Kleidung, Stoff, Grau enthält.&#10;&#10;Automatisch generierte Beschreibung">
              <a:extLst>
                <a:ext uri="{FF2B5EF4-FFF2-40B4-BE49-F238E27FC236}">
                  <a16:creationId xmlns:a16="http://schemas.microsoft.com/office/drawing/2014/main" id="{A28A4BB7-CC16-35AA-CAF7-9DD4B76A7485}"/>
                </a:ext>
              </a:extLst>
            </p:cNvPr>
            <p:cNvPicPr>
              <a:picLocks noChangeAspect="1"/>
            </p:cNvPicPr>
            <p:nvPr/>
          </p:nvPicPr>
          <p:blipFill>
            <a:blip r:embed="rId14" cstate="screen">
              <a:extLst>
                <a:ext uri="{BEBA8EAE-BF5A-486C-A8C5-ECC9F3942E4B}">
                  <a14:imgProps xmlns:a14="http://schemas.microsoft.com/office/drawing/2010/main">
                    <a14:imgLayer r:embed="rId15">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5133342" y="3225569"/>
              <a:ext cx="4297378" cy="1922923"/>
            </a:xfrm>
            <a:prstGeom prst="rect">
              <a:avLst/>
            </a:prstGeom>
            <a:ln>
              <a:noFill/>
            </a:ln>
            <a:effectLst>
              <a:outerShdw blurRad="292100" dist="139700" dir="2700000" algn="tl" rotWithShape="0">
                <a:srgbClr val="333333">
                  <a:alpha val="65000"/>
                </a:srgbClr>
              </a:outerShdw>
            </a:effectLst>
          </p:spPr>
        </p:pic>
        <p:sp>
          <p:nvSpPr>
            <p:cNvPr id="63499" name="Textfeld 63498">
              <a:extLst>
                <a:ext uri="{FF2B5EF4-FFF2-40B4-BE49-F238E27FC236}">
                  <a16:creationId xmlns:a16="http://schemas.microsoft.com/office/drawing/2014/main" id="{F87CFD4D-75A0-2C20-3B6F-E6F979961D33}"/>
                </a:ext>
              </a:extLst>
            </p:cNvPr>
            <p:cNvSpPr txBox="1"/>
            <p:nvPr/>
          </p:nvSpPr>
          <p:spPr>
            <a:xfrm>
              <a:off x="6340268" y="1496686"/>
              <a:ext cx="1929233" cy="579482"/>
            </a:xfrm>
            <a:prstGeom prst="rect">
              <a:avLst/>
            </a:prstGeom>
            <a:noFill/>
            <a:effectLst/>
          </p:spPr>
          <p:txBody>
            <a:bodyPr wrap="none" lIns="91440" tIns="45720" rIns="91440" bIns="45720" rtlCol="0" anchor="t">
              <a:noAutofit/>
            </a:bodyPr>
            <a:lstStyle/>
            <a:p>
              <a:r>
                <a:rPr lang="en-US" b="1" dirty="0">
                  <a:latin typeface="Arial"/>
                  <a:cs typeface="Arial"/>
                </a:rPr>
                <a:t>4.0 % </a:t>
              </a:r>
            </a:p>
            <a:p>
              <a:r>
                <a:rPr lang="en-US" b="1" dirty="0">
                  <a:latin typeface="Arial"/>
                  <a:cs typeface="Arial"/>
                </a:rPr>
                <a:t>ORGANOCLAY-C</a:t>
              </a:r>
            </a:p>
          </p:txBody>
        </p:sp>
      </p:grpSp>
      <p:pic>
        <p:nvPicPr>
          <p:cNvPr id="63504" name="Grafik 63503" descr="Abzeichen Tick1 mit einfarbiger Füllung">
            <a:extLst>
              <a:ext uri="{FF2B5EF4-FFF2-40B4-BE49-F238E27FC236}">
                <a16:creationId xmlns:a16="http://schemas.microsoft.com/office/drawing/2014/main" id="{9F6580BE-94FD-B251-67A1-AADC9F012FE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71784" y="1534389"/>
            <a:ext cx="582275" cy="582275"/>
          </a:xfrm>
          <a:prstGeom prst="rect">
            <a:avLst/>
          </a:prstGeom>
          <a:effectLst/>
        </p:spPr>
      </p:pic>
    </p:spTree>
    <p:extLst>
      <p:ext uri="{BB962C8B-B14F-4D97-AF65-F5344CB8AC3E}">
        <p14:creationId xmlns:p14="http://schemas.microsoft.com/office/powerpoint/2010/main" val="16382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350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350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4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49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0150E-B6DF-7DE9-428C-9CA1DE15E446}"/>
              </a:ext>
            </a:extLst>
          </p:cNvPr>
          <p:cNvSpPr>
            <a:spLocks noGrp="1"/>
          </p:cNvSpPr>
          <p:nvPr>
            <p:ph type="title"/>
          </p:nvPr>
        </p:nvSpPr>
        <p:spPr/>
        <p:txBody>
          <a:bodyPr/>
          <a:lstStyle/>
          <a:p>
            <a:r>
              <a:rPr lang="en-US" dirty="0"/>
              <a:t>Case Study Part – 1 </a:t>
            </a:r>
            <a:br>
              <a:rPr lang="en-US" dirty="0"/>
            </a:br>
            <a:r>
              <a:rPr lang="en-US" dirty="0"/>
              <a:t>A complete look into PTFE- free options</a:t>
            </a:r>
          </a:p>
        </p:txBody>
      </p:sp>
      <p:sp>
        <p:nvSpPr>
          <p:cNvPr id="6" name="Content Placeholder 5">
            <a:extLst>
              <a:ext uri="{FF2B5EF4-FFF2-40B4-BE49-F238E27FC236}">
                <a16:creationId xmlns:a16="http://schemas.microsoft.com/office/drawing/2014/main" id="{71612BF6-331A-1B28-FC44-0BF8908E4992}"/>
              </a:ext>
            </a:extLst>
          </p:cNvPr>
          <p:cNvSpPr>
            <a:spLocks noGrp="1"/>
          </p:cNvSpPr>
          <p:nvPr>
            <p:ph idx="1"/>
          </p:nvPr>
        </p:nvSpPr>
        <p:spPr>
          <a:xfrm>
            <a:off x="407368" y="1269355"/>
            <a:ext cx="11376646" cy="5472013"/>
          </a:xfrm>
        </p:spPr>
        <p:txBody>
          <a:bodyPr/>
          <a:lstStyle/>
          <a:p>
            <a:r>
              <a:rPr lang="en-US" dirty="0"/>
              <a:t>Evaluate BYK’s ORGANOCLAY-C and ORGANOCLAY-G type additives for use as PTFE-free alternatives in a super durable powder coatings formulation</a:t>
            </a:r>
          </a:p>
          <a:p>
            <a:endParaRPr lang="en-US" dirty="0"/>
          </a:p>
          <a:p>
            <a:r>
              <a:rPr lang="en-US" dirty="0"/>
              <a:t>Success Criteria: The degree of texture, Flexibility with respect to Mandrel bend, pill flow to qualify the degree of viscosity modification of the system, Gloss measurement as well as other attributes</a:t>
            </a:r>
          </a:p>
          <a:p>
            <a:pPr marL="0" indent="0">
              <a:buNone/>
            </a:pPr>
            <a:endParaRPr lang="en-US" dirty="0"/>
          </a:p>
          <a:p>
            <a:r>
              <a:rPr lang="en-US" dirty="0"/>
              <a:t>Premix	              </a:t>
            </a:r>
            <a:r>
              <a:rPr lang="en-US" dirty="0" err="1"/>
              <a:t>Mixaco</a:t>
            </a:r>
            <a:r>
              <a:rPr lang="en-US" dirty="0"/>
              <a:t> mixer Lab CM 3	</a:t>
            </a:r>
          </a:p>
          <a:p>
            <a:r>
              <a:rPr lang="en-US" dirty="0"/>
              <a:t>Extruder 1x	Coperion ZSK 18, 24:1	(Twin screw)</a:t>
            </a:r>
          </a:p>
          <a:p>
            <a:r>
              <a:rPr lang="en-US" dirty="0"/>
              <a:t>Heating zone	45°C / 45°C / 90°C / 105°C / 105°C / 105°C	</a:t>
            </a:r>
          </a:p>
          <a:p>
            <a:endParaRPr lang="en-US" dirty="0"/>
          </a:p>
          <a:p>
            <a:r>
              <a:rPr lang="en-US" dirty="0"/>
              <a:t>Extruder speed 350 rpm	</a:t>
            </a:r>
          </a:p>
          <a:p>
            <a:r>
              <a:rPr lang="en-US" dirty="0"/>
              <a:t>Powder gun	Gema OptiFlex2 Funnel	</a:t>
            </a:r>
          </a:p>
          <a:p>
            <a:endParaRPr lang="en-US" dirty="0"/>
          </a:p>
        </p:txBody>
      </p:sp>
      <p:sp>
        <p:nvSpPr>
          <p:cNvPr id="3" name="Date Placeholder 2">
            <a:extLst>
              <a:ext uri="{FF2B5EF4-FFF2-40B4-BE49-F238E27FC236}">
                <a16:creationId xmlns:a16="http://schemas.microsoft.com/office/drawing/2014/main" id="{67E9F6D3-EE4F-4CC6-57C8-772357D08A87}"/>
              </a:ext>
            </a:extLst>
          </p:cNvPr>
          <p:cNvSpPr>
            <a:spLocks noGrp="1"/>
          </p:cNvSpPr>
          <p:nvPr>
            <p:ph type="dt" sz="half" idx="10"/>
          </p:nvPr>
        </p:nvSpPr>
        <p:spPr/>
        <p:txBody>
          <a:bodyPr/>
          <a:lstStyle/>
          <a:p>
            <a:r>
              <a:rPr lang="en-US"/>
              <a:t>September 2025</a:t>
            </a:r>
            <a:endParaRPr lang="en-US" dirty="0"/>
          </a:p>
        </p:txBody>
      </p:sp>
      <p:sp>
        <p:nvSpPr>
          <p:cNvPr id="4" name="Footer Placeholder 3">
            <a:extLst>
              <a:ext uri="{FF2B5EF4-FFF2-40B4-BE49-F238E27FC236}">
                <a16:creationId xmlns:a16="http://schemas.microsoft.com/office/drawing/2014/main" id="{9D15AA1F-8044-AE44-871F-30F085830BFC}"/>
              </a:ext>
            </a:extLst>
          </p:cNvPr>
          <p:cNvSpPr>
            <a:spLocks noGrp="1"/>
          </p:cNvSpPr>
          <p:nvPr>
            <p:ph type="ftr" sz="quarter" idx="11"/>
          </p:nvPr>
        </p:nvSpPr>
        <p:spPr/>
        <p:txBody>
          <a:bodyPr/>
          <a:lstStyle/>
          <a:p>
            <a:r>
              <a:rPr lang="en-US"/>
              <a:t>Achieving robust textures with PTFE-free additives</a:t>
            </a:r>
            <a:endParaRPr lang="en-US" dirty="0"/>
          </a:p>
        </p:txBody>
      </p:sp>
      <p:sp>
        <p:nvSpPr>
          <p:cNvPr id="5" name="Slide Number Placeholder 4">
            <a:extLst>
              <a:ext uri="{FF2B5EF4-FFF2-40B4-BE49-F238E27FC236}">
                <a16:creationId xmlns:a16="http://schemas.microsoft.com/office/drawing/2014/main" id="{5F75C9B5-8A66-CA31-6E3C-DECF43F59CF2}"/>
              </a:ext>
            </a:extLst>
          </p:cNvPr>
          <p:cNvSpPr>
            <a:spLocks noGrp="1"/>
          </p:cNvSpPr>
          <p:nvPr>
            <p:ph type="sldNum" sz="quarter" idx="12"/>
          </p:nvPr>
        </p:nvSpPr>
        <p:spPr/>
        <p:txBody>
          <a:bodyPr/>
          <a:lstStyle/>
          <a:p>
            <a:r>
              <a:rPr lang="de-DE"/>
              <a:t>Page </a:t>
            </a:r>
            <a:fld id="{8F63C9D9-3015-4EB3-9DF0-04DE0400ED04}" type="slidenum">
              <a:rPr smtClean="0"/>
              <a:pPr/>
              <a:t>14</a:t>
            </a:fld>
            <a:endParaRPr dirty="0"/>
          </a:p>
        </p:txBody>
      </p:sp>
      <p:pic>
        <p:nvPicPr>
          <p:cNvPr id="9" name="Content Placeholder 6">
            <a:extLst>
              <a:ext uri="{FF2B5EF4-FFF2-40B4-BE49-F238E27FC236}">
                <a16:creationId xmlns:a16="http://schemas.microsoft.com/office/drawing/2014/main" id="{6CEBF0B8-F899-7990-8C01-B86FCB7DD03F}"/>
              </a:ext>
            </a:extLst>
          </p:cNvPr>
          <p:cNvPicPr>
            <a:picLocks noChangeAspect="1"/>
          </p:cNvPicPr>
          <p:nvPr/>
        </p:nvPicPr>
        <p:blipFill>
          <a:blip r:embed="rId2"/>
          <a:stretch>
            <a:fillRect/>
          </a:stretch>
        </p:blipFill>
        <p:spPr bwMode="gray">
          <a:xfrm>
            <a:off x="7305301" y="2769115"/>
            <a:ext cx="4155295" cy="2892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a:extLst>
              <a:ext uri="{FF2B5EF4-FFF2-40B4-BE49-F238E27FC236}">
                <a16:creationId xmlns:a16="http://schemas.microsoft.com/office/drawing/2014/main" id="{B9212F27-A5C9-87ED-AE88-43053179E68B}"/>
              </a:ext>
            </a:extLst>
          </p:cNvPr>
          <p:cNvPicPr>
            <a:picLocks noChangeAspect="1"/>
          </p:cNvPicPr>
          <p:nvPr/>
        </p:nvPicPr>
        <p:blipFill>
          <a:blip r:embed="rId3"/>
          <a:stretch>
            <a:fillRect/>
          </a:stretch>
        </p:blipFill>
        <p:spPr>
          <a:xfrm>
            <a:off x="5267908" y="4787416"/>
            <a:ext cx="3067050" cy="1485900"/>
          </a:xfrm>
          <a:prstGeom prst="rect">
            <a:avLst/>
          </a:prstGeom>
        </p:spPr>
      </p:pic>
    </p:spTree>
    <p:extLst>
      <p:ext uri="{BB962C8B-B14F-4D97-AF65-F5344CB8AC3E}">
        <p14:creationId xmlns:p14="http://schemas.microsoft.com/office/powerpoint/2010/main" val="19214977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8C4E72-6E79-11A6-2CE9-5958FF5107F5}"/>
              </a:ext>
            </a:extLst>
          </p:cNvPr>
          <p:cNvSpPr>
            <a:spLocks noGrp="1"/>
          </p:cNvSpPr>
          <p:nvPr>
            <p:ph type="title"/>
          </p:nvPr>
        </p:nvSpPr>
        <p:spPr>
          <a:xfrm>
            <a:off x="407987" y="188913"/>
            <a:ext cx="11376026" cy="1008062"/>
          </a:xfrm>
        </p:spPr>
        <p:txBody>
          <a:bodyPr wrap="square" anchor="t">
            <a:normAutofit/>
          </a:bodyPr>
          <a:lstStyle/>
          <a:p>
            <a:r>
              <a:rPr lang="en-US" dirty="0"/>
              <a:t>Formulation Case Study I – Texture Effects </a:t>
            </a:r>
          </a:p>
        </p:txBody>
      </p:sp>
      <p:sp>
        <p:nvSpPr>
          <p:cNvPr id="3" name="Date Placeholder 2">
            <a:extLst>
              <a:ext uri="{FF2B5EF4-FFF2-40B4-BE49-F238E27FC236}">
                <a16:creationId xmlns:a16="http://schemas.microsoft.com/office/drawing/2014/main" id="{E298B30D-447C-47EC-0903-0BA7AAD696FB}"/>
              </a:ext>
            </a:extLst>
          </p:cNvPr>
          <p:cNvSpPr>
            <a:spLocks noGrp="1"/>
          </p:cNvSpPr>
          <p:nvPr>
            <p:ph type="dt" sz="half" idx="10"/>
          </p:nvPr>
        </p:nvSpPr>
        <p:spPr>
          <a:xfrm>
            <a:off x="1127448" y="6513439"/>
            <a:ext cx="792088" cy="144000"/>
          </a:xfrm>
        </p:spPr>
        <p:txBody>
          <a:bodyPr wrap="square" anchor="t">
            <a:normAutofit/>
          </a:bodyPr>
          <a:lstStyle/>
          <a:p>
            <a:r>
              <a:rPr lang="en-US"/>
              <a:t>September 2025</a:t>
            </a:r>
            <a:endParaRPr lang="en-US" dirty="0"/>
          </a:p>
        </p:txBody>
      </p:sp>
      <p:sp>
        <p:nvSpPr>
          <p:cNvPr id="4" name="Footer Placeholder 3">
            <a:extLst>
              <a:ext uri="{FF2B5EF4-FFF2-40B4-BE49-F238E27FC236}">
                <a16:creationId xmlns:a16="http://schemas.microsoft.com/office/drawing/2014/main" id="{AD0B8902-2DA9-4DAB-C4F5-0D1CA0297776}"/>
              </a:ext>
            </a:extLst>
          </p:cNvPr>
          <p:cNvSpPr>
            <a:spLocks noGrp="1"/>
          </p:cNvSpPr>
          <p:nvPr>
            <p:ph type="ftr" sz="quarter" idx="11"/>
          </p:nvPr>
        </p:nvSpPr>
        <p:spPr>
          <a:xfrm>
            <a:off x="1992796" y="6513440"/>
            <a:ext cx="8207660" cy="144000"/>
          </a:xfrm>
        </p:spPr>
        <p:txBody>
          <a:bodyPr wrap="square" anchor="t">
            <a:normAutofit/>
          </a:bodyPr>
          <a:lstStyle/>
          <a:p>
            <a:r>
              <a:rPr lang="en-US"/>
              <a:t>Achieving robust textures with PTFE-free additives</a:t>
            </a:r>
            <a:endParaRPr lang="en-US" dirty="0"/>
          </a:p>
        </p:txBody>
      </p:sp>
      <p:sp>
        <p:nvSpPr>
          <p:cNvPr id="5" name="Slide Number Placeholder 4">
            <a:extLst>
              <a:ext uri="{FF2B5EF4-FFF2-40B4-BE49-F238E27FC236}">
                <a16:creationId xmlns:a16="http://schemas.microsoft.com/office/drawing/2014/main" id="{015A0722-1854-198E-ABAF-4DEC8365C345}"/>
              </a:ext>
            </a:extLst>
          </p:cNvPr>
          <p:cNvSpPr>
            <a:spLocks noGrp="1"/>
          </p:cNvSpPr>
          <p:nvPr>
            <p:ph type="sldNum" sz="quarter" idx="12"/>
          </p:nvPr>
        </p:nvSpPr>
        <p:spPr>
          <a:xfrm>
            <a:off x="407368" y="6513439"/>
            <a:ext cx="620466" cy="144000"/>
          </a:xfrm>
        </p:spPr>
        <p:txBody>
          <a:bodyPr wrap="square" anchor="t">
            <a:normAutofit/>
          </a:bodyPr>
          <a:lstStyle/>
          <a:p>
            <a:pPr>
              <a:spcAft>
                <a:spcPts val="600"/>
              </a:spcAft>
            </a:pPr>
            <a:r>
              <a:rPr lang="de-DE"/>
              <a:t>Page </a:t>
            </a:r>
            <a:fld id="{8F63C9D9-3015-4EB3-9DF0-04DE0400ED04}" type="slidenum">
              <a:rPr smtClean="0"/>
              <a:pPr>
                <a:spcAft>
                  <a:spcPts val="600"/>
                </a:spcAft>
              </a:pPr>
              <a:t>15</a:t>
            </a:fld>
            <a:endParaRPr lang="en-US"/>
          </a:p>
        </p:txBody>
      </p:sp>
      <p:graphicFrame>
        <p:nvGraphicFramePr>
          <p:cNvPr id="6" name="Table 5">
            <a:extLst>
              <a:ext uri="{FF2B5EF4-FFF2-40B4-BE49-F238E27FC236}">
                <a16:creationId xmlns:a16="http://schemas.microsoft.com/office/drawing/2014/main" id="{B2074CEA-3C28-60C2-2D18-AAFD14F5ABA3}"/>
              </a:ext>
            </a:extLst>
          </p:cNvPr>
          <p:cNvGraphicFramePr>
            <a:graphicFrameLocks noGrp="1"/>
          </p:cNvGraphicFramePr>
          <p:nvPr>
            <p:extLst>
              <p:ext uri="{D42A27DB-BD31-4B8C-83A1-F6EECF244321}">
                <p14:modId xmlns:p14="http://schemas.microsoft.com/office/powerpoint/2010/main" val="1470195498"/>
              </p:ext>
            </p:extLst>
          </p:nvPr>
        </p:nvGraphicFramePr>
        <p:xfrm>
          <a:off x="911424" y="692696"/>
          <a:ext cx="10297144" cy="5616026"/>
        </p:xfrm>
        <a:graphic>
          <a:graphicData uri="http://schemas.openxmlformats.org/drawingml/2006/table">
            <a:tbl>
              <a:tblPr firstRow="1" firstCol="1" bandRow="1"/>
              <a:tblGrid>
                <a:gridCol w="2324351">
                  <a:extLst>
                    <a:ext uri="{9D8B030D-6E8A-4147-A177-3AD203B41FA5}">
                      <a16:colId xmlns:a16="http://schemas.microsoft.com/office/drawing/2014/main" val="252086022"/>
                    </a:ext>
                  </a:extLst>
                </a:gridCol>
                <a:gridCol w="1341807">
                  <a:extLst>
                    <a:ext uri="{9D8B030D-6E8A-4147-A177-3AD203B41FA5}">
                      <a16:colId xmlns:a16="http://schemas.microsoft.com/office/drawing/2014/main" val="368587344"/>
                    </a:ext>
                  </a:extLst>
                </a:gridCol>
                <a:gridCol w="852733">
                  <a:extLst>
                    <a:ext uri="{9D8B030D-6E8A-4147-A177-3AD203B41FA5}">
                      <a16:colId xmlns:a16="http://schemas.microsoft.com/office/drawing/2014/main" val="2163362619"/>
                    </a:ext>
                  </a:extLst>
                </a:gridCol>
                <a:gridCol w="820920">
                  <a:extLst>
                    <a:ext uri="{9D8B030D-6E8A-4147-A177-3AD203B41FA5}">
                      <a16:colId xmlns:a16="http://schemas.microsoft.com/office/drawing/2014/main" val="660648228"/>
                    </a:ext>
                  </a:extLst>
                </a:gridCol>
                <a:gridCol w="852733">
                  <a:extLst>
                    <a:ext uri="{9D8B030D-6E8A-4147-A177-3AD203B41FA5}">
                      <a16:colId xmlns:a16="http://schemas.microsoft.com/office/drawing/2014/main" val="2648538786"/>
                    </a:ext>
                  </a:extLst>
                </a:gridCol>
                <a:gridCol w="820920">
                  <a:extLst>
                    <a:ext uri="{9D8B030D-6E8A-4147-A177-3AD203B41FA5}">
                      <a16:colId xmlns:a16="http://schemas.microsoft.com/office/drawing/2014/main" val="411586991"/>
                    </a:ext>
                  </a:extLst>
                </a:gridCol>
                <a:gridCol w="820920">
                  <a:extLst>
                    <a:ext uri="{9D8B030D-6E8A-4147-A177-3AD203B41FA5}">
                      <a16:colId xmlns:a16="http://schemas.microsoft.com/office/drawing/2014/main" val="3686140284"/>
                    </a:ext>
                  </a:extLst>
                </a:gridCol>
                <a:gridCol w="820920">
                  <a:extLst>
                    <a:ext uri="{9D8B030D-6E8A-4147-A177-3AD203B41FA5}">
                      <a16:colId xmlns:a16="http://schemas.microsoft.com/office/drawing/2014/main" val="934505470"/>
                    </a:ext>
                  </a:extLst>
                </a:gridCol>
                <a:gridCol w="820920">
                  <a:extLst>
                    <a:ext uri="{9D8B030D-6E8A-4147-A177-3AD203B41FA5}">
                      <a16:colId xmlns:a16="http://schemas.microsoft.com/office/drawing/2014/main" val="3474520418"/>
                    </a:ext>
                  </a:extLst>
                </a:gridCol>
                <a:gridCol w="820920">
                  <a:extLst>
                    <a:ext uri="{9D8B030D-6E8A-4147-A177-3AD203B41FA5}">
                      <a16:colId xmlns:a16="http://schemas.microsoft.com/office/drawing/2014/main" val="127137887"/>
                    </a:ext>
                  </a:extLst>
                </a:gridCol>
              </a:tblGrid>
              <a:tr h="311539">
                <a:tc>
                  <a:txBody>
                    <a:bodyPr/>
                    <a:lstStyle/>
                    <a:p>
                      <a:pPr marL="0" marR="0">
                        <a:lnSpc>
                          <a:spcPct val="115000"/>
                        </a:lnSpc>
                        <a:spcAft>
                          <a:spcPts val="1000"/>
                        </a:spcAft>
                        <a:buNone/>
                      </a:pPr>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aw materials</a:t>
                      </a:r>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nSpc>
                          <a:spcPct val="115000"/>
                        </a:lnSpc>
                        <a:spcAft>
                          <a:spcPts val="1000"/>
                        </a:spcAft>
                        <a:buNone/>
                      </a:pPr>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ource</a:t>
                      </a:r>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nSpc>
                          <a:spcPct val="115000"/>
                        </a:lnSpc>
                        <a:spcAft>
                          <a:spcPts val="1000"/>
                        </a:spcAft>
                        <a:buNone/>
                      </a:pPr>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F134</a:t>
                      </a:r>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nSpc>
                          <a:spcPct val="115000"/>
                        </a:lnSpc>
                        <a:spcAft>
                          <a:spcPts val="1000"/>
                        </a:spcAft>
                        <a:buNone/>
                      </a:pPr>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F135</a:t>
                      </a:r>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nSpc>
                          <a:spcPct val="115000"/>
                        </a:lnSpc>
                        <a:spcAft>
                          <a:spcPts val="1000"/>
                        </a:spcAft>
                        <a:buNone/>
                      </a:pPr>
                      <a:r>
                        <a:rPr lang="en-US" sz="1800" b="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F136</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nSpc>
                          <a:spcPct val="115000"/>
                        </a:lnSpc>
                        <a:spcAft>
                          <a:spcPts val="1000"/>
                        </a:spcAft>
                        <a:buNone/>
                      </a:pPr>
                      <a:r>
                        <a:rPr lang="en-US" sz="1800" b="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F137</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nSpc>
                          <a:spcPct val="115000"/>
                        </a:lnSpc>
                        <a:spcAft>
                          <a:spcPts val="1000"/>
                        </a:spcAft>
                        <a:buNone/>
                      </a:pPr>
                      <a:r>
                        <a:rPr lang="en-US" sz="1800" b="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F138</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nSpc>
                          <a:spcPct val="115000"/>
                        </a:lnSpc>
                        <a:spcAft>
                          <a:spcPts val="1000"/>
                        </a:spcAft>
                        <a:buNone/>
                      </a:pPr>
                      <a:r>
                        <a:rPr lang="en-US" sz="1800" b="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F139</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nSpc>
                          <a:spcPct val="115000"/>
                        </a:lnSpc>
                        <a:spcAft>
                          <a:spcPts val="1000"/>
                        </a:spcAft>
                        <a:buNone/>
                      </a:pPr>
                      <a:r>
                        <a:rPr lang="en-US" sz="1800" b="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F140</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nSpc>
                          <a:spcPct val="115000"/>
                        </a:lnSpc>
                        <a:spcAft>
                          <a:spcPts val="1000"/>
                        </a:spcAft>
                        <a:buNone/>
                      </a:pPr>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F141</a:t>
                      </a:r>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561451010"/>
                  </a:ext>
                </a:extLst>
              </a:tr>
              <a:tr h="311539">
                <a:tc>
                  <a:txBody>
                    <a:bodyPr/>
                    <a:lstStyle/>
                    <a:p>
                      <a:pPr marL="0" marR="0">
                        <a:lnSpc>
                          <a:spcPct val="115000"/>
                        </a:lnSpc>
                        <a:spcAft>
                          <a:spcPts val="1000"/>
                        </a:spcAft>
                        <a:buNone/>
                      </a:pPr>
                      <a:r>
                        <a:rPr lang="en-US" sz="14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inder/Hardener</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r>
                        <a:rPr lang="en-US" sz="14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r>
                        <a:rPr lang="en-US" sz="1400" b="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r>
                        <a:rPr lang="en-US" sz="14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r>
                        <a:rPr lang="en-US" sz="14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r>
                        <a:rPr lang="en-US" sz="14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r>
                        <a:rPr lang="en-US" sz="14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r>
                        <a:rPr lang="en-US" sz="14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r>
                        <a:rPr lang="en-US" sz="14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r>
                        <a:rPr lang="en-US" sz="14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121688426"/>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Resin (Av 32)</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61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61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61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61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61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61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61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61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29584694"/>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SimSun" panose="02010600030101010101" pitchFamily="2" charset="-122"/>
                          <a:cs typeface="Times New Roman" panose="02020603050405020304" pitchFamily="18" charset="0"/>
                        </a:rPr>
                        <a:t>Crosslinker - TGIC</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nSpc>
                          <a:spcPct val="115000"/>
                        </a:lnSpc>
                        <a:spcAft>
                          <a:spcPts val="1000"/>
                        </a:spcAft>
                        <a:buNone/>
                      </a:pP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6</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6</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6</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6</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6</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6</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6</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6</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276741260"/>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Pigments/ Extender</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3194754"/>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Titanium dioxide</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8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8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8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8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8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8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8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8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364727828"/>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Pigment Blue 71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2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2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2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2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2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2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2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2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7013369"/>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SimSun" panose="02010600030101010101" pitchFamily="2" charset="-122"/>
                          <a:cs typeface="Times New Roman" panose="02020603050405020304" pitchFamily="18" charset="0"/>
                        </a:rPr>
                        <a:t>Pigment Black 20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1</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1</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1</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1</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1</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1</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1</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1</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6888474"/>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arium Sulfate (</a:t>
                      </a:r>
                      <a:r>
                        <a:rPr lang="en-US" sz="1400" b="1" dirty="0" err="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Cimbar</a:t>
                      </a: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PC)</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2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2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2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2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2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2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2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2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084940535"/>
                  </a:ext>
                </a:extLst>
              </a:tr>
              <a:tr h="277386">
                <a:tc>
                  <a:txBody>
                    <a:bodyPr/>
                    <a:lstStyle/>
                    <a:p>
                      <a:pPr marL="0" marR="0">
                        <a:lnSpc>
                          <a:spcPct val="115000"/>
                        </a:lnSpc>
                        <a:spcAft>
                          <a:spcPts val="1000"/>
                        </a:spcAft>
                        <a:buNone/>
                      </a:pPr>
                      <a:r>
                        <a:rPr lang="en-US" sz="14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dditives</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3312302"/>
                  </a:ext>
                </a:extLst>
              </a:tr>
              <a:tr h="277386">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enzoin</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72840198"/>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Leveling Additive</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USA</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3750953"/>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SimSun" panose="02010600030101010101" pitchFamily="2" charset="-122"/>
                          <a:cs typeface="Times New Roman" panose="02020603050405020304" pitchFamily="18" charset="0"/>
                        </a:rPr>
                        <a:t>PTFE-Additive</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USA</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5</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nSpc>
                          <a:spcPct val="115000"/>
                        </a:lnSpc>
                        <a:spcAft>
                          <a:spcPts val="1000"/>
                        </a:spcAft>
                        <a:buNone/>
                      </a:pPr>
                      <a:r>
                        <a:rPr lang="en-US" sz="1400"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539178613"/>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SimSun" panose="02010600030101010101" pitchFamily="2" charset="-122"/>
                          <a:cs typeface="Times New Roman" panose="02020603050405020304" pitchFamily="18" charset="0"/>
                        </a:rPr>
                        <a:t>ORGANOCLAY-C (HY)</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USA</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326167"/>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ORGANOCLAY-C (4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USA</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2151008"/>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ORGANOCLAY-G (7305)</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USA</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52670"/>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ORGANOCLAY-G (195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USA</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7354438"/>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CLAY-HY/GA-7305(2%/2%)</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USA</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4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84133780"/>
                  </a:ext>
                </a:extLst>
              </a:tr>
              <a:tr h="27738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CLAY-HY/GA-7305/HDPE(1%)</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USA</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5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3139016"/>
                  </a:ext>
                </a:extLst>
              </a:tr>
              <a:tr h="277386">
                <a:tc>
                  <a:txBody>
                    <a:bodyPr/>
                    <a:lstStyle/>
                    <a:p>
                      <a:pPr marL="0" marR="0">
                        <a:lnSpc>
                          <a:spcPct val="115000"/>
                        </a:lnSpc>
                        <a:spcAft>
                          <a:spcPts val="1000"/>
                        </a:spcAft>
                        <a:buNone/>
                      </a:pPr>
                      <a:r>
                        <a:rPr lang="en-US" sz="1400" b="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008</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003</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038</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038</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038</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038</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038</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104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8295553"/>
                  </a:ext>
                </a:extLst>
              </a:tr>
            </a:tbl>
          </a:graphicData>
        </a:graphic>
      </p:graphicFrame>
      <p:sp>
        <p:nvSpPr>
          <p:cNvPr id="8" name="TextBox 7">
            <a:extLst>
              <a:ext uri="{FF2B5EF4-FFF2-40B4-BE49-F238E27FC236}">
                <a16:creationId xmlns:a16="http://schemas.microsoft.com/office/drawing/2014/main" id="{7AA4DB51-4267-CF84-C21F-D10A7D6DFB5F}"/>
              </a:ext>
            </a:extLst>
          </p:cNvPr>
          <p:cNvSpPr txBox="1"/>
          <p:nvPr/>
        </p:nvSpPr>
        <p:spPr>
          <a:xfrm rot="5400000">
            <a:off x="3814391" y="5026534"/>
            <a:ext cx="1548174" cy="369332"/>
          </a:xfrm>
          <a:prstGeom prst="rect">
            <a:avLst/>
          </a:prstGeom>
          <a:solidFill>
            <a:schemeClr val="accent1">
              <a:lumMod val="60000"/>
              <a:lumOff val="4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rtlCol="0">
            <a:spAutoFit/>
          </a:bodyPr>
          <a:lstStyle/>
          <a:p>
            <a:r>
              <a:rPr lang="en-US" sz="1800" b="1" dirty="0"/>
              <a:t>PTFE-FREE</a:t>
            </a:r>
          </a:p>
        </p:txBody>
      </p:sp>
    </p:spTree>
    <p:extLst>
      <p:ext uri="{BB962C8B-B14F-4D97-AF65-F5344CB8AC3E}">
        <p14:creationId xmlns:p14="http://schemas.microsoft.com/office/powerpoint/2010/main" val="33998956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607DA12-CFDA-54D2-2952-5D4FCBD9F240}"/>
              </a:ext>
            </a:extLst>
          </p:cNvPr>
          <p:cNvSpPr>
            <a:spLocks noGrp="1"/>
          </p:cNvSpPr>
          <p:nvPr>
            <p:ph type="title"/>
          </p:nvPr>
        </p:nvSpPr>
        <p:spPr>
          <a:xfrm>
            <a:off x="407987" y="80628"/>
            <a:ext cx="11376026" cy="503783"/>
          </a:xfrm>
        </p:spPr>
        <p:txBody>
          <a:bodyPr/>
          <a:lstStyle/>
          <a:p>
            <a:r>
              <a:rPr lang="en-US" sz="2800" dirty="0"/>
              <a:t>Textures</a:t>
            </a:r>
          </a:p>
        </p:txBody>
      </p:sp>
      <p:pic>
        <p:nvPicPr>
          <p:cNvPr id="7" name="Content Placeholder 6">
            <a:extLst>
              <a:ext uri="{FF2B5EF4-FFF2-40B4-BE49-F238E27FC236}">
                <a16:creationId xmlns:a16="http://schemas.microsoft.com/office/drawing/2014/main" id="{43E499E6-9A97-6470-B4FC-BFBC4159DBCA}"/>
              </a:ext>
            </a:extLst>
          </p:cNvPr>
          <p:cNvPicPr>
            <a:picLocks noGrp="1" noChangeAspect="1"/>
          </p:cNvPicPr>
          <p:nvPr>
            <p:ph idx="1"/>
          </p:nvPr>
        </p:nvPicPr>
        <p:blipFill rotWithShape="1">
          <a:blip r:embed="rId2"/>
          <a:srcRect b="17778"/>
          <a:stretch>
            <a:fillRect/>
          </a:stretch>
        </p:blipFill>
        <p:spPr>
          <a:xfrm>
            <a:off x="299356" y="440668"/>
            <a:ext cx="10981220" cy="2664296"/>
          </a:xfrm>
        </p:spPr>
      </p:pic>
      <p:sp>
        <p:nvSpPr>
          <p:cNvPr id="3" name="Date Placeholder 2">
            <a:extLst>
              <a:ext uri="{FF2B5EF4-FFF2-40B4-BE49-F238E27FC236}">
                <a16:creationId xmlns:a16="http://schemas.microsoft.com/office/drawing/2014/main" id="{A9DBF5F9-5EAF-7D9D-EC7E-F42ECDDFEE05}"/>
              </a:ext>
            </a:extLst>
          </p:cNvPr>
          <p:cNvSpPr>
            <a:spLocks noGrp="1"/>
          </p:cNvSpPr>
          <p:nvPr>
            <p:ph type="dt" sz="half" idx="10"/>
          </p:nvPr>
        </p:nvSpPr>
        <p:spPr>
          <a:xfrm>
            <a:off x="1127448" y="6513439"/>
            <a:ext cx="792088" cy="144000"/>
          </a:xfrm>
        </p:spPr>
        <p:txBody>
          <a:bodyPr wrap="square" anchor="t">
            <a:normAutofit/>
          </a:bodyPr>
          <a:lstStyle/>
          <a:p>
            <a:r>
              <a:rPr lang="en-US"/>
              <a:t>September 2025</a:t>
            </a:r>
            <a:endParaRPr lang="en-US" dirty="0"/>
          </a:p>
        </p:txBody>
      </p:sp>
      <p:sp>
        <p:nvSpPr>
          <p:cNvPr id="4" name="Footer Placeholder 3">
            <a:extLst>
              <a:ext uri="{FF2B5EF4-FFF2-40B4-BE49-F238E27FC236}">
                <a16:creationId xmlns:a16="http://schemas.microsoft.com/office/drawing/2014/main" id="{251310A3-1608-C9E9-170A-5297CA489A4B}"/>
              </a:ext>
            </a:extLst>
          </p:cNvPr>
          <p:cNvSpPr>
            <a:spLocks noGrp="1"/>
          </p:cNvSpPr>
          <p:nvPr>
            <p:ph type="ftr" sz="quarter" idx="11"/>
          </p:nvPr>
        </p:nvSpPr>
        <p:spPr>
          <a:xfrm>
            <a:off x="1992796" y="6513440"/>
            <a:ext cx="8207660" cy="144000"/>
          </a:xfrm>
        </p:spPr>
        <p:txBody>
          <a:bodyPr wrap="square" anchor="t">
            <a:normAutofit/>
          </a:bodyPr>
          <a:lstStyle/>
          <a:p>
            <a:r>
              <a:rPr lang="en-US"/>
              <a:t>Achieving robust textures with PTFE-free additives</a:t>
            </a:r>
            <a:endParaRPr lang="en-US" dirty="0"/>
          </a:p>
        </p:txBody>
      </p:sp>
      <p:sp>
        <p:nvSpPr>
          <p:cNvPr id="5" name="Slide Number Placeholder 4">
            <a:extLst>
              <a:ext uri="{FF2B5EF4-FFF2-40B4-BE49-F238E27FC236}">
                <a16:creationId xmlns:a16="http://schemas.microsoft.com/office/drawing/2014/main" id="{47D1AA34-920A-A825-987D-591DAF665FDB}"/>
              </a:ext>
            </a:extLst>
          </p:cNvPr>
          <p:cNvSpPr>
            <a:spLocks noGrp="1"/>
          </p:cNvSpPr>
          <p:nvPr>
            <p:ph type="sldNum" sz="quarter" idx="12"/>
          </p:nvPr>
        </p:nvSpPr>
        <p:spPr>
          <a:xfrm>
            <a:off x="407368" y="6513439"/>
            <a:ext cx="620466" cy="144000"/>
          </a:xfrm>
        </p:spPr>
        <p:txBody>
          <a:bodyPr wrap="square" anchor="t">
            <a:normAutofit/>
          </a:bodyPr>
          <a:lstStyle/>
          <a:p>
            <a:pPr>
              <a:spcAft>
                <a:spcPts val="600"/>
              </a:spcAft>
            </a:pPr>
            <a:r>
              <a:rPr lang="de-DE"/>
              <a:t>Page </a:t>
            </a:r>
            <a:fld id="{8F63C9D9-3015-4EB3-9DF0-04DE0400ED04}" type="slidenum">
              <a:rPr smtClean="0"/>
              <a:pPr>
                <a:spcAft>
                  <a:spcPts val="600"/>
                </a:spcAft>
              </a:pPr>
              <a:t>16</a:t>
            </a:fld>
            <a:endParaRPr lang="en-US"/>
          </a:p>
        </p:txBody>
      </p:sp>
      <p:pic>
        <p:nvPicPr>
          <p:cNvPr id="9" name="Picture 8">
            <a:extLst>
              <a:ext uri="{FF2B5EF4-FFF2-40B4-BE49-F238E27FC236}">
                <a16:creationId xmlns:a16="http://schemas.microsoft.com/office/drawing/2014/main" id="{F6C42222-2485-AFA8-32ED-7121AAF2A0AC}"/>
              </a:ext>
            </a:extLst>
          </p:cNvPr>
          <p:cNvPicPr>
            <a:picLocks noChangeAspect="1"/>
          </p:cNvPicPr>
          <p:nvPr/>
        </p:nvPicPr>
        <p:blipFill>
          <a:blip r:embed="rId3"/>
          <a:srcRect b="8642"/>
          <a:stretch>
            <a:fillRect/>
          </a:stretch>
        </p:blipFill>
        <p:spPr>
          <a:xfrm>
            <a:off x="433386" y="3429000"/>
            <a:ext cx="11459257" cy="2664296"/>
          </a:xfrm>
          <a:prstGeom prst="rect">
            <a:avLst/>
          </a:prstGeom>
        </p:spPr>
      </p:pic>
      <p:sp>
        <p:nvSpPr>
          <p:cNvPr id="2" name="TextBox 1">
            <a:extLst>
              <a:ext uri="{FF2B5EF4-FFF2-40B4-BE49-F238E27FC236}">
                <a16:creationId xmlns:a16="http://schemas.microsoft.com/office/drawing/2014/main" id="{0E1125FC-E2ED-F92F-9ED9-93DDE3597B04}"/>
              </a:ext>
            </a:extLst>
          </p:cNvPr>
          <p:cNvSpPr txBox="1"/>
          <p:nvPr/>
        </p:nvSpPr>
        <p:spPr>
          <a:xfrm>
            <a:off x="515380" y="3032956"/>
            <a:ext cx="10837204" cy="338554"/>
          </a:xfrm>
          <a:prstGeom prst="rect">
            <a:avLst/>
          </a:prstGeom>
          <a:noFill/>
        </p:spPr>
        <p:txBody>
          <a:bodyPr wrap="square" rtlCol="0">
            <a:spAutoFit/>
          </a:bodyPr>
          <a:lstStyle/>
          <a:p>
            <a:pPr algn="l"/>
            <a:r>
              <a:rPr lang="en-US" dirty="0"/>
              <a:t>1% LEVELING 	             0.5% PTFE 	            4% ORGANOCLAY-C HY           4% ORGANOCLAY-C 40</a:t>
            </a:r>
          </a:p>
        </p:txBody>
      </p:sp>
      <p:sp>
        <p:nvSpPr>
          <p:cNvPr id="6" name="TextBox 5">
            <a:extLst>
              <a:ext uri="{FF2B5EF4-FFF2-40B4-BE49-F238E27FC236}">
                <a16:creationId xmlns:a16="http://schemas.microsoft.com/office/drawing/2014/main" id="{046272AA-F5AB-C6FD-DB8D-8D89FAE7777F}"/>
              </a:ext>
            </a:extLst>
          </p:cNvPr>
          <p:cNvSpPr txBox="1"/>
          <p:nvPr/>
        </p:nvSpPr>
        <p:spPr>
          <a:xfrm>
            <a:off x="227348" y="6093296"/>
            <a:ext cx="11053228" cy="338554"/>
          </a:xfrm>
          <a:prstGeom prst="rect">
            <a:avLst/>
          </a:prstGeom>
          <a:noFill/>
        </p:spPr>
        <p:txBody>
          <a:bodyPr wrap="square" rtlCol="0">
            <a:spAutoFit/>
          </a:bodyPr>
          <a:lstStyle/>
          <a:p>
            <a:pPr algn="l"/>
            <a:r>
              <a:rPr lang="en-US" dirty="0"/>
              <a:t>4%ORGANOCLAY-G 7305      4%ORGANOCLAY-G 1958      CLAY-HY/GA 7305 (2/2%)     CLAY-HY/GA/HDPE (2/2/1%)</a:t>
            </a:r>
          </a:p>
        </p:txBody>
      </p:sp>
    </p:spTree>
    <p:extLst>
      <p:ext uri="{BB962C8B-B14F-4D97-AF65-F5344CB8AC3E}">
        <p14:creationId xmlns:p14="http://schemas.microsoft.com/office/powerpoint/2010/main" val="22436151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5E19E-1BCE-BADD-69E9-DDB05369F013}"/>
              </a:ext>
            </a:extLst>
          </p:cNvPr>
          <p:cNvSpPr>
            <a:spLocks noGrp="1"/>
          </p:cNvSpPr>
          <p:nvPr>
            <p:ph type="title"/>
          </p:nvPr>
        </p:nvSpPr>
        <p:spPr>
          <a:xfrm>
            <a:off x="407987" y="188913"/>
            <a:ext cx="11376026" cy="431775"/>
          </a:xfrm>
        </p:spPr>
        <p:txBody>
          <a:bodyPr/>
          <a:lstStyle/>
          <a:p>
            <a:r>
              <a:rPr lang="en-US" dirty="0"/>
              <a:t>Gloss &amp; DFT</a:t>
            </a:r>
          </a:p>
        </p:txBody>
      </p:sp>
      <p:graphicFrame>
        <p:nvGraphicFramePr>
          <p:cNvPr id="7" name="Content Placeholder 6">
            <a:extLst>
              <a:ext uri="{FF2B5EF4-FFF2-40B4-BE49-F238E27FC236}">
                <a16:creationId xmlns:a16="http://schemas.microsoft.com/office/drawing/2014/main" id="{4E34F1A6-5918-C9FD-CDA9-4969492A9CDD}"/>
              </a:ext>
            </a:extLst>
          </p:cNvPr>
          <p:cNvGraphicFramePr>
            <a:graphicFrameLocks noGrp="1"/>
          </p:cNvGraphicFramePr>
          <p:nvPr>
            <p:ph idx="1"/>
            <p:extLst>
              <p:ext uri="{D42A27DB-BD31-4B8C-83A1-F6EECF244321}">
                <p14:modId xmlns:p14="http://schemas.microsoft.com/office/powerpoint/2010/main" val="2198202798"/>
              </p:ext>
            </p:extLst>
          </p:nvPr>
        </p:nvGraphicFramePr>
        <p:xfrm>
          <a:off x="479376" y="620689"/>
          <a:ext cx="10837203" cy="3060336"/>
        </p:xfrm>
        <a:graphic>
          <a:graphicData uri="http://schemas.openxmlformats.org/drawingml/2006/table">
            <a:tbl>
              <a:tblPr firstRow="1" firstCol="1" bandRow="1"/>
              <a:tblGrid>
                <a:gridCol w="988489">
                  <a:extLst>
                    <a:ext uri="{9D8B030D-6E8A-4147-A177-3AD203B41FA5}">
                      <a16:colId xmlns:a16="http://schemas.microsoft.com/office/drawing/2014/main" val="581283447"/>
                    </a:ext>
                  </a:extLst>
                </a:gridCol>
                <a:gridCol w="3710175">
                  <a:extLst>
                    <a:ext uri="{9D8B030D-6E8A-4147-A177-3AD203B41FA5}">
                      <a16:colId xmlns:a16="http://schemas.microsoft.com/office/drawing/2014/main" val="3122143548"/>
                    </a:ext>
                  </a:extLst>
                </a:gridCol>
                <a:gridCol w="1875533">
                  <a:extLst>
                    <a:ext uri="{9D8B030D-6E8A-4147-A177-3AD203B41FA5}">
                      <a16:colId xmlns:a16="http://schemas.microsoft.com/office/drawing/2014/main" val="4024935885"/>
                    </a:ext>
                  </a:extLst>
                </a:gridCol>
                <a:gridCol w="1297539">
                  <a:extLst>
                    <a:ext uri="{9D8B030D-6E8A-4147-A177-3AD203B41FA5}">
                      <a16:colId xmlns:a16="http://schemas.microsoft.com/office/drawing/2014/main" val="2954555713"/>
                    </a:ext>
                  </a:extLst>
                </a:gridCol>
                <a:gridCol w="988489">
                  <a:extLst>
                    <a:ext uri="{9D8B030D-6E8A-4147-A177-3AD203B41FA5}">
                      <a16:colId xmlns:a16="http://schemas.microsoft.com/office/drawing/2014/main" val="4083664506"/>
                    </a:ext>
                  </a:extLst>
                </a:gridCol>
                <a:gridCol w="988489">
                  <a:extLst>
                    <a:ext uri="{9D8B030D-6E8A-4147-A177-3AD203B41FA5}">
                      <a16:colId xmlns:a16="http://schemas.microsoft.com/office/drawing/2014/main" val="2683133814"/>
                    </a:ext>
                  </a:extLst>
                </a:gridCol>
                <a:gridCol w="988489">
                  <a:extLst>
                    <a:ext uri="{9D8B030D-6E8A-4147-A177-3AD203B41FA5}">
                      <a16:colId xmlns:a16="http://schemas.microsoft.com/office/drawing/2014/main" val="541356441"/>
                    </a:ext>
                  </a:extLst>
                </a:gridCol>
              </a:tblGrid>
              <a:tr h="354024">
                <a:tc>
                  <a:txBody>
                    <a:bodyPr/>
                    <a:lstStyle/>
                    <a:p>
                      <a:pPr marL="0" marR="0">
                        <a:lnSpc>
                          <a:spcPct val="115000"/>
                        </a:lnSpc>
                        <a:spcAft>
                          <a:spcPts val="600"/>
                        </a:spcAft>
                        <a:buNone/>
                      </a:pPr>
                      <a:r>
                        <a:rPr lang="en-US" sz="1600" dirty="0">
                          <a:solidFill>
                            <a:srgbClr val="002650"/>
                          </a:solidFill>
                          <a:effectLst/>
                          <a:latin typeface="Arial Black" panose="020B0A04020102020204" pitchFamily="34" charset="0"/>
                          <a:ea typeface="SimSun" panose="02010600030101010101" pitchFamily="2" charset="-122"/>
                          <a:cs typeface="Arial" panose="020B0604020202020204" pitchFamily="34" charset="0"/>
                        </a:rPr>
                        <a:t>No.</a:t>
                      </a:r>
                      <a:endParaRPr lang="en-US" sz="1600" dirty="0">
                        <a:solidFill>
                          <a:srgbClr val="00A6EB"/>
                        </a:solidFill>
                        <a:effectLst/>
                        <a:latin typeface="Arial Black" panose="020B0A04020102020204" pitchFamily="34" charset="0"/>
                        <a:ea typeface="SimSun" panose="02010600030101010101" pitchFamily="2" charset="-122"/>
                        <a:cs typeface="Arial" panose="020B0604020202020204" pitchFamily="34"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marL="0" marR="0">
                        <a:lnSpc>
                          <a:spcPct val="115000"/>
                        </a:lnSpc>
                        <a:spcAft>
                          <a:spcPts val="600"/>
                        </a:spcAft>
                        <a:buNone/>
                      </a:pPr>
                      <a:r>
                        <a:rPr lang="en-US" sz="1600" dirty="0">
                          <a:solidFill>
                            <a:srgbClr val="002650"/>
                          </a:solidFill>
                          <a:effectLst/>
                          <a:latin typeface="Arial Black" panose="020B0A04020102020204" pitchFamily="34" charset="0"/>
                          <a:ea typeface="SimSun" panose="02010600030101010101" pitchFamily="2" charset="-122"/>
                          <a:cs typeface="Arial" panose="020B0604020202020204" pitchFamily="34" charset="0"/>
                        </a:rPr>
                        <a:t>Additives</a:t>
                      </a:r>
                      <a:endParaRPr lang="en-US" sz="1600" dirty="0">
                        <a:solidFill>
                          <a:srgbClr val="00A6EB"/>
                        </a:solidFill>
                        <a:effectLst/>
                        <a:latin typeface="Arial Black" panose="020B0A04020102020204" pitchFamily="34" charset="0"/>
                        <a:ea typeface="SimSun" panose="02010600030101010101" pitchFamily="2" charset="-122"/>
                        <a:cs typeface="Arial" panose="020B0604020202020204" pitchFamily="34" charset="0"/>
                      </a:endParaRPr>
                    </a:p>
                  </a:txBody>
                  <a:tcPr marL="68580" marR="68580" marT="9525" marB="9525"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marL="0" marR="0">
                        <a:lnSpc>
                          <a:spcPct val="115000"/>
                        </a:lnSpc>
                        <a:spcAft>
                          <a:spcPts val="600"/>
                        </a:spcAft>
                        <a:buNone/>
                      </a:pPr>
                      <a:r>
                        <a:rPr lang="en-US" sz="1600" dirty="0">
                          <a:solidFill>
                            <a:srgbClr val="002650"/>
                          </a:solidFill>
                          <a:effectLst/>
                          <a:latin typeface="Arial Black" panose="020B0A04020102020204" pitchFamily="34" charset="0"/>
                          <a:ea typeface="SimSun" panose="02010600030101010101" pitchFamily="2" charset="-122"/>
                          <a:cs typeface="Arial" panose="020B0604020202020204" pitchFamily="34" charset="0"/>
                        </a:rPr>
                        <a:t>% as delivered</a:t>
                      </a:r>
                      <a:endParaRPr lang="en-US" sz="1600" dirty="0">
                        <a:solidFill>
                          <a:srgbClr val="00A6EB"/>
                        </a:solidFill>
                        <a:effectLst/>
                        <a:latin typeface="Arial Black" panose="020B0A04020102020204" pitchFamily="34" charset="0"/>
                        <a:ea typeface="SimSun" panose="02010600030101010101" pitchFamily="2" charset="-122"/>
                        <a:cs typeface="Arial" panose="020B0604020202020204" pitchFamily="34" charset="0"/>
                      </a:endParaRPr>
                    </a:p>
                  </a:txBody>
                  <a:tcPr marL="68580" marR="68580" marT="9525" marB="952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marL="0" marR="0">
                        <a:lnSpc>
                          <a:spcPct val="115000"/>
                        </a:lnSpc>
                        <a:spcAft>
                          <a:spcPts val="600"/>
                        </a:spcAft>
                        <a:buNone/>
                      </a:pPr>
                      <a:r>
                        <a:rPr lang="en-US" sz="1600" dirty="0">
                          <a:solidFill>
                            <a:srgbClr val="002650"/>
                          </a:solidFill>
                          <a:effectLst/>
                          <a:latin typeface="Arial Black" panose="020B0A04020102020204" pitchFamily="34" charset="0"/>
                          <a:ea typeface="SimSun" panose="02010600030101010101" pitchFamily="2" charset="-122"/>
                          <a:cs typeface="Arial" panose="020B0604020202020204" pitchFamily="34" charset="0"/>
                        </a:rPr>
                        <a:t>DFT -MILS</a:t>
                      </a:r>
                      <a:endParaRPr lang="en-US" sz="1600" dirty="0">
                        <a:solidFill>
                          <a:srgbClr val="00A6EB"/>
                        </a:solidFill>
                        <a:effectLst/>
                        <a:latin typeface="Arial Black" panose="020B0A04020102020204" pitchFamily="34" charset="0"/>
                        <a:ea typeface="SimSun" panose="02010600030101010101" pitchFamily="2" charset="-122"/>
                        <a:cs typeface="Arial" panose="020B0604020202020204" pitchFamily="34"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marL="0" marR="0">
                        <a:lnSpc>
                          <a:spcPct val="115000"/>
                        </a:lnSpc>
                        <a:spcAft>
                          <a:spcPts val="600"/>
                        </a:spcAft>
                        <a:buNone/>
                      </a:pPr>
                      <a:r>
                        <a:rPr lang="en-US" sz="1600" dirty="0">
                          <a:solidFill>
                            <a:srgbClr val="002650"/>
                          </a:solidFill>
                          <a:effectLst/>
                          <a:latin typeface="Arial Black" panose="020B0A04020102020204" pitchFamily="34" charset="0"/>
                          <a:ea typeface="SimSun" panose="02010600030101010101" pitchFamily="2" charset="-122"/>
                          <a:cs typeface="Arial" panose="020B0604020202020204" pitchFamily="34" charset="0"/>
                        </a:rPr>
                        <a:t>20</a:t>
                      </a:r>
                      <a:endParaRPr lang="en-US" sz="1600" dirty="0">
                        <a:solidFill>
                          <a:srgbClr val="00A6EB"/>
                        </a:solidFill>
                        <a:effectLst/>
                        <a:latin typeface="Arial Black" panose="020B0A04020102020204" pitchFamily="34" charset="0"/>
                        <a:ea typeface="SimSun" panose="02010600030101010101" pitchFamily="2" charset="-122"/>
                        <a:cs typeface="Arial" panose="020B0604020202020204" pitchFamily="34"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marL="0" marR="0">
                        <a:lnSpc>
                          <a:spcPct val="115000"/>
                        </a:lnSpc>
                        <a:spcAft>
                          <a:spcPts val="600"/>
                        </a:spcAft>
                        <a:buNone/>
                      </a:pPr>
                      <a:r>
                        <a:rPr lang="en-US" sz="1600" dirty="0">
                          <a:solidFill>
                            <a:srgbClr val="002650"/>
                          </a:solidFill>
                          <a:effectLst/>
                          <a:latin typeface="Arial Black" panose="020B0A04020102020204" pitchFamily="34" charset="0"/>
                          <a:ea typeface="SimSun" panose="02010600030101010101" pitchFamily="2" charset="-122"/>
                          <a:cs typeface="Arial" panose="020B0604020202020204" pitchFamily="34" charset="0"/>
                        </a:rPr>
                        <a:t>60</a:t>
                      </a:r>
                      <a:endParaRPr lang="en-US" sz="1600" dirty="0">
                        <a:solidFill>
                          <a:srgbClr val="00A6EB"/>
                        </a:solidFill>
                        <a:effectLst/>
                        <a:latin typeface="Arial Black" panose="020B0A04020102020204" pitchFamily="34" charset="0"/>
                        <a:ea typeface="SimSun" panose="02010600030101010101" pitchFamily="2" charset="-122"/>
                        <a:cs typeface="Arial" panose="020B0604020202020204" pitchFamily="34"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marL="0" marR="0">
                        <a:lnSpc>
                          <a:spcPct val="115000"/>
                        </a:lnSpc>
                        <a:spcAft>
                          <a:spcPts val="600"/>
                        </a:spcAft>
                        <a:buNone/>
                      </a:pPr>
                      <a:r>
                        <a:rPr lang="en-US" sz="1600" dirty="0">
                          <a:solidFill>
                            <a:srgbClr val="002650"/>
                          </a:solidFill>
                          <a:effectLst/>
                          <a:latin typeface="Arial Black" panose="020B0A04020102020204" pitchFamily="34" charset="0"/>
                          <a:ea typeface="SimSun" panose="02010600030101010101" pitchFamily="2" charset="-122"/>
                          <a:cs typeface="Arial" panose="020B0604020202020204" pitchFamily="34" charset="0"/>
                        </a:rPr>
                        <a:t>85</a:t>
                      </a:r>
                      <a:endParaRPr lang="en-US" sz="1600" dirty="0">
                        <a:solidFill>
                          <a:srgbClr val="00A6EB"/>
                        </a:solidFill>
                        <a:effectLst/>
                        <a:latin typeface="Arial Black" panose="020B0A04020102020204" pitchFamily="34" charset="0"/>
                        <a:ea typeface="SimSun" panose="02010600030101010101" pitchFamily="2" charset="-122"/>
                        <a:cs typeface="Arial" panose="020B0604020202020204" pitchFamily="34"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32901040"/>
                  </a:ext>
                </a:extLst>
              </a:tr>
              <a:tr h="338289">
                <a:tc>
                  <a:txBody>
                    <a:bodyPr/>
                    <a:lstStyle/>
                    <a:p>
                      <a:pPr marL="0" marR="0">
                        <a:lnSpc>
                          <a:spcPct val="115000"/>
                        </a:lnSpc>
                        <a:spcAft>
                          <a:spcPts val="1000"/>
                        </a:spcAft>
                        <a:buNone/>
                      </a:pPr>
                      <a:r>
                        <a:rPr lang="en-US" sz="16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F0134</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Leveling Additive</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0%</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7-3.1</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2.4</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76.2</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91.5</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80394301"/>
                  </a:ext>
                </a:extLst>
              </a:tr>
              <a:tr h="338289">
                <a:tc>
                  <a:txBody>
                    <a:bodyPr/>
                    <a:lstStyle/>
                    <a:p>
                      <a:pPr marL="0" marR="0">
                        <a:lnSpc>
                          <a:spcPct val="115000"/>
                        </a:lnSpc>
                        <a:spcAft>
                          <a:spcPts val="1000"/>
                        </a:spcAft>
                        <a:buNone/>
                      </a:pPr>
                      <a:r>
                        <a:rPr lang="en-US" sz="16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F0135</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SimSun" panose="02010600030101010101" pitchFamily="2" charset="-122"/>
                          <a:cs typeface="Times New Roman" panose="02020603050405020304" pitchFamily="18" charset="0"/>
                        </a:rPr>
                        <a:t>PTFE-Additive</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5%</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8-3.1</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2</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5</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838943179"/>
                  </a:ext>
                </a:extLst>
              </a:tr>
              <a:tr h="338289">
                <a:tc>
                  <a:txBody>
                    <a:bodyPr/>
                    <a:lstStyle/>
                    <a:p>
                      <a:pPr marL="0" marR="0">
                        <a:lnSpc>
                          <a:spcPct val="115000"/>
                        </a:lnSpc>
                        <a:spcAft>
                          <a:spcPts val="1000"/>
                        </a:spcAft>
                        <a:buNone/>
                      </a:pPr>
                      <a:r>
                        <a:rPr lang="en-US" sz="16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F0136</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SimSun" panose="02010600030101010101" pitchFamily="2" charset="-122"/>
                          <a:cs typeface="Times New Roman" panose="02020603050405020304" pitchFamily="18" charset="0"/>
                        </a:rPr>
                        <a:t>ORGANOCLAY-C (HY)</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4.00%</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7-3.2</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2</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6</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85647792"/>
                  </a:ext>
                </a:extLst>
              </a:tr>
              <a:tr h="338289">
                <a:tc>
                  <a:txBody>
                    <a:bodyPr/>
                    <a:lstStyle/>
                    <a:p>
                      <a:pPr marL="0" marR="0">
                        <a:lnSpc>
                          <a:spcPct val="115000"/>
                        </a:lnSpc>
                        <a:spcAft>
                          <a:spcPts val="1000"/>
                        </a:spcAft>
                        <a:buNone/>
                      </a:pPr>
                      <a:r>
                        <a:rPr lang="en-US" sz="16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F0137</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ORGANOCLAY-C (4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4.00%</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6-3.0</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2</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7</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85013928"/>
                  </a:ext>
                </a:extLst>
              </a:tr>
              <a:tr h="338289">
                <a:tc>
                  <a:txBody>
                    <a:bodyPr/>
                    <a:lstStyle/>
                    <a:p>
                      <a:pPr marL="0" marR="0">
                        <a:lnSpc>
                          <a:spcPct val="115000"/>
                        </a:lnSpc>
                        <a:spcAft>
                          <a:spcPts val="1000"/>
                        </a:spcAft>
                        <a:buNone/>
                      </a:pPr>
                      <a:r>
                        <a:rPr lang="en-US" sz="16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F0138</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ORGANOCLAY-G (7305)</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00%</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7-3.2</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1</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95470466"/>
                  </a:ext>
                </a:extLst>
              </a:tr>
              <a:tr h="338289">
                <a:tc>
                  <a:txBody>
                    <a:bodyPr/>
                    <a:lstStyle/>
                    <a:p>
                      <a:pPr marL="0" marR="0">
                        <a:lnSpc>
                          <a:spcPct val="115000"/>
                        </a:lnSpc>
                        <a:spcAft>
                          <a:spcPts val="1000"/>
                        </a:spcAft>
                        <a:buNone/>
                      </a:pPr>
                      <a:r>
                        <a:rPr lang="en-US" sz="16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F0139</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ORGANOCLAY-G (195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4.00%</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3.0</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0.9</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9.1</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7</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83584655"/>
                  </a:ext>
                </a:extLst>
              </a:tr>
              <a:tr h="338289">
                <a:tc>
                  <a:txBody>
                    <a:bodyPr/>
                    <a:lstStyle/>
                    <a:p>
                      <a:pPr marL="0" marR="0">
                        <a:lnSpc>
                          <a:spcPct val="115000"/>
                        </a:lnSpc>
                        <a:spcAft>
                          <a:spcPts val="1000"/>
                        </a:spcAft>
                        <a:buNone/>
                      </a:pPr>
                      <a:r>
                        <a:rPr lang="en-US" sz="16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F0140</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CLAY-HY/GA-7305(2%/2%)</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6-3.3</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3</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r">
                        <a:lnSpc>
                          <a:spcPct val="115000"/>
                        </a:lnSpc>
                        <a:spcAft>
                          <a:spcPts val="1000"/>
                        </a:spcAf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r">
                        <a:lnSpc>
                          <a:spcPct val="115000"/>
                        </a:lnSpc>
                        <a:spcAft>
                          <a:spcPts val="1000"/>
                        </a:spcAf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7</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598137458"/>
                  </a:ext>
                </a:extLst>
              </a:tr>
              <a:tr h="338289">
                <a:tc>
                  <a:txBody>
                    <a:bodyPr/>
                    <a:lstStyle/>
                    <a:p>
                      <a:pPr marL="0" marR="0">
                        <a:lnSpc>
                          <a:spcPct val="115000"/>
                        </a:lnSpc>
                        <a:spcAft>
                          <a:spcPts val="1000"/>
                        </a:spcAft>
                        <a:buNone/>
                      </a:pPr>
                      <a:r>
                        <a:rPr lang="en-US" sz="16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F0141</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CLAY-HY/GA-7305/HDPE(1%)</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1%</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8-3.4</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1</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algn="r">
                        <a:lnSpc>
                          <a:spcPct val="115000"/>
                        </a:lnSpc>
                        <a:spcAft>
                          <a:spcPts val="1000"/>
                        </a:spcAft>
                        <a:buNone/>
                      </a:pPr>
                      <a:r>
                        <a:rPr lang="en-US" sz="16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algn="r">
                        <a:lnSpc>
                          <a:spcPct val="115000"/>
                        </a:lnSpc>
                        <a:spcAft>
                          <a:spcPts val="1000"/>
                        </a:spcAf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641571615"/>
                  </a:ext>
                </a:extLst>
              </a:tr>
            </a:tbl>
          </a:graphicData>
        </a:graphic>
      </p:graphicFrame>
      <p:sp>
        <p:nvSpPr>
          <p:cNvPr id="4" name="Date Placeholder 3">
            <a:extLst>
              <a:ext uri="{FF2B5EF4-FFF2-40B4-BE49-F238E27FC236}">
                <a16:creationId xmlns:a16="http://schemas.microsoft.com/office/drawing/2014/main" id="{8D172453-1482-0215-0721-FC3E4E87798E}"/>
              </a:ext>
            </a:extLst>
          </p:cNvPr>
          <p:cNvSpPr>
            <a:spLocks noGrp="1"/>
          </p:cNvSpPr>
          <p:nvPr>
            <p:ph type="dt" sz="half" idx="10"/>
          </p:nvPr>
        </p:nvSpPr>
        <p:spPr/>
        <p:txBody>
          <a:bodyPr/>
          <a:lstStyle/>
          <a:p>
            <a:r>
              <a:rPr lang="en-US"/>
              <a:t>September 2025</a:t>
            </a:r>
            <a:endParaRPr lang="en-US" dirty="0"/>
          </a:p>
        </p:txBody>
      </p:sp>
      <p:sp>
        <p:nvSpPr>
          <p:cNvPr id="5" name="Footer Placeholder 4">
            <a:extLst>
              <a:ext uri="{FF2B5EF4-FFF2-40B4-BE49-F238E27FC236}">
                <a16:creationId xmlns:a16="http://schemas.microsoft.com/office/drawing/2014/main" id="{90D54069-4438-7024-74D9-03348E9E9599}"/>
              </a:ext>
            </a:extLst>
          </p:cNvPr>
          <p:cNvSpPr>
            <a:spLocks noGrp="1"/>
          </p:cNvSpPr>
          <p:nvPr>
            <p:ph type="ftr" sz="quarter" idx="11"/>
          </p:nvPr>
        </p:nvSpPr>
        <p:spPr/>
        <p:txBody>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CC5B190F-472D-E3A1-1023-7CB526EFE413}"/>
              </a:ext>
            </a:extLst>
          </p:cNvPr>
          <p:cNvSpPr>
            <a:spLocks noGrp="1"/>
          </p:cNvSpPr>
          <p:nvPr>
            <p:ph type="sldNum" sz="quarter" idx="12"/>
          </p:nvPr>
        </p:nvSpPr>
        <p:spPr/>
        <p:txBody>
          <a:bodyPr/>
          <a:lstStyle/>
          <a:p>
            <a:r>
              <a:rPr lang="de-DE"/>
              <a:t>Page </a:t>
            </a:r>
            <a:fld id="{8F63C9D9-3015-4EB3-9DF0-04DE0400ED04}" type="slidenum">
              <a:rPr smtClean="0"/>
              <a:pPr/>
              <a:t>17</a:t>
            </a:fld>
            <a:endParaRPr dirty="0"/>
          </a:p>
        </p:txBody>
      </p:sp>
      <p:graphicFrame>
        <p:nvGraphicFramePr>
          <p:cNvPr id="8" name="Chart 7">
            <a:extLst>
              <a:ext uri="{FF2B5EF4-FFF2-40B4-BE49-F238E27FC236}">
                <a16:creationId xmlns:a16="http://schemas.microsoft.com/office/drawing/2014/main" id="{1B87CAF7-78A5-37B1-CEC3-C398C10FA3C3}"/>
              </a:ext>
            </a:extLst>
          </p:cNvPr>
          <p:cNvGraphicFramePr/>
          <p:nvPr>
            <p:extLst>
              <p:ext uri="{D42A27DB-BD31-4B8C-83A1-F6EECF244321}">
                <p14:modId xmlns:p14="http://schemas.microsoft.com/office/powerpoint/2010/main" val="2782106922"/>
              </p:ext>
            </p:extLst>
          </p:nvPr>
        </p:nvGraphicFramePr>
        <p:xfrm>
          <a:off x="479376" y="3681025"/>
          <a:ext cx="10837203" cy="28324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66443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11B1F-4226-5098-D742-F97C391B0BF2}"/>
              </a:ext>
            </a:extLst>
          </p:cNvPr>
          <p:cNvSpPr>
            <a:spLocks noGrp="1"/>
          </p:cNvSpPr>
          <p:nvPr>
            <p:ph type="title"/>
          </p:nvPr>
        </p:nvSpPr>
        <p:spPr>
          <a:xfrm>
            <a:off x="407987" y="188913"/>
            <a:ext cx="11376026" cy="467779"/>
          </a:xfrm>
        </p:spPr>
        <p:txBody>
          <a:bodyPr/>
          <a:lstStyle/>
          <a:p>
            <a:r>
              <a:rPr lang="en-US" dirty="0"/>
              <a:t>Flexibility – 1/8</a:t>
            </a:r>
            <a:r>
              <a:rPr lang="en-US" baseline="30000" dirty="0"/>
              <a:t>th</a:t>
            </a:r>
            <a:r>
              <a:rPr lang="en-US" dirty="0"/>
              <a:t> Inch conical Mandrel bend test</a:t>
            </a:r>
          </a:p>
        </p:txBody>
      </p:sp>
      <p:pic>
        <p:nvPicPr>
          <p:cNvPr id="8" name="Content Placeholder 7">
            <a:extLst>
              <a:ext uri="{FF2B5EF4-FFF2-40B4-BE49-F238E27FC236}">
                <a16:creationId xmlns:a16="http://schemas.microsoft.com/office/drawing/2014/main" id="{A6D25FCC-BD47-2103-7EE1-8291BA3BCFD4}"/>
              </a:ext>
            </a:extLst>
          </p:cNvPr>
          <p:cNvPicPr>
            <a:picLocks noGrp="1" noChangeAspect="1"/>
          </p:cNvPicPr>
          <p:nvPr>
            <p:ph idx="1"/>
          </p:nvPr>
        </p:nvPicPr>
        <p:blipFill rotWithShape="1">
          <a:blip r:embed="rId2"/>
          <a:srcRect b="9960"/>
          <a:stretch>
            <a:fillRect/>
          </a:stretch>
        </p:blipFill>
        <p:spPr>
          <a:xfrm>
            <a:off x="839416" y="656693"/>
            <a:ext cx="10009112" cy="2496180"/>
          </a:xfrm>
        </p:spPr>
      </p:pic>
      <p:sp>
        <p:nvSpPr>
          <p:cNvPr id="4" name="Date Placeholder 3">
            <a:extLst>
              <a:ext uri="{FF2B5EF4-FFF2-40B4-BE49-F238E27FC236}">
                <a16:creationId xmlns:a16="http://schemas.microsoft.com/office/drawing/2014/main" id="{D6B8040B-403D-5312-9302-80DB58DAFD5E}"/>
              </a:ext>
            </a:extLst>
          </p:cNvPr>
          <p:cNvSpPr>
            <a:spLocks noGrp="1"/>
          </p:cNvSpPr>
          <p:nvPr>
            <p:ph type="dt" sz="half" idx="10"/>
          </p:nvPr>
        </p:nvSpPr>
        <p:spPr/>
        <p:txBody>
          <a:bodyPr/>
          <a:lstStyle/>
          <a:p>
            <a:r>
              <a:rPr lang="en-US"/>
              <a:t>September 2025</a:t>
            </a:r>
            <a:endParaRPr lang="en-US" dirty="0"/>
          </a:p>
        </p:txBody>
      </p:sp>
      <p:sp>
        <p:nvSpPr>
          <p:cNvPr id="5" name="Footer Placeholder 4">
            <a:extLst>
              <a:ext uri="{FF2B5EF4-FFF2-40B4-BE49-F238E27FC236}">
                <a16:creationId xmlns:a16="http://schemas.microsoft.com/office/drawing/2014/main" id="{128500A0-B1DE-7D70-99F4-A2F88317DCA0}"/>
              </a:ext>
            </a:extLst>
          </p:cNvPr>
          <p:cNvSpPr>
            <a:spLocks noGrp="1"/>
          </p:cNvSpPr>
          <p:nvPr>
            <p:ph type="ftr" sz="quarter" idx="11"/>
          </p:nvPr>
        </p:nvSpPr>
        <p:spPr/>
        <p:txBody>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961B2D89-8318-07BD-4ED6-19A5A66170AC}"/>
              </a:ext>
            </a:extLst>
          </p:cNvPr>
          <p:cNvSpPr>
            <a:spLocks noGrp="1"/>
          </p:cNvSpPr>
          <p:nvPr>
            <p:ph type="sldNum" sz="quarter" idx="12"/>
          </p:nvPr>
        </p:nvSpPr>
        <p:spPr/>
        <p:txBody>
          <a:bodyPr/>
          <a:lstStyle/>
          <a:p>
            <a:r>
              <a:rPr lang="de-DE"/>
              <a:t>Page </a:t>
            </a:r>
            <a:fld id="{8F63C9D9-3015-4EB3-9DF0-04DE0400ED04}" type="slidenum">
              <a:rPr smtClean="0"/>
              <a:pPr/>
              <a:t>18</a:t>
            </a:fld>
            <a:endParaRPr dirty="0"/>
          </a:p>
        </p:txBody>
      </p:sp>
      <p:pic>
        <p:nvPicPr>
          <p:cNvPr id="10" name="Picture 9">
            <a:extLst>
              <a:ext uri="{FF2B5EF4-FFF2-40B4-BE49-F238E27FC236}">
                <a16:creationId xmlns:a16="http://schemas.microsoft.com/office/drawing/2014/main" id="{C2D7CE96-193B-9E08-2282-8581AC120021}"/>
              </a:ext>
            </a:extLst>
          </p:cNvPr>
          <p:cNvPicPr>
            <a:picLocks noChangeAspect="1"/>
          </p:cNvPicPr>
          <p:nvPr/>
        </p:nvPicPr>
        <p:blipFill>
          <a:blip r:embed="rId3"/>
          <a:srcRect b="8975"/>
          <a:stretch>
            <a:fillRect/>
          </a:stretch>
        </p:blipFill>
        <p:spPr>
          <a:xfrm>
            <a:off x="767408" y="3501008"/>
            <a:ext cx="10153128" cy="2556284"/>
          </a:xfrm>
          <a:prstGeom prst="rect">
            <a:avLst/>
          </a:prstGeom>
        </p:spPr>
      </p:pic>
      <p:sp>
        <p:nvSpPr>
          <p:cNvPr id="3" name="TextBox 2">
            <a:extLst>
              <a:ext uri="{FF2B5EF4-FFF2-40B4-BE49-F238E27FC236}">
                <a16:creationId xmlns:a16="http://schemas.microsoft.com/office/drawing/2014/main" id="{2C03AA10-A8D5-0A8D-C308-61198FE43817}"/>
              </a:ext>
            </a:extLst>
          </p:cNvPr>
          <p:cNvSpPr txBox="1"/>
          <p:nvPr/>
        </p:nvSpPr>
        <p:spPr>
          <a:xfrm>
            <a:off x="515380" y="3032956"/>
            <a:ext cx="10513168" cy="338554"/>
          </a:xfrm>
          <a:prstGeom prst="rect">
            <a:avLst/>
          </a:prstGeom>
          <a:noFill/>
        </p:spPr>
        <p:txBody>
          <a:bodyPr wrap="square" rtlCol="0">
            <a:spAutoFit/>
          </a:bodyPr>
          <a:lstStyle/>
          <a:p>
            <a:pPr algn="l"/>
            <a:r>
              <a:rPr lang="en-US" dirty="0"/>
              <a:t>          1% LEVELING 	             0.5% PTFE          4% ORGANOCLAY-C HY           4% ORGANOCLAY-C 40</a:t>
            </a:r>
          </a:p>
        </p:txBody>
      </p:sp>
      <p:sp>
        <p:nvSpPr>
          <p:cNvPr id="7" name="TextBox 6">
            <a:extLst>
              <a:ext uri="{FF2B5EF4-FFF2-40B4-BE49-F238E27FC236}">
                <a16:creationId xmlns:a16="http://schemas.microsoft.com/office/drawing/2014/main" id="{13FDDD8C-965E-BC79-4032-D2F5B0E94A1B}"/>
              </a:ext>
            </a:extLst>
          </p:cNvPr>
          <p:cNvSpPr txBox="1"/>
          <p:nvPr/>
        </p:nvSpPr>
        <p:spPr>
          <a:xfrm>
            <a:off x="407368" y="6080588"/>
            <a:ext cx="11376026" cy="338554"/>
          </a:xfrm>
          <a:prstGeom prst="rect">
            <a:avLst/>
          </a:prstGeom>
          <a:noFill/>
        </p:spPr>
        <p:txBody>
          <a:bodyPr wrap="square" rtlCol="0">
            <a:spAutoFit/>
          </a:bodyPr>
          <a:lstStyle/>
          <a:p>
            <a:pPr algn="l"/>
            <a:r>
              <a:rPr lang="en-US" dirty="0"/>
              <a:t>4% ORGANOCLAY-G 7305      4%ORGANOCLAY-G 1958      CLAY-HY/GA 7305 (2/2%)     CLAY-HY/GA/HDPE (2/2/1%)</a:t>
            </a:r>
          </a:p>
        </p:txBody>
      </p:sp>
    </p:spTree>
    <p:extLst>
      <p:ext uri="{BB962C8B-B14F-4D97-AF65-F5344CB8AC3E}">
        <p14:creationId xmlns:p14="http://schemas.microsoft.com/office/powerpoint/2010/main" val="9060015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A9C31-CE80-F118-89F5-65F49120D8D3}"/>
              </a:ext>
            </a:extLst>
          </p:cNvPr>
          <p:cNvSpPr>
            <a:spLocks noGrp="1"/>
          </p:cNvSpPr>
          <p:nvPr>
            <p:ph type="title"/>
          </p:nvPr>
        </p:nvSpPr>
        <p:spPr>
          <a:xfrm>
            <a:off x="407987" y="188913"/>
            <a:ext cx="11376026" cy="503783"/>
          </a:xfrm>
        </p:spPr>
        <p:txBody>
          <a:bodyPr/>
          <a:lstStyle/>
          <a:p>
            <a:r>
              <a:rPr lang="en-US" dirty="0"/>
              <a:t>Scratch Mar Evaluation – ERICHSEN Scratch Tester – 14 newtons</a:t>
            </a:r>
          </a:p>
        </p:txBody>
      </p:sp>
      <p:pic>
        <p:nvPicPr>
          <p:cNvPr id="8" name="Content Placeholder 7">
            <a:extLst>
              <a:ext uri="{FF2B5EF4-FFF2-40B4-BE49-F238E27FC236}">
                <a16:creationId xmlns:a16="http://schemas.microsoft.com/office/drawing/2014/main" id="{06CD4652-3E29-A61B-51A4-F463593AA6E7}"/>
              </a:ext>
            </a:extLst>
          </p:cNvPr>
          <p:cNvPicPr>
            <a:picLocks noGrp="1" noChangeAspect="1"/>
          </p:cNvPicPr>
          <p:nvPr>
            <p:ph idx="1"/>
          </p:nvPr>
        </p:nvPicPr>
        <p:blipFill rotWithShape="1">
          <a:blip r:embed="rId2"/>
          <a:srcRect t="9156" b="8450"/>
          <a:stretch>
            <a:fillRect/>
          </a:stretch>
        </p:blipFill>
        <p:spPr>
          <a:xfrm>
            <a:off x="1199456" y="1628800"/>
            <a:ext cx="9793088" cy="4212468"/>
          </a:xfrm>
        </p:spPr>
      </p:pic>
      <p:sp>
        <p:nvSpPr>
          <p:cNvPr id="4" name="Date Placeholder 3">
            <a:extLst>
              <a:ext uri="{FF2B5EF4-FFF2-40B4-BE49-F238E27FC236}">
                <a16:creationId xmlns:a16="http://schemas.microsoft.com/office/drawing/2014/main" id="{AA2074B5-208E-245E-8A9A-5A9C13A7603F}"/>
              </a:ext>
            </a:extLst>
          </p:cNvPr>
          <p:cNvSpPr>
            <a:spLocks noGrp="1"/>
          </p:cNvSpPr>
          <p:nvPr>
            <p:ph type="dt" sz="half" idx="10"/>
          </p:nvPr>
        </p:nvSpPr>
        <p:spPr/>
        <p:txBody>
          <a:bodyPr/>
          <a:lstStyle/>
          <a:p>
            <a:r>
              <a:rPr lang="en-US"/>
              <a:t>September 2025</a:t>
            </a:r>
            <a:endParaRPr lang="en-US" dirty="0"/>
          </a:p>
        </p:txBody>
      </p:sp>
      <p:sp>
        <p:nvSpPr>
          <p:cNvPr id="5" name="Footer Placeholder 4">
            <a:extLst>
              <a:ext uri="{FF2B5EF4-FFF2-40B4-BE49-F238E27FC236}">
                <a16:creationId xmlns:a16="http://schemas.microsoft.com/office/drawing/2014/main" id="{86A2A555-AF6B-17AC-29D4-9DE760819404}"/>
              </a:ext>
            </a:extLst>
          </p:cNvPr>
          <p:cNvSpPr>
            <a:spLocks noGrp="1"/>
          </p:cNvSpPr>
          <p:nvPr>
            <p:ph type="ftr" sz="quarter" idx="11"/>
          </p:nvPr>
        </p:nvSpPr>
        <p:spPr/>
        <p:txBody>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D3F30E2D-3D7E-2869-678A-5CC9C25DEB01}"/>
              </a:ext>
            </a:extLst>
          </p:cNvPr>
          <p:cNvSpPr>
            <a:spLocks noGrp="1"/>
          </p:cNvSpPr>
          <p:nvPr>
            <p:ph type="sldNum" sz="quarter" idx="12"/>
          </p:nvPr>
        </p:nvSpPr>
        <p:spPr/>
        <p:txBody>
          <a:bodyPr/>
          <a:lstStyle/>
          <a:p>
            <a:r>
              <a:rPr lang="de-DE"/>
              <a:t>Page </a:t>
            </a:r>
            <a:fld id="{8F63C9D9-3015-4EB3-9DF0-04DE0400ED04}" type="slidenum">
              <a:rPr smtClean="0"/>
              <a:pPr/>
              <a:t>19</a:t>
            </a:fld>
            <a:endParaRPr dirty="0"/>
          </a:p>
        </p:txBody>
      </p:sp>
      <p:sp>
        <p:nvSpPr>
          <p:cNvPr id="3" name="TextBox 2">
            <a:extLst>
              <a:ext uri="{FF2B5EF4-FFF2-40B4-BE49-F238E27FC236}">
                <a16:creationId xmlns:a16="http://schemas.microsoft.com/office/drawing/2014/main" id="{3A17E0B7-5F62-1955-AD76-52AC2DAABBF6}"/>
              </a:ext>
            </a:extLst>
          </p:cNvPr>
          <p:cNvSpPr txBox="1"/>
          <p:nvPr/>
        </p:nvSpPr>
        <p:spPr>
          <a:xfrm>
            <a:off x="407368" y="6008076"/>
            <a:ext cx="11376026" cy="338554"/>
          </a:xfrm>
          <a:prstGeom prst="rect">
            <a:avLst/>
          </a:prstGeom>
          <a:noFill/>
        </p:spPr>
        <p:txBody>
          <a:bodyPr wrap="square" rtlCol="0">
            <a:spAutoFit/>
          </a:bodyPr>
          <a:lstStyle/>
          <a:p>
            <a:pPr algn="l"/>
            <a:r>
              <a:rPr lang="en-US" dirty="0"/>
              <a:t>4%ORGANOCLAY-G 7305         4%ORGANOCLAY-G 1958    CLAY-HY/GA 7305 (2/2%)     CLAY-HY/GA/HDPE (2/2/1%)</a:t>
            </a:r>
          </a:p>
        </p:txBody>
      </p:sp>
      <p:sp>
        <p:nvSpPr>
          <p:cNvPr id="7" name="TextBox 6">
            <a:extLst>
              <a:ext uri="{FF2B5EF4-FFF2-40B4-BE49-F238E27FC236}">
                <a16:creationId xmlns:a16="http://schemas.microsoft.com/office/drawing/2014/main" id="{0A5D9DAA-7573-BB07-131C-4BA5C3AF0616}"/>
              </a:ext>
            </a:extLst>
          </p:cNvPr>
          <p:cNvSpPr txBox="1"/>
          <p:nvPr/>
        </p:nvSpPr>
        <p:spPr>
          <a:xfrm>
            <a:off x="1027834" y="1370003"/>
            <a:ext cx="10657184" cy="338554"/>
          </a:xfrm>
          <a:prstGeom prst="rect">
            <a:avLst/>
          </a:prstGeom>
          <a:noFill/>
        </p:spPr>
        <p:txBody>
          <a:bodyPr wrap="square" rtlCol="0">
            <a:spAutoFit/>
          </a:bodyPr>
          <a:lstStyle/>
          <a:p>
            <a:pPr algn="l"/>
            <a:r>
              <a:rPr lang="en-US" dirty="0"/>
              <a:t>         1% LEVELING 	   0.5% PTFE          4% ORGANOCLAY-C HY       4% ORGANOCLAY-C 40</a:t>
            </a:r>
          </a:p>
        </p:txBody>
      </p:sp>
    </p:spTree>
    <p:extLst>
      <p:ext uri="{BB962C8B-B14F-4D97-AF65-F5344CB8AC3E}">
        <p14:creationId xmlns:p14="http://schemas.microsoft.com/office/powerpoint/2010/main" val="2577862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A2FEB2-7F9D-E1F4-B513-68E87D5937DE}"/>
              </a:ext>
            </a:extLst>
          </p:cNvPr>
          <p:cNvSpPr>
            <a:spLocks noGrp="1"/>
          </p:cNvSpPr>
          <p:nvPr>
            <p:ph type="title"/>
          </p:nvPr>
        </p:nvSpPr>
        <p:spPr>
          <a:xfrm>
            <a:off x="407987" y="188913"/>
            <a:ext cx="11376026" cy="1008062"/>
          </a:xfrm>
        </p:spPr>
        <p:txBody>
          <a:bodyPr wrap="square" anchor="t">
            <a:normAutofit/>
          </a:bodyPr>
          <a:lstStyle/>
          <a:p>
            <a:r>
              <a:rPr lang="en-US" dirty="0"/>
              <a:t>Table of Contents</a:t>
            </a:r>
          </a:p>
        </p:txBody>
      </p:sp>
      <p:sp>
        <p:nvSpPr>
          <p:cNvPr id="4" name="Date Placeholder 3">
            <a:extLst>
              <a:ext uri="{FF2B5EF4-FFF2-40B4-BE49-F238E27FC236}">
                <a16:creationId xmlns:a16="http://schemas.microsoft.com/office/drawing/2014/main" id="{834E55B7-0BBD-AD49-49F8-9CB8251C491E}"/>
              </a:ext>
            </a:extLst>
          </p:cNvPr>
          <p:cNvSpPr>
            <a:spLocks noGrp="1"/>
          </p:cNvSpPr>
          <p:nvPr>
            <p:ph type="dt" sz="half" idx="10"/>
          </p:nvPr>
        </p:nvSpPr>
        <p:spPr>
          <a:xfrm>
            <a:off x="1127448" y="6523883"/>
            <a:ext cx="792088" cy="123111"/>
          </a:xfrm>
        </p:spPr>
        <p:txBody>
          <a:bodyPr wrap="square" anchor="ctr">
            <a:normAutofit/>
          </a:bodyPr>
          <a:lstStyle/>
          <a:p>
            <a:r>
              <a:rPr lang="en-US"/>
              <a:t>September 2025</a:t>
            </a:r>
            <a:endParaRPr lang="en-US" dirty="0"/>
          </a:p>
        </p:txBody>
      </p:sp>
      <p:sp>
        <p:nvSpPr>
          <p:cNvPr id="5" name="Footer Placeholder 4">
            <a:extLst>
              <a:ext uri="{FF2B5EF4-FFF2-40B4-BE49-F238E27FC236}">
                <a16:creationId xmlns:a16="http://schemas.microsoft.com/office/drawing/2014/main" id="{4D5B0518-6B5C-8801-9035-163FE7320179}"/>
              </a:ext>
            </a:extLst>
          </p:cNvPr>
          <p:cNvSpPr>
            <a:spLocks noGrp="1"/>
          </p:cNvSpPr>
          <p:nvPr>
            <p:ph type="ftr" sz="quarter" idx="11"/>
          </p:nvPr>
        </p:nvSpPr>
        <p:spPr>
          <a:xfrm>
            <a:off x="1992796" y="6523884"/>
            <a:ext cx="8207660" cy="123111"/>
          </a:xfrm>
        </p:spPr>
        <p:txBody>
          <a:bodyPr wrap="square" anchor="ctr">
            <a:normAutofit/>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51628B3A-2118-8778-13A8-06307E300A7E}"/>
              </a:ext>
            </a:extLst>
          </p:cNvPr>
          <p:cNvSpPr>
            <a:spLocks noGrp="1"/>
          </p:cNvSpPr>
          <p:nvPr>
            <p:ph type="sldNum" sz="quarter" idx="12"/>
          </p:nvPr>
        </p:nvSpPr>
        <p:spPr>
          <a:xfrm>
            <a:off x="407986" y="6523884"/>
            <a:ext cx="646202" cy="123111"/>
          </a:xfrm>
        </p:spPr>
        <p:txBody>
          <a:bodyPr wrap="square" anchor="ctr">
            <a:normAutofit/>
          </a:bodyPr>
          <a:lstStyle/>
          <a:p>
            <a:pPr>
              <a:spcAft>
                <a:spcPts val="600"/>
              </a:spcAft>
            </a:pPr>
            <a:r>
              <a:rPr lang="de-DE"/>
              <a:t>Page </a:t>
            </a:r>
            <a:fld id="{8F63C9D9-3015-4EB3-9DF0-04DE0400ED04}" type="slidenum">
              <a:rPr smtClean="0"/>
              <a:pPr>
                <a:spcAft>
                  <a:spcPts val="600"/>
                </a:spcAft>
              </a:pPr>
              <a:t>2</a:t>
            </a:fld>
            <a:endParaRPr lang="en-US"/>
          </a:p>
        </p:txBody>
      </p:sp>
      <p:graphicFrame>
        <p:nvGraphicFramePr>
          <p:cNvPr id="10" name="Content Placeholder 2">
            <a:extLst>
              <a:ext uri="{FF2B5EF4-FFF2-40B4-BE49-F238E27FC236}">
                <a16:creationId xmlns:a16="http://schemas.microsoft.com/office/drawing/2014/main" id="{A5E7A6BC-726A-FAB4-EAEE-4E651D6BCC18}"/>
              </a:ext>
            </a:extLst>
          </p:cNvPr>
          <p:cNvGraphicFramePr>
            <a:graphicFrameLocks noGrp="1"/>
          </p:cNvGraphicFramePr>
          <p:nvPr>
            <p:ph idx="1"/>
            <p:extLst>
              <p:ext uri="{D42A27DB-BD31-4B8C-83A1-F6EECF244321}">
                <p14:modId xmlns:p14="http://schemas.microsoft.com/office/powerpoint/2010/main" val="1009587300"/>
              </p:ext>
            </p:extLst>
          </p:nvPr>
        </p:nvGraphicFramePr>
        <p:xfrm>
          <a:off x="407368" y="1209907"/>
          <a:ext cx="11376645" cy="5101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72396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ABA59-974A-4F1E-D826-0363D58A8DC3}"/>
              </a:ext>
            </a:extLst>
          </p:cNvPr>
          <p:cNvSpPr>
            <a:spLocks noGrp="1"/>
          </p:cNvSpPr>
          <p:nvPr>
            <p:ph type="title"/>
          </p:nvPr>
        </p:nvSpPr>
        <p:spPr>
          <a:xfrm>
            <a:off x="407987" y="188913"/>
            <a:ext cx="11376026" cy="812872"/>
          </a:xfrm>
        </p:spPr>
        <p:txBody>
          <a:bodyPr/>
          <a:lstStyle/>
          <a:p>
            <a:r>
              <a:rPr lang="en-US" dirty="0"/>
              <a:t>Case Study 1 on PTFE-Fee Additives – Pellet flow test</a:t>
            </a:r>
          </a:p>
        </p:txBody>
      </p:sp>
      <p:sp>
        <p:nvSpPr>
          <p:cNvPr id="4" name="Date Placeholder 3">
            <a:extLst>
              <a:ext uri="{FF2B5EF4-FFF2-40B4-BE49-F238E27FC236}">
                <a16:creationId xmlns:a16="http://schemas.microsoft.com/office/drawing/2014/main" id="{4C3FE47D-CD9F-1028-946D-2DC520B56FF6}"/>
              </a:ext>
            </a:extLst>
          </p:cNvPr>
          <p:cNvSpPr>
            <a:spLocks noGrp="1"/>
          </p:cNvSpPr>
          <p:nvPr>
            <p:ph type="dt" sz="half" idx="10"/>
          </p:nvPr>
        </p:nvSpPr>
        <p:spPr/>
        <p:txBody>
          <a:bodyPr/>
          <a:lstStyle/>
          <a:p>
            <a:r>
              <a:rPr lang="en-US"/>
              <a:t>September 2025</a:t>
            </a:r>
            <a:endParaRPr lang="en-US" dirty="0"/>
          </a:p>
        </p:txBody>
      </p:sp>
      <p:sp>
        <p:nvSpPr>
          <p:cNvPr id="5" name="Footer Placeholder 4">
            <a:extLst>
              <a:ext uri="{FF2B5EF4-FFF2-40B4-BE49-F238E27FC236}">
                <a16:creationId xmlns:a16="http://schemas.microsoft.com/office/drawing/2014/main" id="{03849DAF-4E6F-F145-F026-E8724D1BF6E9}"/>
              </a:ext>
            </a:extLst>
          </p:cNvPr>
          <p:cNvSpPr>
            <a:spLocks noGrp="1"/>
          </p:cNvSpPr>
          <p:nvPr>
            <p:ph type="ftr" sz="quarter" idx="11"/>
          </p:nvPr>
        </p:nvSpPr>
        <p:spPr/>
        <p:txBody>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B3689330-D869-A500-2549-596A5EB696C2}"/>
              </a:ext>
            </a:extLst>
          </p:cNvPr>
          <p:cNvSpPr>
            <a:spLocks noGrp="1"/>
          </p:cNvSpPr>
          <p:nvPr>
            <p:ph type="sldNum" sz="quarter" idx="12"/>
          </p:nvPr>
        </p:nvSpPr>
        <p:spPr/>
        <p:txBody>
          <a:bodyPr/>
          <a:lstStyle/>
          <a:p>
            <a:r>
              <a:rPr lang="de-DE"/>
              <a:t>Page </a:t>
            </a:r>
            <a:fld id="{8F63C9D9-3015-4EB3-9DF0-04DE0400ED04}" type="slidenum">
              <a:rPr smtClean="0"/>
              <a:pPr/>
              <a:t>20</a:t>
            </a:fld>
            <a:endParaRPr dirty="0"/>
          </a:p>
        </p:txBody>
      </p:sp>
      <p:graphicFrame>
        <p:nvGraphicFramePr>
          <p:cNvPr id="7" name="Content Placeholder 6">
            <a:extLst>
              <a:ext uri="{FF2B5EF4-FFF2-40B4-BE49-F238E27FC236}">
                <a16:creationId xmlns:a16="http://schemas.microsoft.com/office/drawing/2014/main" id="{0EE32BAD-47CB-8363-3083-48E2260F8B9B}"/>
              </a:ext>
            </a:extLst>
          </p:cNvPr>
          <p:cNvGraphicFramePr>
            <a:graphicFrameLocks noGrp="1"/>
          </p:cNvGraphicFramePr>
          <p:nvPr>
            <p:ph idx="1"/>
            <p:extLst>
              <p:ext uri="{D42A27DB-BD31-4B8C-83A1-F6EECF244321}">
                <p14:modId xmlns:p14="http://schemas.microsoft.com/office/powerpoint/2010/main" val="1810253612"/>
              </p:ext>
            </p:extLst>
          </p:nvPr>
        </p:nvGraphicFramePr>
        <p:xfrm>
          <a:off x="407988" y="1206500"/>
          <a:ext cx="11376025" cy="5102225"/>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116E666-646D-1814-296B-22404324F2EE}"/>
              </a:ext>
            </a:extLst>
          </p:cNvPr>
          <p:cNvSpPr txBox="1"/>
          <p:nvPr/>
        </p:nvSpPr>
        <p:spPr>
          <a:xfrm>
            <a:off x="155340" y="1268760"/>
            <a:ext cx="720080" cy="276999"/>
          </a:xfrm>
          <a:prstGeom prst="rect">
            <a:avLst/>
          </a:prstGeom>
          <a:noFill/>
        </p:spPr>
        <p:txBody>
          <a:bodyPr wrap="square" rtlCol="0">
            <a:spAutoFit/>
          </a:bodyPr>
          <a:lstStyle/>
          <a:p>
            <a:r>
              <a:rPr lang="en-US" sz="1200" dirty="0"/>
              <a:t>Inch</a:t>
            </a:r>
          </a:p>
        </p:txBody>
      </p:sp>
    </p:spTree>
    <p:extLst>
      <p:ext uri="{BB962C8B-B14F-4D97-AF65-F5344CB8AC3E}">
        <p14:creationId xmlns:p14="http://schemas.microsoft.com/office/powerpoint/2010/main" val="24000215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D0F79-A973-FAA1-82B1-EBFA3998BEC1}"/>
              </a:ext>
            </a:extLst>
          </p:cNvPr>
          <p:cNvSpPr>
            <a:spLocks noGrp="1"/>
          </p:cNvSpPr>
          <p:nvPr>
            <p:ph type="title"/>
          </p:nvPr>
        </p:nvSpPr>
        <p:spPr>
          <a:xfrm>
            <a:off x="1027835" y="188913"/>
            <a:ext cx="10756178" cy="1008062"/>
          </a:xfrm>
        </p:spPr>
        <p:txBody>
          <a:bodyPr wrap="square" anchor="t">
            <a:normAutofit/>
          </a:bodyPr>
          <a:lstStyle/>
          <a:p>
            <a:r>
              <a:rPr lang="en-US" dirty="0"/>
              <a:t>Case Study Summary on Texture Effects</a:t>
            </a:r>
          </a:p>
        </p:txBody>
      </p:sp>
      <p:sp>
        <p:nvSpPr>
          <p:cNvPr id="4" name="Date Placeholder 3">
            <a:extLst>
              <a:ext uri="{FF2B5EF4-FFF2-40B4-BE49-F238E27FC236}">
                <a16:creationId xmlns:a16="http://schemas.microsoft.com/office/drawing/2014/main" id="{61E92DB9-82A1-1F11-2B79-8BDE11C741BC}"/>
              </a:ext>
            </a:extLst>
          </p:cNvPr>
          <p:cNvSpPr>
            <a:spLocks noGrp="1"/>
          </p:cNvSpPr>
          <p:nvPr>
            <p:ph type="dt" sz="half" idx="14"/>
          </p:nvPr>
        </p:nvSpPr>
        <p:spPr>
          <a:xfrm>
            <a:off x="1127448" y="6513439"/>
            <a:ext cx="792088" cy="144000"/>
          </a:xfrm>
        </p:spPr>
        <p:txBody>
          <a:bodyPr wrap="square" anchor="t">
            <a:normAutofit/>
          </a:bodyPr>
          <a:lstStyle/>
          <a:p>
            <a:r>
              <a:rPr lang="en-US"/>
              <a:t>September 2025</a:t>
            </a:r>
            <a:endParaRPr lang="en-US" dirty="0"/>
          </a:p>
        </p:txBody>
      </p:sp>
      <p:sp>
        <p:nvSpPr>
          <p:cNvPr id="5" name="Footer Placeholder 4">
            <a:extLst>
              <a:ext uri="{FF2B5EF4-FFF2-40B4-BE49-F238E27FC236}">
                <a16:creationId xmlns:a16="http://schemas.microsoft.com/office/drawing/2014/main" id="{55AC1E88-8A91-F721-CE27-A3E14C135C0A}"/>
              </a:ext>
            </a:extLst>
          </p:cNvPr>
          <p:cNvSpPr>
            <a:spLocks noGrp="1"/>
          </p:cNvSpPr>
          <p:nvPr>
            <p:ph type="ftr" sz="quarter" idx="15"/>
          </p:nvPr>
        </p:nvSpPr>
        <p:spPr>
          <a:xfrm>
            <a:off x="1992796" y="6513440"/>
            <a:ext cx="8207660" cy="144000"/>
          </a:xfrm>
        </p:spPr>
        <p:txBody>
          <a:bodyPr wrap="square" anchor="t">
            <a:normAutofit/>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D2072988-668C-6C12-9C4F-C125ECDE65DA}"/>
              </a:ext>
            </a:extLst>
          </p:cNvPr>
          <p:cNvSpPr>
            <a:spLocks noGrp="1"/>
          </p:cNvSpPr>
          <p:nvPr>
            <p:ph type="sldNum" sz="quarter" idx="16"/>
          </p:nvPr>
        </p:nvSpPr>
        <p:spPr>
          <a:xfrm>
            <a:off x="407368" y="6513439"/>
            <a:ext cx="620466" cy="144000"/>
          </a:xfrm>
        </p:spPr>
        <p:txBody>
          <a:bodyPr wrap="square" anchor="t">
            <a:normAutofit/>
          </a:bodyPr>
          <a:lstStyle/>
          <a:p>
            <a:pPr>
              <a:spcAft>
                <a:spcPts val="600"/>
              </a:spcAft>
            </a:pPr>
            <a:r>
              <a:rPr lang="de-DE"/>
              <a:t>Page </a:t>
            </a:r>
            <a:fld id="{8F63C9D9-3015-4EB3-9DF0-04DE0400ED04}" type="slidenum">
              <a:rPr smtClean="0"/>
              <a:pPr>
                <a:spcAft>
                  <a:spcPts val="600"/>
                </a:spcAft>
              </a:pPr>
              <a:t>21</a:t>
            </a:fld>
            <a:endParaRPr lang="en-US"/>
          </a:p>
        </p:txBody>
      </p:sp>
      <p:graphicFrame>
        <p:nvGraphicFramePr>
          <p:cNvPr id="8" name="Content Placeholder 2">
            <a:extLst>
              <a:ext uri="{FF2B5EF4-FFF2-40B4-BE49-F238E27FC236}">
                <a16:creationId xmlns:a16="http://schemas.microsoft.com/office/drawing/2014/main" id="{C4FDC749-65D0-C0D3-1963-78A4ABC59DDC}"/>
              </a:ext>
            </a:extLst>
          </p:cNvPr>
          <p:cNvGraphicFramePr>
            <a:graphicFrameLocks noGrp="1"/>
          </p:cNvGraphicFramePr>
          <p:nvPr>
            <p:ph idx="1"/>
            <p:extLst>
              <p:ext uri="{D42A27DB-BD31-4B8C-83A1-F6EECF244321}">
                <p14:modId xmlns:p14="http://schemas.microsoft.com/office/powerpoint/2010/main" val="615256492"/>
              </p:ext>
            </p:extLst>
          </p:nvPr>
        </p:nvGraphicFramePr>
        <p:xfrm>
          <a:off x="407368" y="656692"/>
          <a:ext cx="11374395" cy="56561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34516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806D230-DAC8-F110-A667-FE5F97132852}"/>
              </a:ext>
            </a:extLst>
          </p:cNvPr>
          <p:cNvPicPr>
            <a:picLocks noChangeAspect="1"/>
          </p:cNvPicPr>
          <p:nvPr/>
        </p:nvPicPr>
        <p:blipFill>
          <a:blip r:embed="rId2"/>
          <a:stretch>
            <a:fillRect/>
          </a:stretch>
        </p:blipFill>
        <p:spPr>
          <a:xfrm>
            <a:off x="0" y="1908175"/>
            <a:ext cx="12192000" cy="3041650"/>
          </a:xfrm>
          <a:prstGeom prst="rect">
            <a:avLst/>
          </a:prstGeom>
        </p:spPr>
      </p:pic>
      <p:sp>
        <p:nvSpPr>
          <p:cNvPr id="8" name="Picture Placeholder 7">
            <a:extLst>
              <a:ext uri="{FF2B5EF4-FFF2-40B4-BE49-F238E27FC236}">
                <a16:creationId xmlns:a16="http://schemas.microsoft.com/office/drawing/2014/main" id="{E426162B-E706-2AC5-8BC7-4B9A971ECE2E}"/>
              </a:ext>
            </a:extLst>
          </p:cNvPr>
          <p:cNvSpPr>
            <a:spLocks noGrp="1"/>
          </p:cNvSpPr>
          <p:nvPr>
            <p:ph type="pic" sz="quarter" idx="13"/>
          </p:nvPr>
        </p:nvSpPr>
        <p:spPr>
          <a:xfrm>
            <a:off x="3323692" y="0"/>
            <a:ext cx="5408177" cy="5486302"/>
          </a:xfrm>
        </p:spPr>
        <p:txBody>
          <a:bodyPr/>
          <a:lstStyle/>
          <a:p>
            <a:r>
              <a:rPr lang="en-US" sz="4000" dirty="0"/>
              <a:t>Durability Considerations:</a:t>
            </a:r>
          </a:p>
          <a:p>
            <a:endParaRPr lang="en-US" sz="4000" dirty="0"/>
          </a:p>
          <a:p>
            <a:r>
              <a:rPr lang="en-US" sz="4000" dirty="0"/>
              <a:t>Xenon</a:t>
            </a:r>
          </a:p>
          <a:p>
            <a:r>
              <a:rPr lang="en-US" sz="4000" dirty="0"/>
              <a:t>Salt Spray</a:t>
            </a:r>
          </a:p>
        </p:txBody>
      </p:sp>
      <p:sp>
        <p:nvSpPr>
          <p:cNvPr id="4" name="Date Placeholder 3">
            <a:extLst>
              <a:ext uri="{FF2B5EF4-FFF2-40B4-BE49-F238E27FC236}">
                <a16:creationId xmlns:a16="http://schemas.microsoft.com/office/drawing/2014/main" id="{23E423D5-3D00-58EA-DDE2-A0EBED70FC09}"/>
              </a:ext>
            </a:extLst>
          </p:cNvPr>
          <p:cNvSpPr>
            <a:spLocks noGrp="1"/>
          </p:cNvSpPr>
          <p:nvPr>
            <p:ph type="dt" sz="half" idx="18"/>
          </p:nvPr>
        </p:nvSpPr>
        <p:spPr/>
        <p:txBody>
          <a:bodyPr/>
          <a:lstStyle/>
          <a:p>
            <a:r>
              <a:rPr lang="en-US"/>
              <a:t>September 2025</a:t>
            </a:r>
            <a:endParaRPr lang="en-US" dirty="0"/>
          </a:p>
        </p:txBody>
      </p:sp>
      <p:sp>
        <p:nvSpPr>
          <p:cNvPr id="5" name="Footer Placeholder 4">
            <a:extLst>
              <a:ext uri="{FF2B5EF4-FFF2-40B4-BE49-F238E27FC236}">
                <a16:creationId xmlns:a16="http://schemas.microsoft.com/office/drawing/2014/main" id="{B656B4F7-4BF4-78F3-E37B-904FD773B906}"/>
              </a:ext>
            </a:extLst>
          </p:cNvPr>
          <p:cNvSpPr>
            <a:spLocks noGrp="1"/>
          </p:cNvSpPr>
          <p:nvPr>
            <p:ph type="ftr" sz="quarter" idx="19"/>
          </p:nvPr>
        </p:nvSpPr>
        <p:spPr/>
        <p:txBody>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720C31F8-BFB1-B002-BAFF-9DAA3E928C89}"/>
              </a:ext>
            </a:extLst>
          </p:cNvPr>
          <p:cNvSpPr>
            <a:spLocks noGrp="1"/>
          </p:cNvSpPr>
          <p:nvPr>
            <p:ph type="sldNum" sz="quarter" idx="20"/>
          </p:nvPr>
        </p:nvSpPr>
        <p:spPr/>
        <p:txBody>
          <a:bodyPr/>
          <a:lstStyle/>
          <a:p>
            <a:r>
              <a:rPr lang="de-DE"/>
              <a:t>Page </a:t>
            </a:r>
            <a:fld id="{8F63C9D9-3015-4EB3-9DF0-04DE0400ED04}" type="slidenum">
              <a:rPr smtClean="0"/>
              <a:pPr/>
              <a:t>22</a:t>
            </a:fld>
            <a:endParaRPr dirty="0"/>
          </a:p>
        </p:txBody>
      </p:sp>
    </p:spTree>
    <p:extLst>
      <p:ext uri="{BB962C8B-B14F-4D97-AF65-F5344CB8AC3E}">
        <p14:creationId xmlns:p14="http://schemas.microsoft.com/office/powerpoint/2010/main" val="24478472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6607297-F993-C2FB-3F48-3AED44BF8B38}"/>
              </a:ext>
            </a:extLst>
          </p:cNvPr>
          <p:cNvSpPr>
            <a:spLocks noGrp="1"/>
          </p:cNvSpPr>
          <p:nvPr>
            <p:ph type="title"/>
          </p:nvPr>
        </p:nvSpPr>
        <p:spPr>
          <a:xfrm>
            <a:off x="407987" y="188913"/>
            <a:ext cx="11376026" cy="611795"/>
          </a:xfrm>
        </p:spPr>
        <p:txBody>
          <a:bodyPr/>
          <a:lstStyle/>
          <a:p>
            <a:r>
              <a:rPr lang="en-US" dirty="0"/>
              <a:t>Salt Spray PTFE vs PTFE-free additives in PRIMID Powder Coatings</a:t>
            </a:r>
          </a:p>
        </p:txBody>
      </p:sp>
      <p:graphicFrame>
        <p:nvGraphicFramePr>
          <p:cNvPr id="9" name="Content Placeholder 8">
            <a:extLst>
              <a:ext uri="{FF2B5EF4-FFF2-40B4-BE49-F238E27FC236}">
                <a16:creationId xmlns:a16="http://schemas.microsoft.com/office/drawing/2014/main" id="{B3CC2FA4-4CD8-F1B2-97BF-BEB3A6B64EDD}"/>
              </a:ext>
            </a:extLst>
          </p:cNvPr>
          <p:cNvGraphicFramePr>
            <a:graphicFrameLocks noGrp="1"/>
          </p:cNvGraphicFramePr>
          <p:nvPr>
            <p:ph idx="1"/>
            <p:extLst>
              <p:ext uri="{D42A27DB-BD31-4B8C-83A1-F6EECF244321}">
                <p14:modId xmlns:p14="http://schemas.microsoft.com/office/powerpoint/2010/main" val="2403680163"/>
              </p:ext>
            </p:extLst>
          </p:nvPr>
        </p:nvGraphicFramePr>
        <p:xfrm>
          <a:off x="344032" y="939493"/>
          <a:ext cx="11253460" cy="5225811"/>
        </p:xfrm>
        <a:graphic>
          <a:graphicData uri="http://schemas.openxmlformats.org/drawingml/2006/table">
            <a:tbl>
              <a:tblPr firstRow="1" firstCol="1" bandRow="1"/>
              <a:tblGrid>
                <a:gridCol w="2877384">
                  <a:extLst>
                    <a:ext uri="{9D8B030D-6E8A-4147-A177-3AD203B41FA5}">
                      <a16:colId xmlns:a16="http://schemas.microsoft.com/office/drawing/2014/main" val="929836716"/>
                    </a:ext>
                  </a:extLst>
                </a:gridCol>
                <a:gridCol w="1218400">
                  <a:extLst>
                    <a:ext uri="{9D8B030D-6E8A-4147-A177-3AD203B41FA5}">
                      <a16:colId xmlns:a16="http://schemas.microsoft.com/office/drawing/2014/main" val="4225084159"/>
                    </a:ext>
                  </a:extLst>
                </a:gridCol>
                <a:gridCol w="720080">
                  <a:extLst>
                    <a:ext uri="{9D8B030D-6E8A-4147-A177-3AD203B41FA5}">
                      <a16:colId xmlns:a16="http://schemas.microsoft.com/office/drawing/2014/main" val="3607360906"/>
                    </a:ext>
                  </a:extLst>
                </a:gridCol>
                <a:gridCol w="684076">
                  <a:extLst>
                    <a:ext uri="{9D8B030D-6E8A-4147-A177-3AD203B41FA5}">
                      <a16:colId xmlns:a16="http://schemas.microsoft.com/office/drawing/2014/main" val="3036939992"/>
                    </a:ext>
                  </a:extLst>
                </a:gridCol>
                <a:gridCol w="684076">
                  <a:extLst>
                    <a:ext uri="{9D8B030D-6E8A-4147-A177-3AD203B41FA5}">
                      <a16:colId xmlns:a16="http://schemas.microsoft.com/office/drawing/2014/main" val="1759648321"/>
                    </a:ext>
                  </a:extLst>
                </a:gridCol>
                <a:gridCol w="756084">
                  <a:extLst>
                    <a:ext uri="{9D8B030D-6E8A-4147-A177-3AD203B41FA5}">
                      <a16:colId xmlns:a16="http://schemas.microsoft.com/office/drawing/2014/main" val="1433698602"/>
                    </a:ext>
                  </a:extLst>
                </a:gridCol>
                <a:gridCol w="720080">
                  <a:extLst>
                    <a:ext uri="{9D8B030D-6E8A-4147-A177-3AD203B41FA5}">
                      <a16:colId xmlns:a16="http://schemas.microsoft.com/office/drawing/2014/main" val="2366639754"/>
                    </a:ext>
                  </a:extLst>
                </a:gridCol>
                <a:gridCol w="720080">
                  <a:extLst>
                    <a:ext uri="{9D8B030D-6E8A-4147-A177-3AD203B41FA5}">
                      <a16:colId xmlns:a16="http://schemas.microsoft.com/office/drawing/2014/main" val="1296011263"/>
                    </a:ext>
                  </a:extLst>
                </a:gridCol>
                <a:gridCol w="684076">
                  <a:extLst>
                    <a:ext uri="{9D8B030D-6E8A-4147-A177-3AD203B41FA5}">
                      <a16:colId xmlns:a16="http://schemas.microsoft.com/office/drawing/2014/main" val="1179734726"/>
                    </a:ext>
                  </a:extLst>
                </a:gridCol>
                <a:gridCol w="720080">
                  <a:extLst>
                    <a:ext uri="{9D8B030D-6E8A-4147-A177-3AD203B41FA5}">
                      <a16:colId xmlns:a16="http://schemas.microsoft.com/office/drawing/2014/main" val="446751847"/>
                    </a:ext>
                  </a:extLst>
                </a:gridCol>
                <a:gridCol w="684076">
                  <a:extLst>
                    <a:ext uri="{9D8B030D-6E8A-4147-A177-3AD203B41FA5}">
                      <a16:colId xmlns:a16="http://schemas.microsoft.com/office/drawing/2014/main" val="2611301069"/>
                    </a:ext>
                  </a:extLst>
                </a:gridCol>
                <a:gridCol w="784968">
                  <a:extLst>
                    <a:ext uri="{9D8B030D-6E8A-4147-A177-3AD203B41FA5}">
                      <a16:colId xmlns:a16="http://schemas.microsoft.com/office/drawing/2014/main" val="3587619961"/>
                    </a:ext>
                  </a:extLst>
                </a:gridCol>
              </a:tblGrid>
              <a:tr h="463789">
                <a:tc>
                  <a:txBody>
                    <a:bodyPr/>
                    <a:lstStyle/>
                    <a:p>
                      <a:pPr marL="0" marR="0" algn="ct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Raw Material</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gn="ct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Source</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DF142</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DF143</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DF144</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DF14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DF146</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DF147</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DF14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DF149</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DF150</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DF151</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E8E8"/>
                    </a:solidFill>
                  </a:tcPr>
                </a:tc>
                <a:extLst>
                  <a:ext uri="{0D108BD9-81ED-4DB2-BD59-A6C34878D82A}">
                    <a16:rowId xmlns:a16="http://schemas.microsoft.com/office/drawing/2014/main" val="818883570"/>
                  </a:ext>
                </a:extLst>
              </a:tr>
              <a:tr h="225046">
                <a:tc>
                  <a:txBody>
                    <a:bodyPr/>
                    <a:lstStyle/>
                    <a:p>
                      <a:pPr marL="0" marR="0">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            Binder/Hardener</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4557245"/>
                  </a:ext>
                </a:extLst>
              </a:tr>
              <a:tr h="225046">
                <a:tc>
                  <a:txBody>
                    <a:bodyPr/>
                    <a:lstStyle/>
                    <a:p>
                      <a:pPr marL="0" marR="0" algn="ct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Resin (Av 32)</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61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18</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61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61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18</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18</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18</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18</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18</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18</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1007431"/>
                  </a:ext>
                </a:extLst>
              </a:tr>
              <a:tr h="225046">
                <a:tc>
                  <a:txBody>
                    <a:bodyPr/>
                    <a:lstStyle/>
                    <a:p>
                      <a:pPr marL="0" marR="0" algn="ctr">
                        <a:lnSpc>
                          <a:spcPct val="115000"/>
                        </a:lnSpc>
                        <a:spcAft>
                          <a:spcPts val="1000"/>
                        </a:spcAft>
                        <a:buNone/>
                      </a:pPr>
                      <a:r>
                        <a:rPr lang="en-US" sz="1400" b="1" dirty="0">
                          <a:solidFill>
                            <a:srgbClr val="000000"/>
                          </a:solidFill>
                          <a:effectLst/>
                          <a:latin typeface="+mn-lt"/>
                          <a:ea typeface="SimSun" panose="02010600030101010101" pitchFamily="2" charset="-122"/>
                          <a:cs typeface="Times New Roman" panose="02020603050405020304" pitchFamily="18" charset="0"/>
                        </a:rPr>
                        <a:t>PRIMID Crosslinker</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33</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33</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33</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33</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33</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33</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33</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33</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33</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33</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0890518"/>
                  </a:ext>
                </a:extLst>
              </a:tr>
              <a:tr h="225046">
                <a:tc>
                  <a:txBody>
                    <a:bodyPr/>
                    <a:lstStyle/>
                    <a:p>
                      <a:pPr marL="0" marR="0">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          Pigments/Extender</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5474014"/>
                  </a:ext>
                </a:extLst>
              </a:tr>
              <a:tr h="225046">
                <a:tc>
                  <a:txBody>
                    <a:bodyPr/>
                    <a:lstStyle/>
                    <a:p>
                      <a:pPr marL="0" marR="0" algn="ct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Titanium dioxide</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9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9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9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9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9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9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9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9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9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9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859789"/>
                  </a:ext>
                </a:extLst>
              </a:tr>
              <a:tr h="225046">
                <a:tc>
                  <a:txBody>
                    <a:bodyPr/>
                    <a:lstStyle/>
                    <a:p>
                      <a:pPr marL="0" marR="0" algn="ct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FW-200 Black</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0</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0</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0</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0</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0</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0</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0</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0</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0</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0</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3611110"/>
                  </a:ext>
                </a:extLst>
              </a:tr>
              <a:tr h="225046">
                <a:tc>
                  <a:txBody>
                    <a:bodyPr/>
                    <a:lstStyle/>
                    <a:p>
                      <a:pPr marL="0" marR="0">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4763196"/>
                  </a:ext>
                </a:extLst>
              </a:tr>
              <a:tr h="225046">
                <a:tc>
                  <a:txBody>
                    <a:bodyPr/>
                    <a:lstStyle/>
                    <a:p>
                      <a:pPr marL="0" marR="0" algn="ct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Barium Sulfate (</a:t>
                      </a:r>
                      <a:r>
                        <a:rPr lang="en-US" sz="1400" b="1" dirty="0" err="1">
                          <a:solidFill>
                            <a:srgbClr val="000000"/>
                          </a:solidFill>
                          <a:effectLst/>
                          <a:latin typeface="+mn-lt"/>
                          <a:ea typeface="Times New Roman" panose="02020603050405020304" pitchFamily="18" charset="0"/>
                          <a:cs typeface="Times New Roman" panose="02020603050405020304" pitchFamily="18" charset="0"/>
                        </a:rPr>
                        <a:t>Cimbar</a:t>
                      </a:r>
                      <a:r>
                        <a:rPr lang="en-US" sz="1400" b="1" dirty="0">
                          <a:solidFill>
                            <a:srgbClr val="000000"/>
                          </a:solidFill>
                          <a:effectLst/>
                          <a:latin typeface="+mn-lt"/>
                          <a:ea typeface="Times New Roman" panose="02020603050405020304" pitchFamily="18" charset="0"/>
                          <a:cs typeface="Times New Roman" panose="02020603050405020304" pitchFamily="18" charset="0"/>
                        </a:rPr>
                        <a:t> PC)</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2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28</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2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2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2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2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2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2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2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28</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2443416"/>
                  </a:ext>
                </a:extLst>
              </a:tr>
              <a:tr h="225046">
                <a:tc>
                  <a:txBody>
                    <a:bodyPr/>
                    <a:lstStyle/>
                    <a:p>
                      <a:pPr marL="0" marR="0" algn="ct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Additives</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1280949"/>
                  </a:ext>
                </a:extLst>
              </a:tr>
              <a:tr h="225046">
                <a:tc>
                  <a:txBody>
                    <a:bodyPr/>
                    <a:lstStyle/>
                    <a:p>
                      <a:pPr marL="0" marR="0" algn="ct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Benzoin</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6</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6</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6</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6</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6</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142376"/>
                  </a:ext>
                </a:extLst>
              </a:tr>
              <a:tr h="22504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BYK-Leveling Additive</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200" b="1">
                          <a:solidFill>
                            <a:srgbClr val="156082"/>
                          </a:solidFill>
                          <a:effectLst/>
                          <a:latin typeface="+mn-lt"/>
                          <a:ea typeface="Times New Roman" panose="02020603050405020304" pitchFamily="18" charset="0"/>
                          <a:cs typeface="Times New Roman" panose="02020603050405020304" pitchFamily="18" charset="0"/>
                        </a:rPr>
                        <a:t>BYK-USA</a:t>
                      </a:r>
                      <a:endParaRPr lang="en-US" sz="12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10</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85795064"/>
                  </a:ext>
                </a:extLst>
              </a:tr>
              <a:tr h="22504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SimSun" panose="02010600030101010101" pitchFamily="2" charset="-122"/>
                          <a:cs typeface="Times New Roman" panose="02020603050405020304" pitchFamily="18" charset="0"/>
                        </a:rPr>
                        <a:t>PTFE-Additive</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nSpc>
                          <a:spcPct val="115000"/>
                        </a:lnSpc>
                        <a:spcAft>
                          <a:spcPts val="1000"/>
                        </a:spcAft>
                        <a:buNone/>
                      </a:pPr>
                      <a:r>
                        <a:rPr lang="en-US" sz="1200" b="1" dirty="0">
                          <a:solidFill>
                            <a:srgbClr val="156082"/>
                          </a:solidFill>
                          <a:effectLst/>
                          <a:latin typeface="+mn-lt"/>
                          <a:ea typeface="Times New Roman" panose="02020603050405020304" pitchFamily="18" charset="0"/>
                          <a:cs typeface="Times New Roman" panose="02020603050405020304" pitchFamily="18" charset="0"/>
                        </a:rPr>
                        <a:t>BYK-USA</a:t>
                      </a:r>
                      <a:endParaRPr lang="en-US" sz="12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gn="r">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457586814"/>
                  </a:ext>
                </a:extLst>
              </a:tr>
              <a:tr h="22504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SimSun" panose="02010600030101010101" pitchFamily="2" charset="-122"/>
                          <a:cs typeface="Times New Roman" panose="02020603050405020304" pitchFamily="18" charset="0"/>
                        </a:rPr>
                        <a:t>ORGANOCLAY-C (HY)</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200" b="1">
                          <a:solidFill>
                            <a:srgbClr val="156082"/>
                          </a:solidFill>
                          <a:effectLst/>
                          <a:latin typeface="+mn-lt"/>
                          <a:ea typeface="Times New Roman" panose="02020603050405020304" pitchFamily="18" charset="0"/>
                          <a:cs typeface="Times New Roman" panose="02020603050405020304" pitchFamily="18" charset="0"/>
                        </a:rPr>
                        <a:t>BYK-USA</a:t>
                      </a:r>
                      <a:endParaRPr lang="en-US" sz="12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2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0740599"/>
                  </a:ext>
                </a:extLst>
              </a:tr>
              <a:tr h="22504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ORGANOCLAY-C (40)</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200" b="1" dirty="0">
                          <a:solidFill>
                            <a:srgbClr val="156082"/>
                          </a:solidFill>
                          <a:effectLst/>
                          <a:latin typeface="+mn-lt"/>
                          <a:ea typeface="Times New Roman" panose="02020603050405020304" pitchFamily="18" charset="0"/>
                          <a:cs typeface="Times New Roman" panose="02020603050405020304" pitchFamily="18" charset="0"/>
                        </a:rPr>
                        <a:t>BYK-USA</a:t>
                      </a:r>
                      <a:endParaRPr lang="en-US" sz="12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2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9908228"/>
                  </a:ext>
                </a:extLst>
              </a:tr>
              <a:tr h="22504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ORGANOCLAY-G (7305)</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200" b="1">
                          <a:solidFill>
                            <a:srgbClr val="156082"/>
                          </a:solidFill>
                          <a:effectLst/>
                          <a:latin typeface="+mn-lt"/>
                          <a:ea typeface="Times New Roman" panose="02020603050405020304" pitchFamily="18" charset="0"/>
                          <a:cs typeface="Times New Roman" panose="02020603050405020304" pitchFamily="18" charset="0"/>
                        </a:rPr>
                        <a:t>BYK-USA</a:t>
                      </a:r>
                      <a:endParaRPr lang="en-US" sz="12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2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1161112"/>
                  </a:ext>
                </a:extLst>
              </a:tr>
              <a:tr h="22504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ORGANOCLAY-G (1958)</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200" b="1">
                          <a:solidFill>
                            <a:srgbClr val="156082"/>
                          </a:solidFill>
                          <a:effectLst/>
                          <a:latin typeface="+mn-lt"/>
                          <a:ea typeface="Times New Roman" panose="02020603050405020304" pitchFamily="18" charset="0"/>
                          <a:cs typeface="Times New Roman" panose="02020603050405020304" pitchFamily="18" charset="0"/>
                        </a:rPr>
                        <a:t>BYK-USA</a:t>
                      </a:r>
                      <a:endParaRPr lang="en-US" sz="12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2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4745156"/>
                  </a:ext>
                </a:extLst>
              </a:tr>
              <a:tr h="22504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CLAY-HY/GA-7305(2%/2%)</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200" b="1">
                          <a:solidFill>
                            <a:srgbClr val="156082"/>
                          </a:solidFill>
                          <a:effectLst/>
                          <a:latin typeface="+mn-lt"/>
                          <a:ea typeface="Times New Roman" panose="02020603050405020304" pitchFamily="18" charset="0"/>
                          <a:cs typeface="Times New Roman" panose="02020603050405020304" pitchFamily="18" charset="0"/>
                        </a:rPr>
                        <a:t>BYK-USA</a:t>
                      </a:r>
                      <a:endParaRPr lang="en-US" sz="12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40</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3023988"/>
                  </a:ext>
                </a:extLst>
              </a:tr>
              <a:tr h="225046">
                <a:tc>
                  <a:txBody>
                    <a:bodyPr/>
                    <a:lstStyle/>
                    <a:p>
                      <a:pPr marL="0" marR="0">
                        <a:lnSpc>
                          <a:spcPct val="115000"/>
                        </a:lnSpc>
                        <a:spcAft>
                          <a:spcPts val="1000"/>
                        </a:spcAft>
                        <a:buNone/>
                      </a:pPr>
                      <a:r>
                        <a:rPr lang="en-US" sz="1400" b="1" dirty="0">
                          <a:solidFill>
                            <a:srgbClr val="002650"/>
                          </a:solidFill>
                          <a:effectLst/>
                          <a:latin typeface="Calibri" panose="020F0502020204030204" pitchFamily="34" charset="0"/>
                          <a:ea typeface="Times New Roman" panose="02020603050405020304" pitchFamily="18" charset="0"/>
                          <a:cs typeface="Times New Roman" panose="02020603050405020304" pitchFamily="18" charset="0"/>
                        </a:rPr>
                        <a:t>CLAY-HY/GA-7305/HDPE(1%)</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5002" marR="650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200" b="1" dirty="0">
                          <a:solidFill>
                            <a:srgbClr val="156082"/>
                          </a:solidFill>
                          <a:effectLst/>
                          <a:latin typeface="+mn-lt"/>
                          <a:ea typeface="Times New Roman" panose="02020603050405020304" pitchFamily="18" charset="0"/>
                          <a:cs typeface="Times New Roman" panose="02020603050405020304" pitchFamily="18" charset="0"/>
                        </a:rPr>
                        <a:t>BYK-USA</a:t>
                      </a:r>
                      <a:endParaRPr lang="en-US" sz="12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50</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2458405"/>
                  </a:ext>
                </a:extLst>
              </a:tr>
              <a:tr h="225046">
                <a:tc>
                  <a:txBody>
                    <a:bodyPr/>
                    <a:lstStyle/>
                    <a:p>
                      <a:pPr marL="0" marR="0" algn="l">
                        <a:lnSpc>
                          <a:spcPct val="115000"/>
                        </a:lnSpc>
                        <a:spcAft>
                          <a:spcPts val="1000"/>
                        </a:spcAft>
                        <a:buNone/>
                      </a:pPr>
                      <a:r>
                        <a:rPr lang="en-US" sz="1200" b="1" dirty="0">
                          <a:solidFill>
                            <a:schemeClr val="accent1">
                              <a:lumMod val="50000"/>
                            </a:schemeClr>
                          </a:solidFill>
                          <a:effectLst/>
                          <a:latin typeface="+mn-lt"/>
                          <a:ea typeface="Times New Roman" panose="02020603050405020304" pitchFamily="18" charset="0"/>
                          <a:cs typeface="Times New Roman" panose="02020603050405020304" pitchFamily="18" charset="0"/>
                        </a:rPr>
                        <a:t>ORGANOCLAY G - (1210)</a:t>
                      </a:r>
                      <a:endParaRPr lang="en-US" sz="1200" dirty="0">
                        <a:solidFill>
                          <a:schemeClr val="accent1">
                            <a:lumMod val="50000"/>
                          </a:schemeClr>
                        </a:solidFill>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200" b="1">
                          <a:solidFill>
                            <a:srgbClr val="156082"/>
                          </a:solidFill>
                          <a:effectLst/>
                          <a:latin typeface="+mn-lt"/>
                          <a:ea typeface="Times New Roman" panose="02020603050405020304" pitchFamily="18" charset="0"/>
                          <a:cs typeface="Times New Roman" panose="02020603050405020304" pitchFamily="18" charset="0"/>
                        </a:rPr>
                        <a:t>BYK-USA</a:t>
                      </a:r>
                      <a:endParaRPr lang="en-US" sz="12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2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2799374"/>
                  </a:ext>
                </a:extLst>
              </a:tr>
              <a:tr h="225046">
                <a:tc>
                  <a:txBody>
                    <a:bodyPr/>
                    <a:lstStyle/>
                    <a:p>
                      <a:pPr marL="0" marR="0" algn="l">
                        <a:lnSpc>
                          <a:spcPct val="115000"/>
                        </a:lnSpc>
                        <a:spcAft>
                          <a:spcPts val="1000"/>
                        </a:spcAft>
                        <a:buNone/>
                      </a:pPr>
                      <a:r>
                        <a:rPr lang="en-US" sz="1200" b="1" dirty="0">
                          <a:solidFill>
                            <a:schemeClr val="accent1">
                              <a:lumMod val="50000"/>
                            </a:schemeClr>
                          </a:solidFill>
                          <a:effectLst/>
                          <a:latin typeface="+mn-lt"/>
                          <a:ea typeface="Times New Roman" panose="02020603050405020304" pitchFamily="18" charset="0"/>
                          <a:cs typeface="Times New Roman" panose="02020603050405020304" pitchFamily="18" charset="0"/>
                        </a:rPr>
                        <a:t>ORGANOCLAY C- (AF)</a:t>
                      </a:r>
                      <a:endParaRPr lang="en-US" sz="1200" dirty="0">
                        <a:solidFill>
                          <a:schemeClr val="accent1">
                            <a:lumMod val="50000"/>
                          </a:schemeClr>
                        </a:solidFill>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200" b="1">
                          <a:solidFill>
                            <a:srgbClr val="156082"/>
                          </a:solidFill>
                          <a:effectLst/>
                          <a:latin typeface="+mn-lt"/>
                          <a:ea typeface="Times New Roman" panose="02020603050405020304" pitchFamily="18" charset="0"/>
                          <a:cs typeface="Times New Roman" panose="02020603050405020304" pitchFamily="18" charset="0"/>
                        </a:rPr>
                        <a:t>BYK-USA</a:t>
                      </a:r>
                      <a:endParaRPr lang="en-US" sz="12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a:solidFill>
                            <a:srgbClr val="156082"/>
                          </a:solidFill>
                          <a:effectLst/>
                          <a:latin typeface="+mn-lt"/>
                          <a:ea typeface="Times New Roman" panose="02020603050405020304" pitchFamily="18" charset="0"/>
                          <a:cs typeface="Times New Roman" panose="02020603050405020304" pitchFamily="18" charset="0"/>
                        </a:rPr>
                        <a:t> </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 </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156082"/>
                          </a:solidFill>
                          <a:effectLst/>
                          <a:latin typeface="+mn-lt"/>
                          <a:ea typeface="Times New Roman" panose="02020603050405020304" pitchFamily="18" charset="0"/>
                          <a:cs typeface="Times New Roman" panose="02020603050405020304" pitchFamily="18" charset="0"/>
                        </a:rPr>
                        <a:t>2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86360646"/>
                  </a:ext>
                </a:extLst>
              </a:tr>
              <a:tr h="225046">
                <a:tc>
                  <a:txBody>
                    <a:bodyPr/>
                    <a:lstStyle/>
                    <a:p>
                      <a:pPr marL="0" marR="0" algn="l">
                        <a:lnSpc>
                          <a:spcPct val="115000"/>
                        </a:lnSpc>
                        <a:spcAft>
                          <a:spcPts val="1000"/>
                        </a:spcAft>
                        <a:buNone/>
                      </a:pPr>
                      <a:r>
                        <a:rPr lang="en-US" sz="1200" b="1" dirty="0">
                          <a:solidFill>
                            <a:schemeClr val="accent1">
                              <a:lumMod val="50000"/>
                            </a:schemeClr>
                          </a:solidFill>
                          <a:effectLst/>
                          <a:latin typeface="+mn-lt"/>
                          <a:ea typeface="Times New Roman" panose="02020603050405020304" pitchFamily="18" charset="0"/>
                          <a:cs typeface="Times New Roman" panose="02020603050405020304" pitchFamily="18" charset="0"/>
                        </a:rPr>
                        <a:t>TOTAL</a:t>
                      </a:r>
                      <a:endParaRPr lang="en-US" sz="1200" dirty="0">
                        <a:solidFill>
                          <a:schemeClr val="accent1">
                            <a:lumMod val="50000"/>
                          </a:schemeClr>
                        </a:solidFill>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15000"/>
                        </a:lnSpc>
                        <a:spcAft>
                          <a:spcPts val="1000"/>
                        </a:spcAft>
                        <a:buNone/>
                      </a:pPr>
                      <a:r>
                        <a:rPr lang="en-US" sz="1200" b="1">
                          <a:solidFill>
                            <a:srgbClr val="000000"/>
                          </a:solidFill>
                          <a:effectLst/>
                          <a:latin typeface="+mn-lt"/>
                          <a:ea typeface="Times New Roman" panose="02020603050405020304" pitchFamily="18" charset="0"/>
                          <a:cs typeface="Times New Roman" panose="02020603050405020304" pitchFamily="18" charset="0"/>
                        </a:rPr>
                        <a:t> </a:t>
                      </a:r>
                      <a:endParaRPr lang="en-US" sz="12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000</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99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01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a:solidFill>
                            <a:srgbClr val="000000"/>
                          </a:solidFill>
                          <a:effectLst/>
                          <a:latin typeface="+mn-lt"/>
                          <a:ea typeface="Times New Roman" panose="02020603050405020304" pitchFamily="18" charset="0"/>
                          <a:cs typeface="Times New Roman" panose="02020603050405020304" pitchFamily="18" charset="0"/>
                        </a:rPr>
                        <a:t>1015</a:t>
                      </a:r>
                      <a:endParaRPr lang="en-US" sz="140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01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01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030</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040</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01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15000"/>
                        </a:lnSpc>
                        <a:spcAft>
                          <a:spcPts val="1000"/>
                        </a:spcAft>
                        <a:buNone/>
                      </a:pPr>
                      <a:r>
                        <a:rPr lang="en-US" sz="1400" b="1" dirty="0">
                          <a:solidFill>
                            <a:srgbClr val="000000"/>
                          </a:solidFill>
                          <a:effectLst/>
                          <a:latin typeface="+mn-lt"/>
                          <a:ea typeface="Times New Roman" panose="02020603050405020304" pitchFamily="18" charset="0"/>
                          <a:cs typeface="Times New Roman" panose="02020603050405020304" pitchFamily="18" charset="0"/>
                        </a:rPr>
                        <a:t>1015</a:t>
                      </a:r>
                      <a:endParaRPr lang="en-US" sz="1400" dirty="0">
                        <a:effectLst/>
                        <a:latin typeface="+mn-lt"/>
                        <a:ea typeface="SimSun" panose="02010600030101010101" pitchFamily="2" charset="-122"/>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0900621"/>
                  </a:ext>
                </a:extLst>
              </a:tr>
            </a:tbl>
          </a:graphicData>
        </a:graphic>
      </p:graphicFrame>
      <p:sp>
        <p:nvSpPr>
          <p:cNvPr id="2" name="TextBox 1">
            <a:extLst>
              <a:ext uri="{FF2B5EF4-FFF2-40B4-BE49-F238E27FC236}">
                <a16:creationId xmlns:a16="http://schemas.microsoft.com/office/drawing/2014/main" id="{D8FAEDAE-BCF2-65C5-BDF1-847D8A67E3E6}"/>
              </a:ext>
            </a:extLst>
          </p:cNvPr>
          <p:cNvSpPr txBox="1"/>
          <p:nvPr/>
        </p:nvSpPr>
        <p:spPr>
          <a:xfrm rot="5400000">
            <a:off x="3742383" y="4918518"/>
            <a:ext cx="1692191" cy="369332"/>
          </a:xfrm>
          <a:prstGeom prst="rect">
            <a:avLst/>
          </a:prstGeom>
          <a:solidFill>
            <a:schemeClr val="accent1">
              <a:lumMod val="60000"/>
              <a:lumOff val="4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rtlCol="0">
            <a:spAutoFit/>
          </a:bodyPr>
          <a:lstStyle/>
          <a:p>
            <a:r>
              <a:rPr lang="en-US" sz="1800" b="1" dirty="0"/>
              <a:t>PTFE-FREE</a:t>
            </a:r>
          </a:p>
        </p:txBody>
      </p:sp>
      <p:sp>
        <p:nvSpPr>
          <p:cNvPr id="3" name="Date Placeholder 2">
            <a:extLst>
              <a:ext uri="{FF2B5EF4-FFF2-40B4-BE49-F238E27FC236}">
                <a16:creationId xmlns:a16="http://schemas.microsoft.com/office/drawing/2014/main" id="{95D2EADA-82EB-901D-C031-4D2374B618FF}"/>
              </a:ext>
            </a:extLst>
          </p:cNvPr>
          <p:cNvSpPr>
            <a:spLocks noGrp="1"/>
          </p:cNvSpPr>
          <p:nvPr>
            <p:ph type="dt" sz="half" idx="10"/>
          </p:nvPr>
        </p:nvSpPr>
        <p:spPr/>
        <p:txBody>
          <a:bodyPr/>
          <a:lstStyle/>
          <a:p>
            <a:r>
              <a:rPr lang="en-US"/>
              <a:t>September 2025</a:t>
            </a:r>
            <a:endParaRPr lang="de-DE" dirty="0"/>
          </a:p>
        </p:txBody>
      </p:sp>
      <p:sp>
        <p:nvSpPr>
          <p:cNvPr id="4" name="Footer Placeholder 3">
            <a:extLst>
              <a:ext uri="{FF2B5EF4-FFF2-40B4-BE49-F238E27FC236}">
                <a16:creationId xmlns:a16="http://schemas.microsoft.com/office/drawing/2014/main" id="{B554B41C-FBEE-3198-6257-3697DCA506D3}"/>
              </a:ext>
            </a:extLst>
          </p:cNvPr>
          <p:cNvSpPr>
            <a:spLocks noGrp="1"/>
          </p:cNvSpPr>
          <p:nvPr>
            <p:ph type="ftr" sz="quarter" idx="11"/>
          </p:nvPr>
        </p:nvSpPr>
        <p:spPr/>
        <p:txBody>
          <a:bodyPr/>
          <a:lstStyle/>
          <a:p>
            <a:r>
              <a:rPr lang="en-US"/>
              <a:t>Achieving robust textures with PTFE-free additives</a:t>
            </a:r>
            <a:endParaRPr lang="de-DE" dirty="0"/>
          </a:p>
        </p:txBody>
      </p:sp>
      <p:sp>
        <p:nvSpPr>
          <p:cNvPr id="5" name="Slide Number Placeholder 4">
            <a:extLst>
              <a:ext uri="{FF2B5EF4-FFF2-40B4-BE49-F238E27FC236}">
                <a16:creationId xmlns:a16="http://schemas.microsoft.com/office/drawing/2014/main" id="{9FFCE4EC-D6BB-E0F6-3DF3-8E2F309BFB7E}"/>
              </a:ext>
            </a:extLst>
          </p:cNvPr>
          <p:cNvSpPr>
            <a:spLocks noGrp="1"/>
          </p:cNvSpPr>
          <p:nvPr>
            <p:ph type="sldNum" sz="quarter" idx="12"/>
          </p:nvPr>
        </p:nvSpPr>
        <p:spPr/>
        <p:txBody>
          <a:bodyPr/>
          <a:lstStyle/>
          <a:p>
            <a:r>
              <a:rPr lang="de-DE"/>
              <a:t>Page </a:t>
            </a:r>
            <a:fld id="{8F63C9D9-3015-4EB3-9DF0-04DE0400ED04}" type="slidenum">
              <a:rPr smtClean="0"/>
              <a:pPr/>
              <a:t>23</a:t>
            </a:fld>
            <a:endParaRPr dirty="0"/>
          </a:p>
        </p:txBody>
      </p:sp>
    </p:spTree>
    <p:extLst>
      <p:ext uri="{BB962C8B-B14F-4D97-AF65-F5344CB8AC3E}">
        <p14:creationId xmlns:p14="http://schemas.microsoft.com/office/powerpoint/2010/main" val="9646288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B371E-1034-2F42-28B2-E8512884C5D3}"/>
              </a:ext>
            </a:extLst>
          </p:cNvPr>
          <p:cNvSpPr>
            <a:spLocks noGrp="1"/>
          </p:cNvSpPr>
          <p:nvPr>
            <p:ph type="title"/>
          </p:nvPr>
        </p:nvSpPr>
        <p:spPr>
          <a:xfrm>
            <a:off x="407987" y="188913"/>
            <a:ext cx="11376026" cy="1008062"/>
          </a:xfrm>
        </p:spPr>
        <p:txBody>
          <a:bodyPr wrap="square" anchor="t">
            <a:normAutofit/>
          </a:bodyPr>
          <a:lstStyle/>
          <a:p>
            <a:r>
              <a:rPr lang="en-US" dirty="0"/>
              <a:t>Salt Spray B-117 – 376 hours</a:t>
            </a:r>
          </a:p>
        </p:txBody>
      </p:sp>
      <p:pic>
        <p:nvPicPr>
          <p:cNvPr id="5" name="Content Placeholder 4">
            <a:extLst>
              <a:ext uri="{FF2B5EF4-FFF2-40B4-BE49-F238E27FC236}">
                <a16:creationId xmlns:a16="http://schemas.microsoft.com/office/drawing/2014/main" id="{C206446F-0EF5-EC2E-CA26-D3BCCE5E011C}"/>
              </a:ext>
            </a:extLst>
          </p:cNvPr>
          <p:cNvPicPr>
            <a:picLocks noGrp="1" noChangeAspect="1"/>
          </p:cNvPicPr>
          <p:nvPr>
            <p:ph idx="1"/>
          </p:nvPr>
        </p:nvPicPr>
        <p:blipFill rotWithShape="1">
          <a:blip r:embed="rId2"/>
          <a:srcRect b="10081"/>
          <a:stretch>
            <a:fillRect/>
          </a:stretch>
        </p:blipFill>
        <p:spPr>
          <a:xfrm>
            <a:off x="679010" y="1196975"/>
            <a:ext cx="10846051" cy="4284254"/>
          </a:xfrm>
          <a:noFill/>
        </p:spPr>
      </p:pic>
      <p:sp>
        <p:nvSpPr>
          <p:cNvPr id="3" name="TextBox 2">
            <a:extLst>
              <a:ext uri="{FF2B5EF4-FFF2-40B4-BE49-F238E27FC236}">
                <a16:creationId xmlns:a16="http://schemas.microsoft.com/office/drawing/2014/main" id="{3E1C314E-FEA4-8AC4-60A1-EDC40CB50860}"/>
              </a:ext>
            </a:extLst>
          </p:cNvPr>
          <p:cNvSpPr txBox="1"/>
          <p:nvPr/>
        </p:nvSpPr>
        <p:spPr>
          <a:xfrm>
            <a:off x="767407" y="5718738"/>
            <a:ext cx="10757653" cy="338554"/>
          </a:xfrm>
          <a:prstGeom prst="rect">
            <a:avLst/>
          </a:prstGeom>
          <a:noFill/>
        </p:spPr>
        <p:txBody>
          <a:bodyPr wrap="square" rtlCol="0">
            <a:spAutoFit/>
          </a:bodyPr>
          <a:lstStyle/>
          <a:p>
            <a:pPr algn="l"/>
            <a:r>
              <a:rPr lang="en-US" dirty="0"/>
              <a:t>         1% LEVELING 	     0.5% PTFE 	           2.5% ORGANOCLAY-C HY       2.5% ORGANOCLAY-C 40</a:t>
            </a:r>
          </a:p>
        </p:txBody>
      </p:sp>
      <p:sp>
        <p:nvSpPr>
          <p:cNvPr id="4" name="Date Placeholder 3">
            <a:extLst>
              <a:ext uri="{FF2B5EF4-FFF2-40B4-BE49-F238E27FC236}">
                <a16:creationId xmlns:a16="http://schemas.microsoft.com/office/drawing/2014/main" id="{7C80D746-E5FF-476D-F169-173531F98C35}"/>
              </a:ext>
            </a:extLst>
          </p:cNvPr>
          <p:cNvSpPr>
            <a:spLocks noGrp="1"/>
          </p:cNvSpPr>
          <p:nvPr>
            <p:ph type="dt" sz="half" idx="10"/>
          </p:nvPr>
        </p:nvSpPr>
        <p:spPr/>
        <p:txBody>
          <a:bodyPr/>
          <a:lstStyle/>
          <a:p>
            <a:r>
              <a:rPr lang="en-US" dirty="0"/>
              <a:t>September 2025</a:t>
            </a:r>
            <a:endParaRPr lang="de-DE" dirty="0"/>
          </a:p>
        </p:txBody>
      </p:sp>
      <p:sp>
        <p:nvSpPr>
          <p:cNvPr id="7" name="Footer Placeholder 6">
            <a:extLst>
              <a:ext uri="{FF2B5EF4-FFF2-40B4-BE49-F238E27FC236}">
                <a16:creationId xmlns:a16="http://schemas.microsoft.com/office/drawing/2014/main" id="{7A9CE69A-6BDA-2B06-C18D-101E7DD36CC4}"/>
              </a:ext>
            </a:extLst>
          </p:cNvPr>
          <p:cNvSpPr>
            <a:spLocks noGrp="1"/>
          </p:cNvSpPr>
          <p:nvPr>
            <p:ph type="ftr" sz="quarter" idx="11"/>
          </p:nvPr>
        </p:nvSpPr>
        <p:spPr/>
        <p:txBody>
          <a:bodyPr/>
          <a:lstStyle/>
          <a:p>
            <a:r>
              <a:rPr lang="en-US" dirty="0"/>
              <a:t>Achieving robust textures with PTFE-free additives</a:t>
            </a:r>
            <a:endParaRPr lang="de-DE" dirty="0"/>
          </a:p>
        </p:txBody>
      </p:sp>
      <p:sp>
        <p:nvSpPr>
          <p:cNvPr id="8" name="Slide Number Placeholder 7">
            <a:extLst>
              <a:ext uri="{FF2B5EF4-FFF2-40B4-BE49-F238E27FC236}">
                <a16:creationId xmlns:a16="http://schemas.microsoft.com/office/drawing/2014/main" id="{2B1ECEDF-BFDE-8D59-48EC-88D72C27BB24}"/>
              </a:ext>
            </a:extLst>
          </p:cNvPr>
          <p:cNvSpPr>
            <a:spLocks noGrp="1"/>
          </p:cNvSpPr>
          <p:nvPr>
            <p:ph type="sldNum" sz="quarter" idx="12"/>
          </p:nvPr>
        </p:nvSpPr>
        <p:spPr/>
        <p:txBody>
          <a:bodyPr/>
          <a:lstStyle/>
          <a:p>
            <a:r>
              <a:rPr lang="de-DE"/>
              <a:t>Page </a:t>
            </a:r>
            <a:fld id="{8F63C9D9-3015-4EB3-9DF0-04DE0400ED04}" type="slidenum">
              <a:rPr smtClean="0"/>
              <a:pPr/>
              <a:t>24</a:t>
            </a:fld>
            <a:endParaRPr dirty="0"/>
          </a:p>
        </p:txBody>
      </p:sp>
      <p:sp>
        <p:nvSpPr>
          <p:cNvPr id="9" name="Rectangle 8">
            <a:extLst>
              <a:ext uri="{FF2B5EF4-FFF2-40B4-BE49-F238E27FC236}">
                <a16:creationId xmlns:a16="http://schemas.microsoft.com/office/drawing/2014/main" id="{194D4CAC-F700-86FC-BA28-4896A9876EE6}"/>
              </a:ext>
            </a:extLst>
          </p:cNvPr>
          <p:cNvSpPr/>
          <p:nvPr/>
        </p:nvSpPr>
        <p:spPr bwMode="auto">
          <a:xfrm>
            <a:off x="3575720" y="1124744"/>
            <a:ext cx="2304256" cy="30974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POSITIVE CONTROL</a:t>
            </a:r>
          </a:p>
        </p:txBody>
      </p:sp>
    </p:spTree>
    <p:extLst>
      <p:ext uri="{BB962C8B-B14F-4D97-AF65-F5344CB8AC3E}">
        <p14:creationId xmlns:p14="http://schemas.microsoft.com/office/powerpoint/2010/main" val="30408189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7E76676-61E3-F9C4-2664-91A552FFF588}"/>
              </a:ext>
            </a:extLst>
          </p:cNvPr>
          <p:cNvSpPr>
            <a:spLocks noGrp="1"/>
          </p:cNvSpPr>
          <p:nvPr>
            <p:ph type="title"/>
          </p:nvPr>
        </p:nvSpPr>
        <p:spPr>
          <a:xfrm>
            <a:off x="407987" y="188913"/>
            <a:ext cx="11376026" cy="683803"/>
          </a:xfrm>
        </p:spPr>
        <p:txBody>
          <a:bodyPr/>
          <a:lstStyle/>
          <a:p>
            <a:r>
              <a:rPr lang="en-US" dirty="0"/>
              <a:t>Salt Spray B-117 – 376 hours</a:t>
            </a:r>
          </a:p>
        </p:txBody>
      </p:sp>
      <p:pic>
        <p:nvPicPr>
          <p:cNvPr id="5" name="Content Placeholder 4">
            <a:extLst>
              <a:ext uri="{FF2B5EF4-FFF2-40B4-BE49-F238E27FC236}">
                <a16:creationId xmlns:a16="http://schemas.microsoft.com/office/drawing/2014/main" id="{C3F90BCD-E476-F5CE-47A0-8115091EFF5F}"/>
              </a:ext>
            </a:extLst>
          </p:cNvPr>
          <p:cNvPicPr>
            <a:picLocks noGrp="1" noChangeAspect="1"/>
          </p:cNvPicPr>
          <p:nvPr>
            <p:ph idx="1"/>
          </p:nvPr>
        </p:nvPicPr>
        <p:blipFill rotWithShape="1">
          <a:blip r:embed="rId2"/>
          <a:srcRect b="8364"/>
          <a:stretch>
            <a:fillRect/>
          </a:stretch>
        </p:blipFill>
        <p:spPr>
          <a:xfrm>
            <a:off x="525101" y="1160749"/>
            <a:ext cx="5266100" cy="3600400"/>
          </a:xfrm>
        </p:spPr>
      </p:pic>
      <p:pic>
        <p:nvPicPr>
          <p:cNvPr id="7" name="Picture 6">
            <a:extLst>
              <a:ext uri="{FF2B5EF4-FFF2-40B4-BE49-F238E27FC236}">
                <a16:creationId xmlns:a16="http://schemas.microsoft.com/office/drawing/2014/main" id="{C10B1445-21D4-30BB-B359-1E583414E28D}"/>
              </a:ext>
            </a:extLst>
          </p:cNvPr>
          <p:cNvPicPr>
            <a:picLocks noChangeAspect="1"/>
          </p:cNvPicPr>
          <p:nvPr/>
        </p:nvPicPr>
        <p:blipFill>
          <a:blip r:embed="rId3"/>
          <a:srcRect b="7534"/>
          <a:stretch>
            <a:fillRect/>
          </a:stretch>
        </p:blipFill>
        <p:spPr>
          <a:xfrm>
            <a:off x="5791200" y="1016732"/>
            <a:ext cx="5389829" cy="3744417"/>
          </a:xfrm>
          <a:prstGeom prst="rect">
            <a:avLst/>
          </a:prstGeom>
        </p:spPr>
      </p:pic>
      <p:sp>
        <p:nvSpPr>
          <p:cNvPr id="2" name="TextBox 1">
            <a:extLst>
              <a:ext uri="{FF2B5EF4-FFF2-40B4-BE49-F238E27FC236}">
                <a16:creationId xmlns:a16="http://schemas.microsoft.com/office/drawing/2014/main" id="{DC784FAF-5934-D34F-C2DB-394D4B20B35C}"/>
              </a:ext>
            </a:extLst>
          </p:cNvPr>
          <p:cNvSpPr txBox="1"/>
          <p:nvPr/>
        </p:nvSpPr>
        <p:spPr>
          <a:xfrm>
            <a:off x="731404" y="5877272"/>
            <a:ext cx="9937104" cy="40011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a:solidFill>
              <a:schemeClr val="tx1">
                <a:lumMod val="50000"/>
                <a:lumOff val="50000"/>
              </a:schemeClr>
            </a:solidFill>
          </a:ln>
        </p:spPr>
        <p:txBody>
          <a:bodyPr wrap="square" rtlCol="0">
            <a:spAutoFit/>
          </a:bodyPr>
          <a:lstStyle/>
          <a:p>
            <a:r>
              <a:rPr lang="en-US" sz="2000" dirty="0"/>
              <a:t>The organoclays showed similar performance to the positive control</a:t>
            </a:r>
          </a:p>
        </p:txBody>
      </p:sp>
      <p:sp>
        <p:nvSpPr>
          <p:cNvPr id="3" name="TextBox 2">
            <a:extLst>
              <a:ext uri="{FF2B5EF4-FFF2-40B4-BE49-F238E27FC236}">
                <a16:creationId xmlns:a16="http://schemas.microsoft.com/office/drawing/2014/main" id="{6ACF5F10-28C5-8E3E-BEBE-0E29E79EB701}"/>
              </a:ext>
            </a:extLst>
          </p:cNvPr>
          <p:cNvSpPr txBox="1"/>
          <p:nvPr/>
        </p:nvSpPr>
        <p:spPr>
          <a:xfrm>
            <a:off x="371364" y="5065439"/>
            <a:ext cx="11053228" cy="323165"/>
          </a:xfrm>
          <a:prstGeom prst="rect">
            <a:avLst/>
          </a:prstGeom>
          <a:noFill/>
        </p:spPr>
        <p:txBody>
          <a:bodyPr wrap="square" rtlCol="0">
            <a:spAutoFit/>
          </a:bodyPr>
          <a:lstStyle/>
          <a:p>
            <a:pPr algn="l"/>
            <a:r>
              <a:rPr lang="en-US" sz="1500" dirty="0"/>
              <a:t>2.5%ORGANOCLAY-G 7305          2.5%ORGANOCLAY-G 1958      2.5%ORGANOCLAY G 1210     2.5% ORGANOCLAY-C HY    </a:t>
            </a:r>
          </a:p>
        </p:txBody>
      </p:sp>
      <p:sp>
        <p:nvSpPr>
          <p:cNvPr id="4" name="Date Placeholder 3">
            <a:extLst>
              <a:ext uri="{FF2B5EF4-FFF2-40B4-BE49-F238E27FC236}">
                <a16:creationId xmlns:a16="http://schemas.microsoft.com/office/drawing/2014/main" id="{D353AA1D-7965-89DD-A871-BE53623D6572}"/>
              </a:ext>
            </a:extLst>
          </p:cNvPr>
          <p:cNvSpPr>
            <a:spLocks noGrp="1"/>
          </p:cNvSpPr>
          <p:nvPr>
            <p:ph type="dt" sz="half" idx="10"/>
          </p:nvPr>
        </p:nvSpPr>
        <p:spPr/>
        <p:txBody>
          <a:bodyPr/>
          <a:lstStyle/>
          <a:p>
            <a:r>
              <a:rPr lang="en-US"/>
              <a:t>September 2025</a:t>
            </a:r>
            <a:endParaRPr lang="de-DE" dirty="0"/>
          </a:p>
        </p:txBody>
      </p:sp>
      <p:sp>
        <p:nvSpPr>
          <p:cNvPr id="6" name="Footer Placeholder 5">
            <a:extLst>
              <a:ext uri="{FF2B5EF4-FFF2-40B4-BE49-F238E27FC236}">
                <a16:creationId xmlns:a16="http://schemas.microsoft.com/office/drawing/2014/main" id="{41075ED3-8217-C692-50C6-D4C9ED79E115}"/>
              </a:ext>
            </a:extLst>
          </p:cNvPr>
          <p:cNvSpPr>
            <a:spLocks noGrp="1"/>
          </p:cNvSpPr>
          <p:nvPr>
            <p:ph type="ftr" sz="quarter" idx="11"/>
          </p:nvPr>
        </p:nvSpPr>
        <p:spPr/>
        <p:txBody>
          <a:bodyPr/>
          <a:lstStyle/>
          <a:p>
            <a:r>
              <a:rPr lang="en-US"/>
              <a:t>Achieving robust textures with PTFE-free additives</a:t>
            </a:r>
            <a:endParaRPr lang="de-DE" dirty="0"/>
          </a:p>
        </p:txBody>
      </p:sp>
      <p:sp>
        <p:nvSpPr>
          <p:cNvPr id="9" name="Slide Number Placeholder 8">
            <a:extLst>
              <a:ext uri="{FF2B5EF4-FFF2-40B4-BE49-F238E27FC236}">
                <a16:creationId xmlns:a16="http://schemas.microsoft.com/office/drawing/2014/main" id="{C1B22C1C-068A-38B9-F850-7B1CFA209CCA}"/>
              </a:ext>
            </a:extLst>
          </p:cNvPr>
          <p:cNvSpPr>
            <a:spLocks noGrp="1"/>
          </p:cNvSpPr>
          <p:nvPr>
            <p:ph type="sldNum" sz="quarter" idx="12"/>
          </p:nvPr>
        </p:nvSpPr>
        <p:spPr/>
        <p:txBody>
          <a:bodyPr/>
          <a:lstStyle/>
          <a:p>
            <a:r>
              <a:rPr lang="de-DE"/>
              <a:t>Page </a:t>
            </a:r>
            <a:fld id="{8F63C9D9-3015-4EB3-9DF0-04DE0400ED04}" type="slidenum">
              <a:rPr smtClean="0"/>
              <a:pPr/>
              <a:t>25</a:t>
            </a:fld>
            <a:endParaRPr dirty="0"/>
          </a:p>
        </p:txBody>
      </p:sp>
    </p:spTree>
    <p:extLst>
      <p:ext uri="{BB962C8B-B14F-4D97-AF65-F5344CB8AC3E}">
        <p14:creationId xmlns:p14="http://schemas.microsoft.com/office/powerpoint/2010/main" val="37324799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A2A72-B09B-8477-67BB-9F7BF30D91A3}"/>
              </a:ext>
            </a:extLst>
          </p:cNvPr>
          <p:cNvSpPr>
            <a:spLocks noGrp="1"/>
          </p:cNvSpPr>
          <p:nvPr>
            <p:ph type="title"/>
          </p:nvPr>
        </p:nvSpPr>
        <p:spPr/>
        <p:txBody>
          <a:bodyPr/>
          <a:lstStyle/>
          <a:p>
            <a:r>
              <a:rPr lang="en-US" dirty="0"/>
              <a:t>Case Study II - Abrasion and Scratch Evaluation</a:t>
            </a:r>
          </a:p>
        </p:txBody>
      </p:sp>
      <p:graphicFrame>
        <p:nvGraphicFramePr>
          <p:cNvPr id="4" name="Content Placeholder 3">
            <a:extLst>
              <a:ext uri="{FF2B5EF4-FFF2-40B4-BE49-F238E27FC236}">
                <a16:creationId xmlns:a16="http://schemas.microsoft.com/office/drawing/2014/main" id="{C4D7CFED-8680-5A6B-D98F-CBE1C240AC02}"/>
              </a:ext>
            </a:extLst>
          </p:cNvPr>
          <p:cNvGraphicFramePr>
            <a:graphicFrameLocks noGrp="1"/>
          </p:cNvGraphicFramePr>
          <p:nvPr>
            <p:ph idx="1"/>
            <p:extLst>
              <p:ext uri="{D42A27DB-BD31-4B8C-83A1-F6EECF244321}">
                <p14:modId xmlns:p14="http://schemas.microsoft.com/office/powerpoint/2010/main" val="1937588858"/>
              </p:ext>
            </p:extLst>
          </p:nvPr>
        </p:nvGraphicFramePr>
        <p:xfrm>
          <a:off x="569346" y="980728"/>
          <a:ext cx="10853804" cy="3467477"/>
        </p:xfrm>
        <a:graphic>
          <a:graphicData uri="http://schemas.openxmlformats.org/drawingml/2006/table">
            <a:tbl>
              <a:tblPr/>
              <a:tblGrid>
                <a:gridCol w="2464303">
                  <a:extLst>
                    <a:ext uri="{9D8B030D-6E8A-4147-A177-3AD203B41FA5}">
                      <a16:colId xmlns:a16="http://schemas.microsoft.com/office/drawing/2014/main" val="3063144799"/>
                    </a:ext>
                  </a:extLst>
                </a:gridCol>
                <a:gridCol w="6124517">
                  <a:extLst>
                    <a:ext uri="{9D8B030D-6E8A-4147-A177-3AD203B41FA5}">
                      <a16:colId xmlns:a16="http://schemas.microsoft.com/office/drawing/2014/main" val="4083127810"/>
                    </a:ext>
                  </a:extLst>
                </a:gridCol>
                <a:gridCol w="2264984">
                  <a:extLst>
                    <a:ext uri="{9D8B030D-6E8A-4147-A177-3AD203B41FA5}">
                      <a16:colId xmlns:a16="http://schemas.microsoft.com/office/drawing/2014/main" val="1901476337"/>
                    </a:ext>
                  </a:extLst>
                </a:gridCol>
              </a:tblGrid>
              <a:tr h="825589">
                <a:tc>
                  <a:txBody>
                    <a:bodyPr/>
                    <a:lstStyle/>
                    <a:p>
                      <a:pPr algn="l" fontAlgn="b"/>
                      <a:r>
                        <a:rPr lang="en-US" sz="1800" b="1" i="0" u="none" strike="noStrike" dirty="0">
                          <a:solidFill>
                            <a:srgbClr val="000000"/>
                          </a:solidFill>
                          <a:effectLst/>
                          <a:latin typeface="+mj-lt"/>
                        </a:rPr>
                        <a:t>ADDITIV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tc>
                  <a:txBody>
                    <a:bodyPr/>
                    <a:lstStyle/>
                    <a:p>
                      <a:pPr algn="l" fontAlgn="b"/>
                      <a:r>
                        <a:rPr lang="en-US" sz="1800" b="1" i="0" u="none" strike="noStrike" dirty="0">
                          <a:solidFill>
                            <a:srgbClr val="000000"/>
                          </a:solidFill>
                          <a:effectLst/>
                          <a:latin typeface="+mj-lt"/>
                        </a:rPr>
                        <a:t>FUNC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tc>
                  <a:txBody>
                    <a:bodyPr/>
                    <a:lstStyle/>
                    <a:p>
                      <a:pPr algn="l" fontAlgn="b"/>
                      <a:r>
                        <a:rPr lang="en-US" sz="1800" b="1" i="0" u="none" strike="noStrike" dirty="0">
                          <a:solidFill>
                            <a:srgbClr val="000000"/>
                          </a:solidFill>
                          <a:effectLst/>
                          <a:latin typeface="+mj-lt"/>
                        </a:rPr>
                        <a:t>PTFE -STATU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extLst>
                  <a:ext uri="{0D108BD9-81ED-4DB2-BD59-A6C34878D82A}">
                    <a16:rowId xmlns:a16="http://schemas.microsoft.com/office/drawing/2014/main" val="3644745655"/>
                  </a:ext>
                </a:extLst>
              </a:tr>
              <a:tr h="660472">
                <a:tc>
                  <a:txBody>
                    <a:bodyPr/>
                    <a:lstStyle/>
                    <a:p>
                      <a:pPr algn="l" fontAlgn="b"/>
                      <a:r>
                        <a:rPr lang="en-US" sz="1800" b="0" i="0" u="none" strike="noStrike" dirty="0">
                          <a:solidFill>
                            <a:srgbClr val="000000"/>
                          </a:solidFill>
                          <a:effectLst/>
                          <a:latin typeface="+mj-lt"/>
                        </a:rPr>
                        <a:t>PTFE WAX/BLEN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dirty="0">
                          <a:solidFill>
                            <a:srgbClr val="000000"/>
                          </a:solidFill>
                          <a:effectLst/>
                          <a:latin typeface="+mj-lt"/>
                        </a:rPr>
                        <a:t>PTFE/PE Wax/Surface protection - scratch/ abras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dirty="0">
                          <a:solidFill>
                            <a:srgbClr val="000000"/>
                          </a:solidFill>
                          <a:effectLst/>
                          <a:latin typeface="+mj-lt"/>
                        </a:rPr>
                        <a:t>CONTAINS PTF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5456136"/>
                  </a:ext>
                </a:extLst>
              </a:tr>
              <a:tr h="660472">
                <a:tc>
                  <a:txBody>
                    <a:bodyPr/>
                    <a:lstStyle/>
                    <a:p>
                      <a:pPr algn="l" fontAlgn="b"/>
                      <a:r>
                        <a:rPr lang="en-US" sz="1800" b="0" i="0" u="none" strike="noStrike" dirty="0">
                          <a:solidFill>
                            <a:srgbClr val="000000"/>
                          </a:solidFill>
                          <a:effectLst/>
                          <a:latin typeface="+mj-lt"/>
                        </a:rPr>
                        <a:t>Polymer-base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dirty="0">
                          <a:solidFill>
                            <a:srgbClr val="000000"/>
                          </a:solidFill>
                          <a:effectLst/>
                          <a:latin typeface="+mj-lt"/>
                        </a:rPr>
                        <a:t>Surface protection - Scratch and Slip properti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dirty="0">
                          <a:solidFill>
                            <a:srgbClr val="000000"/>
                          </a:solidFill>
                          <a:effectLst/>
                          <a:latin typeface="+mj-lt"/>
                        </a:rPr>
                        <a:t>PTFE-fre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9282712"/>
                  </a:ext>
                </a:extLst>
              </a:tr>
              <a:tr h="660472">
                <a:tc>
                  <a:txBody>
                    <a:bodyPr/>
                    <a:lstStyle/>
                    <a:p>
                      <a:pPr algn="l" fontAlgn="b"/>
                      <a:r>
                        <a:rPr lang="en-US" sz="1800" b="0" i="0" u="none" strike="noStrike" dirty="0">
                          <a:solidFill>
                            <a:srgbClr val="000000"/>
                          </a:solidFill>
                          <a:effectLst/>
                          <a:latin typeface="+mj-lt"/>
                        </a:rPr>
                        <a:t>PE Wax  105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dirty="0">
                          <a:solidFill>
                            <a:srgbClr val="000000"/>
                          </a:solidFill>
                          <a:effectLst/>
                          <a:latin typeface="+mj-lt"/>
                        </a:rPr>
                        <a:t>PE Wax for improved scratch &amp; Abrasion resistanc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dirty="0">
                          <a:solidFill>
                            <a:srgbClr val="000000"/>
                          </a:solidFill>
                          <a:effectLst/>
                          <a:latin typeface="+mj-lt"/>
                        </a:rPr>
                        <a:t>PTFE-fre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5644592"/>
                  </a:ext>
                </a:extLst>
              </a:tr>
              <a:tr h="660472">
                <a:tc>
                  <a:txBody>
                    <a:bodyPr/>
                    <a:lstStyle/>
                    <a:p>
                      <a:pPr algn="l" fontAlgn="b"/>
                      <a:r>
                        <a:rPr lang="en-US" sz="1800" b="0" i="0" u="none" strike="noStrike" dirty="0">
                          <a:solidFill>
                            <a:srgbClr val="000000"/>
                          </a:solidFill>
                          <a:effectLst/>
                          <a:latin typeface="+mj-lt"/>
                        </a:rPr>
                        <a:t>PE Wax  105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dirty="0">
                          <a:solidFill>
                            <a:srgbClr val="000000"/>
                          </a:solidFill>
                          <a:effectLst/>
                          <a:latin typeface="+mj-lt"/>
                        </a:rPr>
                        <a:t>PE Wax for improved scratch &amp; Abrasion resistanc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dirty="0">
                          <a:solidFill>
                            <a:srgbClr val="000000"/>
                          </a:solidFill>
                          <a:effectLst/>
                          <a:latin typeface="+mj-lt"/>
                        </a:rPr>
                        <a:t>PTFE-fre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4002024"/>
                  </a:ext>
                </a:extLst>
              </a:tr>
            </a:tbl>
          </a:graphicData>
        </a:graphic>
      </p:graphicFrame>
      <p:pic>
        <p:nvPicPr>
          <p:cNvPr id="5" name="Picture 4">
            <a:extLst>
              <a:ext uri="{FF2B5EF4-FFF2-40B4-BE49-F238E27FC236}">
                <a16:creationId xmlns:a16="http://schemas.microsoft.com/office/drawing/2014/main" id="{F7FF08C7-F203-E659-D735-A950CC39062D}"/>
              </a:ext>
            </a:extLst>
          </p:cNvPr>
          <p:cNvPicPr>
            <a:picLocks noChangeAspect="1"/>
          </p:cNvPicPr>
          <p:nvPr/>
        </p:nvPicPr>
        <p:blipFill>
          <a:blip r:embed="rId2"/>
          <a:stretch>
            <a:fillRect/>
          </a:stretch>
        </p:blipFill>
        <p:spPr>
          <a:xfrm>
            <a:off x="1019436" y="4653136"/>
            <a:ext cx="9953625" cy="1914525"/>
          </a:xfrm>
          <a:prstGeom prst="rect">
            <a:avLst/>
          </a:prstGeom>
        </p:spPr>
      </p:pic>
      <p:sp>
        <p:nvSpPr>
          <p:cNvPr id="3" name="Date Placeholder 2">
            <a:extLst>
              <a:ext uri="{FF2B5EF4-FFF2-40B4-BE49-F238E27FC236}">
                <a16:creationId xmlns:a16="http://schemas.microsoft.com/office/drawing/2014/main" id="{4BED69FD-C0C3-1760-39C6-60AD198D02FA}"/>
              </a:ext>
            </a:extLst>
          </p:cNvPr>
          <p:cNvSpPr>
            <a:spLocks noGrp="1"/>
          </p:cNvSpPr>
          <p:nvPr>
            <p:ph type="dt" sz="half" idx="10"/>
          </p:nvPr>
        </p:nvSpPr>
        <p:spPr/>
        <p:txBody>
          <a:bodyPr/>
          <a:lstStyle/>
          <a:p>
            <a:r>
              <a:rPr lang="en-US"/>
              <a:t>September 2025</a:t>
            </a:r>
            <a:endParaRPr lang="de-DE" dirty="0"/>
          </a:p>
        </p:txBody>
      </p:sp>
      <p:sp>
        <p:nvSpPr>
          <p:cNvPr id="6" name="Footer Placeholder 5">
            <a:extLst>
              <a:ext uri="{FF2B5EF4-FFF2-40B4-BE49-F238E27FC236}">
                <a16:creationId xmlns:a16="http://schemas.microsoft.com/office/drawing/2014/main" id="{B5A8AFC4-F6D4-70E0-94E5-06EAD17CAEE5}"/>
              </a:ext>
            </a:extLst>
          </p:cNvPr>
          <p:cNvSpPr>
            <a:spLocks noGrp="1"/>
          </p:cNvSpPr>
          <p:nvPr>
            <p:ph type="ftr" sz="quarter" idx="11"/>
          </p:nvPr>
        </p:nvSpPr>
        <p:spPr/>
        <p:txBody>
          <a:bodyPr/>
          <a:lstStyle/>
          <a:p>
            <a:r>
              <a:rPr lang="en-US"/>
              <a:t>Achieving robust textures with PTFE-free additives</a:t>
            </a:r>
            <a:endParaRPr lang="de-DE" dirty="0"/>
          </a:p>
        </p:txBody>
      </p:sp>
      <p:sp>
        <p:nvSpPr>
          <p:cNvPr id="7" name="Slide Number Placeholder 6">
            <a:extLst>
              <a:ext uri="{FF2B5EF4-FFF2-40B4-BE49-F238E27FC236}">
                <a16:creationId xmlns:a16="http://schemas.microsoft.com/office/drawing/2014/main" id="{CF15B5A3-06E3-3E60-77C8-241746673F74}"/>
              </a:ext>
            </a:extLst>
          </p:cNvPr>
          <p:cNvSpPr>
            <a:spLocks noGrp="1"/>
          </p:cNvSpPr>
          <p:nvPr>
            <p:ph type="sldNum" sz="quarter" idx="12"/>
          </p:nvPr>
        </p:nvSpPr>
        <p:spPr/>
        <p:txBody>
          <a:bodyPr/>
          <a:lstStyle/>
          <a:p>
            <a:r>
              <a:rPr lang="de-DE"/>
              <a:t>Page </a:t>
            </a:r>
            <a:fld id="{8F63C9D9-3015-4EB3-9DF0-04DE0400ED04}" type="slidenum">
              <a:rPr smtClean="0"/>
              <a:pPr/>
              <a:t>26</a:t>
            </a:fld>
            <a:endParaRPr dirty="0"/>
          </a:p>
        </p:txBody>
      </p:sp>
    </p:spTree>
    <p:extLst>
      <p:ext uri="{BB962C8B-B14F-4D97-AF65-F5344CB8AC3E}">
        <p14:creationId xmlns:p14="http://schemas.microsoft.com/office/powerpoint/2010/main" val="4597832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7721F-AB7D-87B4-F3A9-C48708BFE420}"/>
              </a:ext>
            </a:extLst>
          </p:cNvPr>
          <p:cNvSpPr>
            <a:spLocks noGrp="1"/>
          </p:cNvSpPr>
          <p:nvPr>
            <p:ph type="title"/>
          </p:nvPr>
        </p:nvSpPr>
        <p:spPr/>
        <p:txBody>
          <a:bodyPr/>
          <a:lstStyle/>
          <a:p>
            <a:r>
              <a:rPr lang="en-US" dirty="0"/>
              <a:t>Formulation</a:t>
            </a:r>
          </a:p>
        </p:txBody>
      </p:sp>
      <p:sp>
        <p:nvSpPr>
          <p:cNvPr id="3" name="Date Placeholder 2">
            <a:extLst>
              <a:ext uri="{FF2B5EF4-FFF2-40B4-BE49-F238E27FC236}">
                <a16:creationId xmlns:a16="http://schemas.microsoft.com/office/drawing/2014/main" id="{6D77B0C7-B651-A22B-F228-399F88D5654F}"/>
              </a:ext>
            </a:extLst>
          </p:cNvPr>
          <p:cNvSpPr>
            <a:spLocks noGrp="1"/>
          </p:cNvSpPr>
          <p:nvPr>
            <p:ph type="dt" sz="half" idx="10"/>
          </p:nvPr>
        </p:nvSpPr>
        <p:spPr/>
        <p:txBody>
          <a:bodyPr/>
          <a:lstStyle/>
          <a:p>
            <a:r>
              <a:rPr lang="en-US"/>
              <a:t>September 2025</a:t>
            </a:r>
            <a:endParaRPr lang="en-US" dirty="0"/>
          </a:p>
        </p:txBody>
      </p:sp>
      <p:sp>
        <p:nvSpPr>
          <p:cNvPr id="4" name="Footer Placeholder 3">
            <a:extLst>
              <a:ext uri="{FF2B5EF4-FFF2-40B4-BE49-F238E27FC236}">
                <a16:creationId xmlns:a16="http://schemas.microsoft.com/office/drawing/2014/main" id="{49AA6CC1-4468-4B93-6727-17B0296517EF}"/>
              </a:ext>
            </a:extLst>
          </p:cNvPr>
          <p:cNvSpPr>
            <a:spLocks noGrp="1"/>
          </p:cNvSpPr>
          <p:nvPr>
            <p:ph type="ftr" sz="quarter" idx="11"/>
          </p:nvPr>
        </p:nvSpPr>
        <p:spPr/>
        <p:txBody>
          <a:bodyPr/>
          <a:lstStyle/>
          <a:p>
            <a:r>
              <a:rPr lang="en-US"/>
              <a:t>Achieving robust textures with PTFE-free additives</a:t>
            </a:r>
            <a:endParaRPr lang="en-US" dirty="0"/>
          </a:p>
        </p:txBody>
      </p:sp>
      <p:sp>
        <p:nvSpPr>
          <p:cNvPr id="5" name="Slide Number Placeholder 4">
            <a:extLst>
              <a:ext uri="{FF2B5EF4-FFF2-40B4-BE49-F238E27FC236}">
                <a16:creationId xmlns:a16="http://schemas.microsoft.com/office/drawing/2014/main" id="{F8E68F41-D03C-D65C-14C3-A4FE0E7D25B5}"/>
              </a:ext>
            </a:extLst>
          </p:cNvPr>
          <p:cNvSpPr>
            <a:spLocks noGrp="1"/>
          </p:cNvSpPr>
          <p:nvPr>
            <p:ph type="sldNum" sz="quarter" idx="12"/>
          </p:nvPr>
        </p:nvSpPr>
        <p:spPr/>
        <p:txBody>
          <a:bodyPr/>
          <a:lstStyle/>
          <a:p>
            <a:r>
              <a:rPr lang="de-DE"/>
              <a:t>Page </a:t>
            </a:r>
            <a:fld id="{8F63C9D9-3015-4EB3-9DF0-04DE0400ED04}" type="slidenum">
              <a:rPr smtClean="0"/>
              <a:pPr/>
              <a:t>27</a:t>
            </a:fld>
            <a:endParaRPr dirty="0"/>
          </a:p>
        </p:txBody>
      </p:sp>
      <p:graphicFrame>
        <p:nvGraphicFramePr>
          <p:cNvPr id="6" name="Table 5">
            <a:extLst>
              <a:ext uri="{FF2B5EF4-FFF2-40B4-BE49-F238E27FC236}">
                <a16:creationId xmlns:a16="http://schemas.microsoft.com/office/drawing/2014/main" id="{ED28F46A-5B37-0AE0-083F-2AA6B0CCAA03}"/>
              </a:ext>
            </a:extLst>
          </p:cNvPr>
          <p:cNvGraphicFramePr>
            <a:graphicFrameLocks noGrp="1"/>
          </p:cNvGraphicFramePr>
          <p:nvPr>
            <p:extLst>
              <p:ext uri="{D42A27DB-BD31-4B8C-83A1-F6EECF244321}">
                <p14:modId xmlns:p14="http://schemas.microsoft.com/office/powerpoint/2010/main" val="841554257"/>
              </p:ext>
            </p:extLst>
          </p:nvPr>
        </p:nvGraphicFramePr>
        <p:xfrm>
          <a:off x="731404" y="872716"/>
          <a:ext cx="10477162" cy="4500278"/>
        </p:xfrm>
        <a:graphic>
          <a:graphicData uri="http://schemas.openxmlformats.org/drawingml/2006/table">
            <a:tbl>
              <a:tblPr/>
              <a:tblGrid>
                <a:gridCol w="3507774">
                  <a:extLst>
                    <a:ext uri="{9D8B030D-6E8A-4147-A177-3AD203B41FA5}">
                      <a16:colId xmlns:a16="http://schemas.microsoft.com/office/drawing/2014/main" val="990190996"/>
                    </a:ext>
                  </a:extLst>
                </a:gridCol>
                <a:gridCol w="1200027">
                  <a:extLst>
                    <a:ext uri="{9D8B030D-6E8A-4147-A177-3AD203B41FA5}">
                      <a16:colId xmlns:a16="http://schemas.microsoft.com/office/drawing/2014/main" val="1718499681"/>
                    </a:ext>
                  </a:extLst>
                </a:gridCol>
                <a:gridCol w="1200027">
                  <a:extLst>
                    <a:ext uri="{9D8B030D-6E8A-4147-A177-3AD203B41FA5}">
                      <a16:colId xmlns:a16="http://schemas.microsoft.com/office/drawing/2014/main" val="1366865702"/>
                    </a:ext>
                  </a:extLst>
                </a:gridCol>
                <a:gridCol w="1126179">
                  <a:extLst>
                    <a:ext uri="{9D8B030D-6E8A-4147-A177-3AD203B41FA5}">
                      <a16:colId xmlns:a16="http://schemas.microsoft.com/office/drawing/2014/main" val="1712647700"/>
                    </a:ext>
                  </a:extLst>
                </a:gridCol>
                <a:gridCol w="1200027">
                  <a:extLst>
                    <a:ext uri="{9D8B030D-6E8A-4147-A177-3AD203B41FA5}">
                      <a16:colId xmlns:a16="http://schemas.microsoft.com/office/drawing/2014/main" val="343775759"/>
                    </a:ext>
                  </a:extLst>
                </a:gridCol>
                <a:gridCol w="1149257">
                  <a:extLst>
                    <a:ext uri="{9D8B030D-6E8A-4147-A177-3AD203B41FA5}">
                      <a16:colId xmlns:a16="http://schemas.microsoft.com/office/drawing/2014/main" val="1933784234"/>
                    </a:ext>
                  </a:extLst>
                </a:gridCol>
                <a:gridCol w="1093871">
                  <a:extLst>
                    <a:ext uri="{9D8B030D-6E8A-4147-A177-3AD203B41FA5}">
                      <a16:colId xmlns:a16="http://schemas.microsoft.com/office/drawing/2014/main" val="3323093773"/>
                    </a:ext>
                  </a:extLst>
                </a:gridCol>
              </a:tblGrid>
              <a:tr h="384170">
                <a:tc>
                  <a:txBody>
                    <a:bodyPr/>
                    <a:lstStyle/>
                    <a:p>
                      <a:pPr algn="l" fontAlgn="b">
                        <a:buNone/>
                      </a:pPr>
                      <a:r>
                        <a:rPr lang="en-US" sz="1800" b="1" i="0" u="none" strike="noStrike" dirty="0">
                          <a:solidFill>
                            <a:srgbClr val="000000"/>
                          </a:solidFill>
                          <a:effectLst/>
                          <a:latin typeface="Calibri" panose="020F0502020204030204" pitchFamily="34" charset="0"/>
                        </a:rPr>
                        <a:t>Raw material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buNone/>
                      </a:pPr>
                      <a:r>
                        <a:rPr lang="en-US" sz="1800" b="1" i="0" u="none" strike="noStrike" dirty="0">
                          <a:solidFill>
                            <a:srgbClr val="000000"/>
                          </a:solidFill>
                          <a:effectLst/>
                          <a:latin typeface="Calibri" panose="020F0502020204030204" pitchFamily="34" charset="0"/>
                        </a:rPr>
                        <a:t>Sourc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buNone/>
                      </a:pPr>
                      <a:r>
                        <a:rPr lang="en-US" sz="1800" b="1" i="0" u="none" strike="noStrike" dirty="0">
                          <a:solidFill>
                            <a:srgbClr val="000000"/>
                          </a:solidFill>
                          <a:effectLst/>
                          <a:latin typeface="Calibri" panose="020F0502020204030204" pitchFamily="34" charset="0"/>
                        </a:rPr>
                        <a:t>DF01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buNone/>
                      </a:pPr>
                      <a:r>
                        <a:rPr lang="en-US" sz="1800" b="1" i="0" u="none" strike="noStrike" dirty="0">
                          <a:solidFill>
                            <a:srgbClr val="000000"/>
                          </a:solidFill>
                          <a:effectLst/>
                          <a:latin typeface="Calibri" panose="020F0502020204030204" pitchFamily="34" charset="0"/>
                        </a:rPr>
                        <a:t>DF01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buNone/>
                      </a:pPr>
                      <a:r>
                        <a:rPr lang="en-US" sz="1800" b="1" i="0" u="none" strike="noStrike" dirty="0">
                          <a:solidFill>
                            <a:srgbClr val="000000"/>
                          </a:solidFill>
                          <a:effectLst/>
                          <a:latin typeface="Calibri" panose="020F0502020204030204" pitchFamily="34" charset="0"/>
                        </a:rPr>
                        <a:t>DF01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buNone/>
                      </a:pPr>
                      <a:r>
                        <a:rPr lang="en-US" sz="1800" b="1" i="0" u="none" strike="noStrike" dirty="0">
                          <a:solidFill>
                            <a:srgbClr val="000000"/>
                          </a:solidFill>
                          <a:effectLst/>
                          <a:latin typeface="Calibri" panose="020F0502020204030204" pitchFamily="34" charset="0"/>
                        </a:rPr>
                        <a:t>DF01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buNone/>
                      </a:pPr>
                      <a:r>
                        <a:rPr lang="en-US" sz="1800" b="1" i="0" u="none" strike="noStrike" dirty="0">
                          <a:solidFill>
                            <a:srgbClr val="000000"/>
                          </a:solidFill>
                          <a:effectLst/>
                          <a:latin typeface="Calibri" panose="020F0502020204030204" pitchFamily="34" charset="0"/>
                        </a:rPr>
                        <a:t>DF01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09432830"/>
                  </a:ext>
                </a:extLst>
              </a:tr>
              <a:tr h="343009">
                <a:tc>
                  <a:txBody>
                    <a:bodyPr/>
                    <a:lstStyle/>
                    <a:p>
                      <a:pPr algn="l" fontAlgn="b">
                        <a:buNone/>
                      </a:pPr>
                      <a:r>
                        <a:rPr lang="en-US" sz="1600" b="1" i="0" u="none" strike="noStrike" dirty="0">
                          <a:solidFill>
                            <a:srgbClr val="000000"/>
                          </a:solidFill>
                          <a:effectLst/>
                          <a:latin typeface="Calibri" panose="020F0502020204030204" pitchFamily="34" charset="0"/>
                        </a:rPr>
                        <a:t>RESI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5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5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5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5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5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8924512"/>
                  </a:ext>
                </a:extLst>
              </a:tr>
              <a:tr h="343009">
                <a:tc>
                  <a:txBody>
                    <a:bodyPr/>
                    <a:lstStyle/>
                    <a:p>
                      <a:pPr algn="l" fontAlgn="b">
                        <a:buNone/>
                      </a:pPr>
                      <a:r>
                        <a:rPr lang="en-US" sz="1600" b="1" i="0" u="none" strike="noStrike" dirty="0">
                          <a:solidFill>
                            <a:srgbClr val="000000"/>
                          </a:solidFill>
                          <a:effectLst/>
                          <a:latin typeface="Calibri" panose="020F0502020204030204" pitchFamily="34" charset="0"/>
                        </a:rPr>
                        <a:t>PRIMID CROSSLINK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600" b="1"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dirty="0">
                          <a:solidFill>
                            <a:srgbClr val="000000"/>
                          </a:solidFill>
                          <a:effectLst/>
                          <a:latin typeface="Calibri" panose="020F0502020204030204" pitchFamily="34" charset="0"/>
                        </a:rPr>
                        <a:t>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35016731"/>
                  </a:ext>
                </a:extLst>
              </a:tr>
              <a:tr h="343009">
                <a:tc>
                  <a:txBody>
                    <a:bodyPr/>
                    <a:lstStyle/>
                    <a:p>
                      <a:pPr algn="l" fontAlgn="b">
                        <a:buNone/>
                      </a:pPr>
                      <a:r>
                        <a:rPr lang="en-US" sz="1600" b="1" i="0" u="none" strike="noStrike">
                          <a:solidFill>
                            <a:srgbClr val="000000"/>
                          </a:solidFill>
                          <a:effectLst/>
                          <a:latin typeface="Calibri" panose="020F0502020204030204" pitchFamily="34" charset="0"/>
                        </a:rPr>
                        <a:t>Benzoi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dirty="0">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5882474"/>
                  </a:ext>
                </a:extLst>
              </a:tr>
              <a:tr h="343009">
                <a:tc>
                  <a:txBody>
                    <a:bodyPr/>
                    <a:lstStyle/>
                    <a:p>
                      <a:pPr algn="l" fontAlgn="b">
                        <a:buNone/>
                      </a:pPr>
                      <a:r>
                        <a:rPr lang="en-US" sz="1600" b="1" i="0" u="none" strike="noStrike">
                          <a:solidFill>
                            <a:srgbClr val="000000"/>
                          </a:solidFill>
                          <a:effectLst/>
                          <a:latin typeface="Calibri" panose="020F0502020204030204" pitchFamily="34" charset="0"/>
                        </a:rPr>
                        <a:t>leveling Additiv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600" b="1" i="0" u="none" strike="noStrike">
                          <a:solidFill>
                            <a:srgbClr val="000000"/>
                          </a:solidFill>
                          <a:effectLst/>
                          <a:latin typeface="Calibri" panose="020F0502020204030204" pitchFamily="34" charset="0"/>
                        </a:rPr>
                        <a:t>BYK-US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dirty="0">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0266447"/>
                  </a:ext>
                </a:extLst>
              </a:tr>
              <a:tr h="343009">
                <a:tc>
                  <a:txBody>
                    <a:bodyPr/>
                    <a:lstStyle/>
                    <a:p>
                      <a:pPr algn="l" fontAlgn="b">
                        <a:buNone/>
                      </a:pPr>
                      <a:r>
                        <a:rPr lang="en-US" sz="1600" b="1" i="0" u="none" strike="noStrike" dirty="0">
                          <a:solidFill>
                            <a:srgbClr val="000000"/>
                          </a:solidFill>
                          <a:effectLst/>
                          <a:latin typeface="Calibri" panose="020F0502020204030204" pitchFamily="34" charset="0"/>
                        </a:rPr>
                        <a:t>Pigment  BLAC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dirty="0">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3334844"/>
                  </a:ext>
                </a:extLst>
              </a:tr>
              <a:tr h="343009">
                <a:tc>
                  <a:txBody>
                    <a:bodyPr/>
                    <a:lstStyle/>
                    <a:p>
                      <a:pPr algn="l" fontAlgn="b">
                        <a:buNone/>
                      </a:pPr>
                      <a:r>
                        <a:rPr lang="en-US" sz="1600" b="1" i="0" u="none" strike="noStrike" dirty="0">
                          <a:solidFill>
                            <a:srgbClr val="000000"/>
                          </a:solidFill>
                          <a:effectLst/>
                          <a:latin typeface="Calibri" panose="020F0502020204030204" pitchFamily="34" charset="0"/>
                        </a:rPr>
                        <a:t>PTFE WAX/BLE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buNone/>
                      </a:pPr>
                      <a:r>
                        <a:rPr lang="en-US" sz="1600" b="1" i="0" u="none" strike="noStrike">
                          <a:solidFill>
                            <a:srgbClr val="000000"/>
                          </a:solidFill>
                          <a:effectLst/>
                          <a:latin typeface="Calibri" panose="020F0502020204030204" pitchFamily="34" charset="0"/>
                        </a:rPr>
                        <a:t>BYK-US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dirty="0">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41362303"/>
                  </a:ext>
                </a:extLst>
              </a:tr>
              <a:tr h="343009">
                <a:tc>
                  <a:txBody>
                    <a:bodyPr/>
                    <a:lstStyle/>
                    <a:p>
                      <a:pPr algn="l" fontAlgn="b">
                        <a:buNone/>
                      </a:pPr>
                      <a:r>
                        <a:rPr lang="en-US" sz="1600" b="1" i="0" u="none" strike="noStrike" dirty="0">
                          <a:solidFill>
                            <a:srgbClr val="000000"/>
                          </a:solidFill>
                          <a:effectLst/>
                          <a:latin typeface="Calibri" panose="020F0502020204030204" pitchFamily="34" charset="0"/>
                        </a:rPr>
                        <a:t>Polymer-base slip/scratch ad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buNone/>
                      </a:pPr>
                      <a:r>
                        <a:rPr lang="en-US" sz="1600" b="1" i="0" u="none" strike="noStrike">
                          <a:solidFill>
                            <a:srgbClr val="000000"/>
                          </a:solidFill>
                          <a:effectLst/>
                          <a:latin typeface="Calibri" panose="020F0502020204030204" pitchFamily="34" charset="0"/>
                        </a:rPr>
                        <a:t>BYK-US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dirty="0">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62510727"/>
                  </a:ext>
                </a:extLst>
              </a:tr>
              <a:tr h="343009">
                <a:tc>
                  <a:txBody>
                    <a:bodyPr/>
                    <a:lstStyle/>
                    <a:p>
                      <a:pPr algn="l" fontAlgn="b">
                        <a:buNone/>
                      </a:pPr>
                      <a:r>
                        <a:rPr lang="en-US" sz="1600" b="1" i="0" u="none" strike="noStrike" dirty="0">
                          <a:solidFill>
                            <a:srgbClr val="000000"/>
                          </a:solidFill>
                          <a:effectLst/>
                          <a:latin typeface="Calibri" panose="020F0502020204030204" pitchFamily="34" charset="0"/>
                        </a:rPr>
                        <a:t>PE WAX-10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buNone/>
                      </a:pPr>
                      <a:r>
                        <a:rPr lang="en-US" sz="1600" b="1" i="0" u="none" strike="noStrike" dirty="0">
                          <a:solidFill>
                            <a:srgbClr val="000000"/>
                          </a:solidFill>
                          <a:effectLst/>
                          <a:latin typeface="Calibri" panose="020F0502020204030204" pitchFamily="34" charset="0"/>
                        </a:rPr>
                        <a:t>BYK-US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02962405"/>
                  </a:ext>
                </a:extLst>
              </a:tr>
              <a:tr h="343009">
                <a:tc>
                  <a:txBody>
                    <a:bodyPr/>
                    <a:lstStyle/>
                    <a:p>
                      <a:pPr algn="l" fontAlgn="b">
                        <a:buNone/>
                      </a:pPr>
                      <a:r>
                        <a:rPr lang="en-US" sz="1600" b="1" i="0" u="none" strike="noStrike" dirty="0">
                          <a:solidFill>
                            <a:srgbClr val="000000"/>
                          </a:solidFill>
                          <a:effectLst/>
                          <a:latin typeface="Calibri" panose="020F0502020204030204" pitchFamily="34" charset="0"/>
                        </a:rPr>
                        <a:t>PE WAX- 10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buNone/>
                      </a:pPr>
                      <a:r>
                        <a:rPr lang="en-US" sz="1600" b="1" i="0" u="none" strike="noStrike">
                          <a:solidFill>
                            <a:srgbClr val="000000"/>
                          </a:solidFill>
                          <a:effectLst/>
                          <a:latin typeface="Calibri" panose="020F0502020204030204" pitchFamily="34" charset="0"/>
                        </a:rPr>
                        <a:t>BYK-US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buNone/>
                      </a:pPr>
                      <a:r>
                        <a:rPr lang="en-US" sz="1600" b="1" i="0" u="none" strike="noStrike" dirty="0">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96341595"/>
                  </a:ext>
                </a:extLst>
              </a:tr>
              <a:tr h="343009">
                <a:tc>
                  <a:txBody>
                    <a:bodyPr/>
                    <a:lstStyle/>
                    <a:p>
                      <a:pPr algn="l" fontAlgn="b">
                        <a:buNone/>
                      </a:pPr>
                      <a:r>
                        <a:rPr lang="en-US" sz="1600" b="1" i="0" u="none" strike="noStrike">
                          <a:solidFill>
                            <a:srgbClr val="000000"/>
                          </a:solidFill>
                          <a:effectLst/>
                          <a:latin typeface="Calibri" panose="020F0502020204030204" pitchFamily="34" charset="0"/>
                        </a:rPr>
                        <a:t>Filler - 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dirty="0">
                          <a:solidFill>
                            <a:srgbClr val="000000"/>
                          </a:solidFill>
                          <a:effectLst/>
                          <a:latin typeface="Calibri" panose="020F0502020204030204" pitchFamily="34" charset="0"/>
                        </a:rPr>
                        <a:t>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866881"/>
                  </a:ext>
                </a:extLst>
              </a:tr>
              <a:tr h="343009">
                <a:tc>
                  <a:txBody>
                    <a:bodyPr/>
                    <a:lstStyle/>
                    <a:p>
                      <a:pPr algn="l" fontAlgn="b">
                        <a:buNone/>
                      </a:pPr>
                      <a:r>
                        <a:rPr lang="en-US" sz="1600" b="1" i="0" u="none" strike="noStrike">
                          <a:solidFill>
                            <a:srgbClr val="000000"/>
                          </a:solidFill>
                          <a:effectLst/>
                          <a:latin typeface="Calibri" panose="020F0502020204030204" pitchFamily="34" charset="0"/>
                        </a:rPr>
                        <a:t>Filler -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dirty="0">
                          <a:solidFill>
                            <a:srgbClr val="000000"/>
                          </a:solidFill>
                          <a:effectLst/>
                          <a:latin typeface="Calibri" panose="020F0502020204030204" pitchFamily="34" charset="0"/>
                        </a:rPr>
                        <a:t>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dirty="0">
                          <a:solidFill>
                            <a:srgbClr val="000000"/>
                          </a:solidFill>
                          <a:effectLst/>
                          <a:latin typeface="Calibri" panose="020F0502020204030204" pitchFamily="34" charset="0"/>
                        </a:rPr>
                        <a:t>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2971901"/>
                  </a:ext>
                </a:extLst>
              </a:tr>
              <a:tr h="343009">
                <a:tc>
                  <a:txBody>
                    <a:bodyPr/>
                    <a:lstStyle/>
                    <a:p>
                      <a:pPr algn="l" fontAlgn="b">
                        <a:buNone/>
                      </a:pPr>
                      <a:r>
                        <a:rPr lang="en-US" sz="1600" b="1" i="0" u="none" strike="noStrike">
                          <a:solidFill>
                            <a:srgbClr val="000000"/>
                          </a:solidFill>
                          <a:effectLst/>
                          <a:latin typeface="Calibri" panose="020F0502020204030204" pitchFamily="34" charset="0"/>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6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0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0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a:solidFill>
                            <a:srgbClr val="000000"/>
                          </a:solidFill>
                          <a:effectLst/>
                          <a:latin typeface="Calibri" panose="020F0502020204030204" pitchFamily="34" charset="0"/>
                        </a:rPr>
                        <a:t>10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1" i="0" u="none" strike="noStrike" dirty="0">
                          <a:solidFill>
                            <a:srgbClr val="000000"/>
                          </a:solidFill>
                          <a:effectLst/>
                          <a:latin typeface="Calibri" panose="020F0502020204030204" pitchFamily="34" charset="0"/>
                        </a:rPr>
                        <a:t>10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3362003"/>
                  </a:ext>
                </a:extLst>
              </a:tr>
            </a:tbl>
          </a:graphicData>
        </a:graphic>
      </p:graphicFrame>
      <p:cxnSp>
        <p:nvCxnSpPr>
          <p:cNvPr id="8" name="Straight Arrow Connector 7">
            <a:extLst>
              <a:ext uri="{FF2B5EF4-FFF2-40B4-BE49-F238E27FC236}">
                <a16:creationId xmlns:a16="http://schemas.microsoft.com/office/drawing/2014/main" id="{BF48B507-58CF-C4EF-62DE-DAA15A2CFB34}"/>
              </a:ext>
            </a:extLst>
          </p:cNvPr>
          <p:cNvCxnSpPr/>
          <p:nvPr/>
        </p:nvCxnSpPr>
        <p:spPr bwMode="auto">
          <a:xfrm flipH="1" flipV="1">
            <a:off x="1415480" y="4581128"/>
            <a:ext cx="3204356" cy="1296144"/>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Arrow Connector 9">
            <a:extLst>
              <a:ext uri="{FF2B5EF4-FFF2-40B4-BE49-F238E27FC236}">
                <a16:creationId xmlns:a16="http://schemas.microsoft.com/office/drawing/2014/main" id="{2DB2BABE-EE57-4A2A-3470-9D8CB5993342}"/>
              </a:ext>
            </a:extLst>
          </p:cNvPr>
          <p:cNvCxnSpPr/>
          <p:nvPr/>
        </p:nvCxnSpPr>
        <p:spPr bwMode="auto">
          <a:xfrm flipH="1" flipV="1">
            <a:off x="1415480" y="4941168"/>
            <a:ext cx="3204356" cy="936104"/>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a:extLst>
              <a:ext uri="{FF2B5EF4-FFF2-40B4-BE49-F238E27FC236}">
                <a16:creationId xmlns:a16="http://schemas.microsoft.com/office/drawing/2014/main" id="{4FD91FE5-A41A-ECFF-0BB6-FFA682F26D3B}"/>
              </a:ext>
            </a:extLst>
          </p:cNvPr>
          <p:cNvSpPr txBox="1"/>
          <p:nvPr/>
        </p:nvSpPr>
        <p:spPr>
          <a:xfrm>
            <a:off x="4763852" y="5733256"/>
            <a:ext cx="3204356" cy="338554"/>
          </a:xfrm>
          <a:prstGeom prst="rect">
            <a:avLst/>
          </a:prstGeom>
          <a:solidFill>
            <a:schemeClr val="accent1">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US" dirty="0"/>
              <a:t>Structure/PS consideration</a:t>
            </a:r>
          </a:p>
        </p:txBody>
      </p:sp>
    </p:spTree>
    <p:extLst>
      <p:ext uri="{BB962C8B-B14F-4D97-AF65-F5344CB8AC3E}">
        <p14:creationId xmlns:p14="http://schemas.microsoft.com/office/powerpoint/2010/main" val="19961692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C3EFC-990B-7A2B-F837-A9B3984A2342}"/>
              </a:ext>
            </a:extLst>
          </p:cNvPr>
          <p:cNvSpPr>
            <a:spLocks noGrp="1"/>
          </p:cNvSpPr>
          <p:nvPr>
            <p:ph type="title"/>
          </p:nvPr>
        </p:nvSpPr>
        <p:spPr>
          <a:xfrm>
            <a:off x="407987" y="188913"/>
            <a:ext cx="11376026" cy="611795"/>
          </a:xfrm>
        </p:spPr>
        <p:txBody>
          <a:bodyPr/>
          <a:lstStyle/>
          <a:p>
            <a:r>
              <a:rPr lang="en-US" dirty="0"/>
              <a:t>Coefficient of friction data - ASTM D 1894 &amp; ASTM C 1028  </a:t>
            </a:r>
            <a:br>
              <a:rPr lang="en-US" dirty="0"/>
            </a:br>
            <a:endParaRPr lang="en-US" dirty="0"/>
          </a:p>
        </p:txBody>
      </p:sp>
      <p:graphicFrame>
        <p:nvGraphicFramePr>
          <p:cNvPr id="7" name="Content Placeholder 6">
            <a:extLst>
              <a:ext uri="{FF2B5EF4-FFF2-40B4-BE49-F238E27FC236}">
                <a16:creationId xmlns:a16="http://schemas.microsoft.com/office/drawing/2014/main" id="{B7F1D79A-AC0A-0E79-F4EA-3E9C5BDDEFEE}"/>
              </a:ext>
            </a:extLst>
          </p:cNvPr>
          <p:cNvGraphicFramePr>
            <a:graphicFrameLocks noGrp="1"/>
          </p:cNvGraphicFramePr>
          <p:nvPr>
            <p:ph idx="1"/>
            <p:extLst>
              <p:ext uri="{D42A27DB-BD31-4B8C-83A1-F6EECF244321}">
                <p14:modId xmlns:p14="http://schemas.microsoft.com/office/powerpoint/2010/main" val="3858670835"/>
              </p:ext>
            </p:extLst>
          </p:nvPr>
        </p:nvGraphicFramePr>
        <p:xfrm>
          <a:off x="1027834" y="764704"/>
          <a:ext cx="10036720" cy="2947479"/>
        </p:xfrm>
        <a:graphic>
          <a:graphicData uri="http://schemas.openxmlformats.org/drawingml/2006/table">
            <a:tbl>
              <a:tblPr firstRow="1" firstCol="1" bandRow="1"/>
              <a:tblGrid>
                <a:gridCol w="1672313">
                  <a:extLst>
                    <a:ext uri="{9D8B030D-6E8A-4147-A177-3AD203B41FA5}">
                      <a16:colId xmlns:a16="http://schemas.microsoft.com/office/drawing/2014/main" val="2139281773"/>
                    </a:ext>
                  </a:extLst>
                </a:gridCol>
                <a:gridCol w="1672313">
                  <a:extLst>
                    <a:ext uri="{9D8B030D-6E8A-4147-A177-3AD203B41FA5}">
                      <a16:colId xmlns:a16="http://schemas.microsoft.com/office/drawing/2014/main" val="3618681180"/>
                    </a:ext>
                  </a:extLst>
                </a:gridCol>
                <a:gridCol w="1672313">
                  <a:extLst>
                    <a:ext uri="{9D8B030D-6E8A-4147-A177-3AD203B41FA5}">
                      <a16:colId xmlns:a16="http://schemas.microsoft.com/office/drawing/2014/main" val="3421328367"/>
                    </a:ext>
                  </a:extLst>
                </a:gridCol>
                <a:gridCol w="1672313">
                  <a:extLst>
                    <a:ext uri="{9D8B030D-6E8A-4147-A177-3AD203B41FA5}">
                      <a16:colId xmlns:a16="http://schemas.microsoft.com/office/drawing/2014/main" val="342169932"/>
                    </a:ext>
                  </a:extLst>
                </a:gridCol>
                <a:gridCol w="1673734">
                  <a:extLst>
                    <a:ext uri="{9D8B030D-6E8A-4147-A177-3AD203B41FA5}">
                      <a16:colId xmlns:a16="http://schemas.microsoft.com/office/drawing/2014/main" val="2768930121"/>
                    </a:ext>
                  </a:extLst>
                </a:gridCol>
                <a:gridCol w="1673734">
                  <a:extLst>
                    <a:ext uri="{9D8B030D-6E8A-4147-A177-3AD203B41FA5}">
                      <a16:colId xmlns:a16="http://schemas.microsoft.com/office/drawing/2014/main" val="1932765557"/>
                    </a:ext>
                  </a:extLst>
                </a:gridCol>
              </a:tblGrid>
              <a:tr h="578444">
                <a:tc>
                  <a:txBody>
                    <a:bodyPr/>
                    <a:lstStyle/>
                    <a:p>
                      <a:pPr marL="0" marR="0">
                        <a:spcAft>
                          <a:spcPts val="200"/>
                        </a:spcAft>
                        <a:buNone/>
                      </a:pPr>
                      <a:r>
                        <a:rPr lang="en-US" sz="2000" b="1" dirty="0">
                          <a:effectLst/>
                          <a:latin typeface="Arial" panose="020B0604020202020204" pitchFamily="34" charset="0"/>
                          <a:ea typeface="SimSun" panose="02010600030101010101" pitchFamily="2" charset="-122"/>
                          <a:cs typeface="Times New Roman" panose="02020603050405020304" pitchFamily="18" charset="0"/>
                        </a:rPr>
                        <a:t>COF Trials </a:t>
                      </a:r>
                      <a:endParaRPr lang="en-US" sz="20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b="1" dirty="0">
                          <a:effectLst/>
                          <a:latin typeface="Arial" panose="020B0604020202020204" pitchFamily="34" charset="0"/>
                          <a:ea typeface="SimSun" panose="02010600030101010101" pitchFamily="2" charset="-122"/>
                          <a:cs typeface="Times New Roman" panose="02020603050405020304" pitchFamily="18" charset="0"/>
                        </a:rPr>
                        <a:t>CONTROL</a:t>
                      </a:r>
                      <a:endParaRPr lang="en-US" sz="20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buNone/>
                      </a:pPr>
                      <a:r>
                        <a:rPr lang="en-US" sz="2000" b="1" i="0" u="none" strike="noStrike" dirty="0">
                          <a:solidFill>
                            <a:srgbClr val="000000"/>
                          </a:solidFill>
                          <a:effectLst/>
                          <a:latin typeface="Calibri" panose="020F0502020204030204" pitchFamily="34" charset="0"/>
                        </a:rPr>
                        <a:t>PTFE WAX/BLEN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1400" b="1"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Polymer-Base Slip/scratch Aid</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F7CB"/>
                    </a:solidFill>
                  </a:tcPr>
                </a:tc>
                <a:tc>
                  <a:txBody>
                    <a:bodyPr/>
                    <a:lstStyle/>
                    <a:p>
                      <a:pPr algn="l" fontAlgn="b">
                        <a:buNone/>
                      </a:pPr>
                      <a:r>
                        <a:rPr lang="en-US" sz="2000" b="1" i="0" u="none" strike="noStrike" dirty="0">
                          <a:solidFill>
                            <a:srgbClr val="000000"/>
                          </a:solidFill>
                          <a:effectLst/>
                          <a:latin typeface="Calibri" panose="020F0502020204030204" pitchFamily="34" charset="0"/>
                        </a:rPr>
                        <a:t>PE WAX-105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buNone/>
                      </a:pPr>
                      <a:r>
                        <a:rPr lang="en-US" sz="2000" b="1" i="0" u="none" strike="noStrike" dirty="0">
                          <a:solidFill>
                            <a:srgbClr val="000000"/>
                          </a:solidFill>
                          <a:effectLst/>
                          <a:latin typeface="Calibri" panose="020F0502020204030204" pitchFamily="34" charset="0"/>
                        </a:rPr>
                        <a:t>PE WAX-105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4392357"/>
                  </a:ext>
                </a:extLst>
              </a:tr>
              <a:tr h="602547">
                <a:tc>
                  <a:txBody>
                    <a:bodyPr/>
                    <a:lstStyle/>
                    <a:p>
                      <a:pPr marL="0" marR="0">
                        <a:spcAft>
                          <a:spcPts val="200"/>
                        </a:spcAft>
                        <a:buNone/>
                      </a:pPr>
                      <a:r>
                        <a:rPr lang="en-US" sz="2000">
                          <a:effectLst/>
                          <a:latin typeface="Arial" panose="020B0604020202020204" pitchFamily="34" charset="0"/>
                          <a:ea typeface="SimSun" panose="02010600030101010101" pitchFamily="2" charset="-122"/>
                          <a:cs typeface="Times New Roman" panose="02020603050405020304" pitchFamily="18" charset="0"/>
                        </a:rPr>
                        <a:t>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dirty="0">
                          <a:effectLst/>
                          <a:latin typeface="Arial" panose="020B0604020202020204" pitchFamily="34" charset="0"/>
                          <a:ea typeface="SimSun" panose="02010600030101010101" pitchFamily="2" charset="-122"/>
                          <a:cs typeface="Times New Roman" panose="02020603050405020304" pitchFamily="18" charset="0"/>
                        </a:rPr>
                        <a:t>0.19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dirty="0">
                          <a:effectLst/>
                          <a:latin typeface="Arial" panose="020B0604020202020204" pitchFamily="34" charset="0"/>
                          <a:ea typeface="SimSun" panose="02010600030101010101" pitchFamily="2" charset="-122"/>
                          <a:cs typeface="Times New Roman" panose="02020603050405020304" pitchFamily="18" charset="0"/>
                        </a:rPr>
                        <a:t>0.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0.144</a:t>
                      </a:r>
                      <a:endParaRPr lang="en-US" sz="20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F7CB"/>
                    </a:solidFill>
                  </a:tcPr>
                </a:tc>
                <a:tc>
                  <a:txBody>
                    <a:bodyPr/>
                    <a:lstStyle/>
                    <a:p>
                      <a:pPr marL="0" marR="0">
                        <a:spcAft>
                          <a:spcPts val="200"/>
                        </a:spcAft>
                        <a:buNone/>
                      </a:pPr>
                      <a:r>
                        <a:rPr lang="en-US" sz="2000" dirty="0">
                          <a:effectLst/>
                          <a:latin typeface="Arial" panose="020B0604020202020204" pitchFamily="34" charset="0"/>
                          <a:ea typeface="SimSun" panose="02010600030101010101" pitchFamily="2" charset="-122"/>
                          <a:cs typeface="Times New Roman" panose="02020603050405020304" pitchFamily="18" charset="0"/>
                        </a:rPr>
                        <a:t>0.21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a:effectLst/>
                          <a:latin typeface="Arial" panose="020B0604020202020204" pitchFamily="34" charset="0"/>
                          <a:ea typeface="SimSun" panose="02010600030101010101" pitchFamily="2" charset="-122"/>
                          <a:cs typeface="Times New Roman" panose="02020603050405020304" pitchFamily="18" charset="0"/>
                        </a:rPr>
                        <a:t>0.21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5211126"/>
                  </a:ext>
                </a:extLst>
              </a:tr>
              <a:tr h="578444">
                <a:tc>
                  <a:txBody>
                    <a:bodyPr/>
                    <a:lstStyle/>
                    <a:p>
                      <a:pPr marL="0" marR="0">
                        <a:spcAft>
                          <a:spcPts val="200"/>
                        </a:spcAft>
                        <a:buNone/>
                      </a:pPr>
                      <a:r>
                        <a:rPr lang="en-US" sz="2000">
                          <a:effectLst/>
                          <a:latin typeface="Arial" panose="020B0604020202020204" pitchFamily="34" charset="0"/>
                          <a:ea typeface="SimSun" panose="02010600030101010101" pitchFamily="2" charset="-122"/>
                          <a:cs typeface="Times New Roman" panose="02020603050405020304" pitchFamily="18" charset="0"/>
                        </a:rPr>
                        <a:t>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a:effectLst/>
                          <a:latin typeface="Arial" panose="020B0604020202020204" pitchFamily="34" charset="0"/>
                          <a:ea typeface="SimSun" panose="02010600030101010101" pitchFamily="2" charset="-122"/>
                          <a:cs typeface="Times New Roman" panose="02020603050405020304" pitchFamily="18" charset="0"/>
                        </a:rPr>
                        <a:t>0.1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a:effectLst/>
                          <a:latin typeface="Arial" panose="020B0604020202020204" pitchFamily="34" charset="0"/>
                          <a:ea typeface="SimSun" panose="02010600030101010101" pitchFamily="2" charset="-122"/>
                          <a:cs typeface="Times New Roman" panose="02020603050405020304" pitchFamily="18" charset="0"/>
                        </a:rPr>
                        <a:t>0.20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0.140</a:t>
                      </a:r>
                      <a:endParaRPr lang="en-US" sz="20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F7CB"/>
                    </a:solidFill>
                  </a:tcPr>
                </a:tc>
                <a:tc>
                  <a:txBody>
                    <a:bodyPr/>
                    <a:lstStyle/>
                    <a:p>
                      <a:pPr marL="0" marR="0">
                        <a:spcAft>
                          <a:spcPts val="200"/>
                        </a:spcAft>
                        <a:buNone/>
                      </a:pPr>
                      <a:r>
                        <a:rPr lang="en-US" sz="2000" dirty="0">
                          <a:effectLst/>
                          <a:latin typeface="Arial" panose="020B0604020202020204" pitchFamily="34" charset="0"/>
                          <a:ea typeface="SimSun" panose="02010600030101010101" pitchFamily="2" charset="-122"/>
                          <a:cs typeface="Times New Roman" panose="02020603050405020304" pitchFamily="18" charset="0"/>
                        </a:rPr>
                        <a:t>0.21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dirty="0">
                          <a:effectLst/>
                          <a:latin typeface="Arial" panose="020B0604020202020204" pitchFamily="34" charset="0"/>
                          <a:ea typeface="SimSun" panose="02010600030101010101" pitchFamily="2" charset="-122"/>
                          <a:cs typeface="Times New Roman" panose="02020603050405020304" pitchFamily="18" charset="0"/>
                        </a:rPr>
                        <a:t>0.21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5777909"/>
                  </a:ext>
                </a:extLst>
              </a:tr>
              <a:tr h="578444">
                <a:tc>
                  <a:txBody>
                    <a:bodyPr/>
                    <a:lstStyle/>
                    <a:p>
                      <a:pPr marL="0" marR="0">
                        <a:spcAft>
                          <a:spcPts val="200"/>
                        </a:spcAft>
                        <a:buNone/>
                      </a:pPr>
                      <a:r>
                        <a:rPr lang="en-US" sz="2000">
                          <a:effectLst/>
                          <a:latin typeface="Arial" panose="020B0604020202020204" pitchFamily="34" charset="0"/>
                          <a:ea typeface="SimSun" panose="02010600030101010101" pitchFamily="2" charset="-122"/>
                          <a:cs typeface="Times New Roman" panose="02020603050405020304" pitchFamily="18" charset="0"/>
                        </a:rPr>
                        <a:t>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a:effectLst/>
                          <a:latin typeface="Arial" panose="020B0604020202020204" pitchFamily="34" charset="0"/>
                          <a:ea typeface="SimSun" panose="02010600030101010101" pitchFamily="2" charset="-122"/>
                          <a:cs typeface="Times New Roman" panose="02020603050405020304" pitchFamily="18" charset="0"/>
                        </a:rPr>
                        <a:t>0.1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a:effectLst/>
                          <a:latin typeface="Arial" panose="020B0604020202020204" pitchFamily="34" charset="0"/>
                          <a:ea typeface="SimSun" panose="02010600030101010101" pitchFamily="2" charset="-122"/>
                          <a:cs typeface="Times New Roman" panose="02020603050405020304" pitchFamily="18" charset="0"/>
                        </a:rPr>
                        <a:t>0.20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0.145</a:t>
                      </a:r>
                      <a:endParaRPr lang="en-US" sz="20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F7CB"/>
                    </a:solidFill>
                  </a:tcPr>
                </a:tc>
                <a:tc>
                  <a:txBody>
                    <a:bodyPr/>
                    <a:lstStyle/>
                    <a:p>
                      <a:pPr marL="0" marR="0">
                        <a:spcAft>
                          <a:spcPts val="200"/>
                        </a:spcAft>
                        <a:buNone/>
                      </a:pPr>
                      <a:r>
                        <a:rPr lang="en-US" sz="2000">
                          <a:effectLst/>
                          <a:latin typeface="Arial" panose="020B0604020202020204" pitchFamily="34" charset="0"/>
                          <a:ea typeface="SimSun" panose="02010600030101010101" pitchFamily="2" charset="-122"/>
                          <a:cs typeface="Times New Roman" panose="02020603050405020304" pitchFamily="18" charset="0"/>
                        </a:rPr>
                        <a:t>0.21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Aft>
                          <a:spcPts val="200"/>
                        </a:spcAft>
                        <a:buNone/>
                      </a:pPr>
                      <a:r>
                        <a:rPr lang="en-US" sz="2000" dirty="0">
                          <a:effectLst/>
                          <a:latin typeface="Arial" panose="020B0604020202020204" pitchFamily="34" charset="0"/>
                          <a:ea typeface="SimSun" panose="02010600030101010101" pitchFamily="2" charset="-122"/>
                          <a:cs typeface="Times New Roman" panose="02020603050405020304" pitchFamily="18" charset="0"/>
                        </a:rPr>
                        <a:t>0.21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9471503"/>
                  </a:ext>
                </a:extLst>
              </a:tr>
              <a:tr h="578444">
                <a:tc>
                  <a:txBody>
                    <a:bodyPr/>
                    <a:lstStyle/>
                    <a:p>
                      <a:pPr marL="0" marR="0">
                        <a:spcAft>
                          <a:spcPts val="200"/>
                        </a:spcAft>
                        <a:buNone/>
                      </a:pPr>
                      <a:r>
                        <a:rPr lang="en-US" sz="1800"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Average/mean (units)</a:t>
                      </a:r>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spcAft>
                          <a:spcPts val="200"/>
                        </a:spcAft>
                        <a:buNone/>
                      </a:pPr>
                      <a:r>
                        <a:rPr lang="en-US" sz="2000" b="1"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0.198</a:t>
                      </a:r>
                      <a:endParaRPr lang="en-US" sz="20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spcAft>
                          <a:spcPts val="200"/>
                        </a:spcAft>
                        <a:buNone/>
                      </a:pPr>
                      <a:r>
                        <a:rPr lang="en-US" sz="2000" b="1"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0.204</a:t>
                      </a:r>
                      <a:endParaRPr lang="en-US" sz="20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spcAft>
                          <a:spcPts val="200"/>
                        </a:spcAft>
                        <a:buNone/>
                      </a:pPr>
                      <a:r>
                        <a:rPr lang="en-US" sz="2000" b="1"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0.143</a:t>
                      </a:r>
                      <a:endParaRPr lang="en-US" sz="20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spcAft>
                          <a:spcPts val="200"/>
                        </a:spcAft>
                        <a:buNone/>
                      </a:pPr>
                      <a:r>
                        <a:rPr lang="en-US" sz="2000" b="1"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0.215</a:t>
                      </a:r>
                      <a:endParaRPr lang="en-US" sz="20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spcAft>
                          <a:spcPts val="200"/>
                        </a:spcAft>
                        <a:buNone/>
                      </a:pPr>
                      <a:r>
                        <a:rPr lang="en-US" sz="2000" b="1"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0.211</a:t>
                      </a:r>
                      <a:endParaRPr lang="en-US" sz="20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457014064"/>
                  </a:ext>
                </a:extLst>
              </a:tr>
            </a:tbl>
          </a:graphicData>
        </a:graphic>
      </p:graphicFrame>
      <p:sp>
        <p:nvSpPr>
          <p:cNvPr id="4" name="Date Placeholder 3">
            <a:extLst>
              <a:ext uri="{FF2B5EF4-FFF2-40B4-BE49-F238E27FC236}">
                <a16:creationId xmlns:a16="http://schemas.microsoft.com/office/drawing/2014/main" id="{762AF083-8DF4-9BAC-27E1-F72CF2D7DD60}"/>
              </a:ext>
            </a:extLst>
          </p:cNvPr>
          <p:cNvSpPr>
            <a:spLocks noGrp="1"/>
          </p:cNvSpPr>
          <p:nvPr>
            <p:ph type="dt" sz="half" idx="10"/>
          </p:nvPr>
        </p:nvSpPr>
        <p:spPr/>
        <p:txBody>
          <a:bodyPr/>
          <a:lstStyle/>
          <a:p>
            <a:r>
              <a:rPr lang="en-US"/>
              <a:t>September 2025</a:t>
            </a:r>
            <a:endParaRPr lang="en-US" dirty="0"/>
          </a:p>
        </p:txBody>
      </p:sp>
      <p:sp>
        <p:nvSpPr>
          <p:cNvPr id="5" name="Footer Placeholder 4">
            <a:extLst>
              <a:ext uri="{FF2B5EF4-FFF2-40B4-BE49-F238E27FC236}">
                <a16:creationId xmlns:a16="http://schemas.microsoft.com/office/drawing/2014/main" id="{B7AA7C6D-B7F3-841E-02FA-2C7890CDA65B}"/>
              </a:ext>
            </a:extLst>
          </p:cNvPr>
          <p:cNvSpPr>
            <a:spLocks noGrp="1"/>
          </p:cNvSpPr>
          <p:nvPr>
            <p:ph type="ftr" sz="quarter" idx="11"/>
          </p:nvPr>
        </p:nvSpPr>
        <p:spPr/>
        <p:txBody>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C5DDF3CB-B43E-5DCC-F1A8-E592622767B5}"/>
              </a:ext>
            </a:extLst>
          </p:cNvPr>
          <p:cNvSpPr>
            <a:spLocks noGrp="1"/>
          </p:cNvSpPr>
          <p:nvPr>
            <p:ph type="sldNum" sz="quarter" idx="12"/>
          </p:nvPr>
        </p:nvSpPr>
        <p:spPr/>
        <p:txBody>
          <a:bodyPr/>
          <a:lstStyle/>
          <a:p>
            <a:r>
              <a:rPr lang="de-DE"/>
              <a:t>Page </a:t>
            </a:r>
            <a:fld id="{8F63C9D9-3015-4EB3-9DF0-04DE0400ED04}" type="slidenum">
              <a:rPr smtClean="0"/>
              <a:pPr/>
              <a:t>28</a:t>
            </a:fld>
            <a:endParaRPr dirty="0"/>
          </a:p>
        </p:txBody>
      </p:sp>
      <p:graphicFrame>
        <p:nvGraphicFramePr>
          <p:cNvPr id="8" name="Table 7">
            <a:extLst>
              <a:ext uri="{FF2B5EF4-FFF2-40B4-BE49-F238E27FC236}">
                <a16:creationId xmlns:a16="http://schemas.microsoft.com/office/drawing/2014/main" id="{95A7E88C-C66C-C051-7468-C854C003BE0A}"/>
              </a:ext>
            </a:extLst>
          </p:cNvPr>
          <p:cNvGraphicFramePr>
            <a:graphicFrameLocks noGrp="1"/>
          </p:cNvGraphicFramePr>
          <p:nvPr>
            <p:extLst>
              <p:ext uri="{D42A27DB-BD31-4B8C-83A1-F6EECF244321}">
                <p14:modId xmlns:p14="http://schemas.microsoft.com/office/powerpoint/2010/main" val="100576897"/>
              </p:ext>
            </p:extLst>
          </p:nvPr>
        </p:nvGraphicFramePr>
        <p:xfrm>
          <a:off x="1307468" y="3825044"/>
          <a:ext cx="9433049" cy="2591530"/>
        </p:xfrm>
        <a:graphic>
          <a:graphicData uri="http://schemas.openxmlformats.org/drawingml/2006/table">
            <a:tbl>
              <a:tblPr firstRow="1" firstCol="1" bandRow="1">
                <a:tableStyleId>{5C22544A-7EE6-4342-B048-85BDC9FD1C3A}</a:tableStyleId>
              </a:tblPr>
              <a:tblGrid>
                <a:gridCol w="1581722">
                  <a:extLst>
                    <a:ext uri="{9D8B030D-6E8A-4147-A177-3AD203B41FA5}">
                      <a16:colId xmlns:a16="http://schemas.microsoft.com/office/drawing/2014/main" val="3147389760"/>
                    </a:ext>
                  </a:extLst>
                </a:gridCol>
                <a:gridCol w="2265617">
                  <a:extLst>
                    <a:ext uri="{9D8B030D-6E8A-4147-A177-3AD203B41FA5}">
                      <a16:colId xmlns:a16="http://schemas.microsoft.com/office/drawing/2014/main" val="1372243036"/>
                    </a:ext>
                  </a:extLst>
                </a:gridCol>
                <a:gridCol w="1176628">
                  <a:extLst>
                    <a:ext uri="{9D8B030D-6E8A-4147-A177-3AD203B41FA5}">
                      <a16:colId xmlns:a16="http://schemas.microsoft.com/office/drawing/2014/main" val="2364660544"/>
                    </a:ext>
                  </a:extLst>
                </a:gridCol>
                <a:gridCol w="1168347">
                  <a:extLst>
                    <a:ext uri="{9D8B030D-6E8A-4147-A177-3AD203B41FA5}">
                      <a16:colId xmlns:a16="http://schemas.microsoft.com/office/drawing/2014/main" val="3663420839"/>
                    </a:ext>
                  </a:extLst>
                </a:gridCol>
                <a:gridCol w="1236669">
                  <a:extLst>
                    <a:ext uri="{9D8B030D-6E8A-4147-A177-3AD203B41FA5}">
                      <a16:colId xmlns:a16="http://schemas.microsoft.com/office/drawing/2014/main" val="3649073222"/>
                    </a:ext>
                  </a:extLst>
                </a:gridCol>
                <a:gridCol w="2004066">
                  <a:extLst>
                    <a:ext uri="{9D8B030D-6E8A-4147-A177-3AD203B41FA5}">
                      <a16:colId xmlns:a16="http://schemas.microsoft.com/office/drawing/2014/main" val="258056733"/>
                    </a:ext>
                  </a:extLst>
                </a:gridCol>
              </a:tblGrid>
              <a:tr h="448824">
                <a:tc>
                  <a:txBody>
                    <a:bodyPr/>
                    <a:lstStyle/>
                    <a:p>
                      <a:pPr marL="0" marR="0" algn="ctr">
                        <a:spcBef>
                          <a:spcPts val="100"/>
                        </a:spcBef>
                        <a:spcAft>
                          <a:spcPts val="100"/>
                        </a:spcAft>
                        <a:buNone/>
                      </a:pPr>
                      <a:r>
                        <a:rPr lang="en-US" sz="1600" dirty="0">
                          <a:effectLst/>
                        </a:rPr>
                        <a:t>No.</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tc>
                <a:tc>
                  <a:txBody>
                    <a:bodyPr/>
                    <a:lstStyle/>
                    <a:p>
                      <a:pPr marL="0" marR="0">
                        <a:spcBef>
                          <a:spcPts val="100"/>
                        </a:spcBef>
                        <a:spcAft>
                          <a:spcPts val="100"/>
                        </a:spcAft>
                        <a:buNone/>
                      </a:pPr>
                      <a:r>
                        <a:rPr lang="en-US" sz="1600" dirty="0">
                          <a:effectLst/>
                        </a:rPr>
                        <a:t>Additives</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tc>
                <a:tc>
                  <a:txBody>
                    <a:bodyPr/>
                    <a:lstStyle/>
                    <a:p>
                      <a:pPr marL="0" marR="0" algn="ctr">
                        <a:spcBef>
                          <a:spcPts val="100"/>
                        </a:spcBef>
                        <a:spcAft>
                          <a:spcPts val="100"/>
                        </a:spcAft>
                        <a:buNone/>
                      </a:pPr>
                      <a:r>
                        <a:rPr lang="en-US" sz="1600" dirty="0">
                          <a:effectLst/>
                        </a:rPr>
                        <a:t>20º</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600">
                          <a:effectLst/>
                        </a:rPr>
                        <a:t>60º</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600" dirty="0">
                          <a:effectLst/>
                        </a:rPr>
                        <a:t>85º</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spcBef>
                          <a:spcPts val="100"/>
                        </a:spcBef>
                        <a:spcAft>
                          <a:spcPts val="100"/>
                        </a:spcAft>
                        <a:buNone/>
                      </a:pPr>
                      <a:r>
                        <a:rPr lang="en-US" sz="1600" dirty="0">
                          <a:effectLst/>
                        </a:rPr>
                        <a:t>Observation </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extLst>
                  <a:ext uri="{0D108BD9-81ED-4DB2-BD59-A6C34878D82A}">
                    <a16:rowId xmlns:a16="http://schemas.microsoft.com/office/drawing/2014/main" val="461319519"/>
                  </a:ext>
                </a:extLst>
              </a:tr>
              <a:tr h="457753">
                <a:tc>
                  <a:txBody>
                    <a:bodyPr/>
                    <a:lstStyle/>
                    <a:p>
                      <a:pPr marL="0" marR="0" algn="ctr">
                        <a:spcBef>
                          <a:spcPts val="100"/>
                        </a:spcBef>
                        <a:spcAft>
                          <a:spcPts val="100"/>
                        </a:spcAft>
                        <a:buNone/>
                      </a:pPr>
                      <a:r>
                        <a:rPr lang="en-US" sz="1400">
                          <a:effectLst/>
                        </a:rPr>
                        <a:t>DF0110</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spcBef>
                          <a:spcPts val="100"/>
                        </a:spcBef>
                        <a:spcAft>
                          <a:spcPts val="100"/>
                        </a:spcAft>
                        <a:buNone/>
                      </a:pPr>
                      <a:r>
                        <a:rPr lang="en-US" sz="1600" b="1" dirty="0">
                          <a:effectLst/>
                        </a:rPr>
                        <a:t>Control </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600" b="1" dirty="0">
                          <a:effectLst/>
                        </a:rPr>
                        <a:t>13.3</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600" b="1" dirty="0">
                          <a:effectLst/>
                        </a:rPr>
                        <a:t>56.9</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solidFill>
                      <a:srgbClr val="FDEBCC"/>
                    </a:solidFill>
                  </a:tcPr>
                </a:tc>
                <a:tc>
                  <a:txBody>
                    <a:bodyPr/>
                    <a:lstStyle/>
                    <a:p>
                      <a:pPr marL="0" marR="0" algn="ctr">
                        <a:spcBef>
                          <a:spcPts val="100"/>
                        </a:spcBef>
                        <a:spcAft>
                          <a:spcPts val="100"/>
                        </a:spcAft>
                        <a:buNone/>
                      </a:pPr>
                      <a:r>
                        <a:rPr lang="en-US" sz="1600" b="1">
                          <a:effectLst/>
                        </a:rPr>
                        <a:t>81.2</a:t>
                      </a:r>
                      <a:endParaRPr lang="en-US" sz="1600" b="1">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400">
                          <a:effectLst/>
                        </a:rPr>
                        <a:t>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extLst>
                  <a:ext uri="{0D108BD9-81ED-4DB2-BD59-A6C34878D82A}">
                    <a16:rowId xmlns:a16="http://schemas.microsoft.com/office/drawing/2014/main" val="309802240"/>
                  </a:ext>
                </a:extLst>
              </a:tr>
              <a:tr h="457753">
                <a:tc>
                  <a:txBody>
                    <a:bodyPr/>
                    <a:lstStyle/>
                    <a:p>
                      <a:pPr marL="0" marR="0" algn="ctr">
                        <a:spcBef>
                          <a:spcPts val="100"/>
                        </a:spcBef>
                        <a:spcAft>
                          <a:spcPts val="100"/>
                        </a:spcAft>
                        <a:buNone/>
                      </a:pPr>
                      <a:r>
                        <a:rPr lang="en-US" sz="1400">
                          <a:effectLst/>
                        </a:rPr>
                        <a:t>DF0111 </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algn="l" fontAlgn="b">
                        <a:buNone/>
                      </a:pPr>
                      <a:r>
                        <a:rPr lang="en-US" sz="1600" b="1" i="0" u="none" strike="noStrike" dirty="0">
                          <a:solidFill>
                            <a:srgbClr val="000000"/>
                          </a:solidFill>
                          <a:effectLst/>
                          <a:latin typeface="Calibri" panose="020F0502020204030204" pitchFamily="34" charset="0"/>
                        </a:rPr>
                        <a:t>PTFE WAX/BLEND</a:t>
                      </a:r>
                    </a:p>
                  </a:txBody>
                  <a:tcPr marL="9525" marR="9525" marT="9525" marB="0" anchor="b"/>
                </a:tc>
                <a:tc>
                  <a:txBody>
                    <a:bodyPr/>
                    <a:lstStyle/>
                    <a:p>
                      <a:pPr marL="0" marR="0" algn="ctr">
                        <a:spcBef>
                          <a:spcPts val="100"/>
                        </a:spcBef>
                        <a:spcAft>
                          <a:spcPts val="100"/>
                        </a:spcAft>
                        <a:buNone/>
                      </a:pPr>
                      <a:r>
                        <a:rPr lang="en-US" sz="1600" b="1" dirty="0">
                          <a:effectLst/>
                        </a:rPr>
                        <a:t>15.9</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600" b="1" dirty="0">
                          <a:effectLst/>
                        </a:rPr>
                        <a:t>60.0</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solidFill>
                      <a:srgbClr val="FDEBCC"/>
                    </a:solidFill>
                  </a:tcPr>
                </a:tc>
                <a:tc>
                  <a:txBody>
                    <a:bodyPr/>
                    <a:lstStyle/>
                    <a:p>
                      <a:pPr marL="0" marR="0" algn="ctr">
                        <a:spcBef>
                          <a:spcPts val="100"/>
                        </a:spcBef>
                        <a:spcAft>
                          <a:spcPts val="100"/>
                        </a:spcAft>
                        <a:buNone/>
                      </a:pPr>
                      <a:r>
                        <a:rPr lang="en-US" sz="1600" b="1" dirty="0">
                          <a:effectLst/>
                        </a:rPr>
                        <a:t>89.0</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400">
                          <a:effectLst/>
                        </a:rPr>
                        <a:t>0.5%, slightly waxy</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extLst>
                  <a:ext uri="{0D108BD9-81ED-4DB2-BD59-A6C34878D82A}">
                    <a16:rowId xmlns:a16="http://schemas.microsoft.com/office/drawing/2014/main" val="146753342"/>
                  </a:ext>
                </a:extLst>
              </a:tr>
              <a:tr h="534322">
                <a:tc>
                  <a:txBody>
                    <a:bodyPr/>
                    <a:lstStyle/>
                    <a:p>
                      <a:pPr marL="0" marR="0" algn="ctr">
                        <a:spcBef>
                          <a:spcPts val="100"/>
                        </a:spcBef>
                        <a:spcAft>
                          <a:spcPts val="100"/>
                        </a:spcAft>
                        <a:buNone/>
                      </a:pPr>
                      <a:r>
                        <a:rPr lang="en-US" sz="1400">
                          <a:effectLst/>
                        </a:rPr>
                        <a:t>DF0112</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algn="l" fontAlgn="b">
                        <a:buNone/>
                      </a:pPr>
                      <a:r>
                        <a:rPr lang="en-US" sz="1600" b="1" i="0" u="none" strike="noStrike" dirty="0">
                          <a:solidFill>
                            <a:srgbClr val="000000"/>
                          </a:solidFill>
                          <a:effectLst/>
                          <a:latin typeface="Calibri" panose="020F0502020204030204" pitchFamily="34" charset="0"/>
                        </a:rPr>
                        <a:t>Polymer-base slip/scratch add.</a:t>
                      </a:r>
                    </a:p>
                  </a:txBody>
                  <a:tcPr marL="9525" marR="9525" marT="9525" marB="0" anchor="b"/>
                </a:tc>
                <a:tc>
                  <a:txBody>
                    <a:bodyPr/>
                    <a:lstStyle/>
                    <a:p>
                      <a:pPr marL="0" marR="0" algn="ctr">
                        <a:spcBef>
                          <a:spcPts val="100"/>
                        </a:spcBef>
                        <a:spcAft>
                          <a:spcPts val="100"/>
                        </a:spcAft>
                        <a:buNone/>
                      </a:pPr>
                      <a:r>
                        <a:rPr lang="en-US" sz="1600" b="1" dirty="0">
                          <a:effectLst/>
                        </a:rPr>
                        <a:t>14.1</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600" b="1" dirty="0">
                          <a:effectLst/>
                        </a:rPr>
                        <a:t>57.4</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solidFill>
                      <a:srgbClr val="FDEBCC"/>
                    </a:solidFill>
                  </a:tcPr>
                </a:tc>
                <a:tc>
                  <a:txBody>
                    <a:bodyPr/>
                    <a:lstStyle/>
                    <a:p>
                      <a:pPr marL="0" marR="0" algn="ctr">
                        <a:spcBef>
                          <a:spcPts val="100"/>
                        </a:spcBef>
                        <a:spcAft>
                          <a:spcPts val="100"/>
                        </a:spcAft>
                        <a:buNone/>
                      </a:pPr>
                      <a:r>
                        <a:rPr lang="en-US" sz="1600" b="1" dirty="0">
                          <a:effectLst/>
                        </a:rPr>
                        <a:t>86.1</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400" dirty="0">
                          <a:effectLst/>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extLst>
                  <a:ext uri="{0D108BD9-81ED-4DB2-BD59-A6C34878D82A}">
                    <a16:rowId xmlns:a16="http://schemas.microsoft.com/office/drawing/2014/main" val="3586515822"/>
                  </a:ext>
                </a:extLst>
              </a:tr>
              <a:tr h="346439">
                <a:tc>
                  <a:txBody>
                    <a:bodyPr/>
                    <a:lstStyle/>
                    <a:p>
                      <a:pPr marL="0" marR="0" algn="ctr">
                        <a:spcBef>
                          <a:spcPts val="100"/>
                        </a:spcBef>
                        <a:spcAft>
                          <a:spcPts val="100"/>
                        </a:spcAft>
                        <a:buNone/>
                      </a:pPr>
                      <a:r>
                        <a:rPr lang="en-US" sz="1400">
                          <a:effectLst/>
                        </a:rPr>
                        <a:t> DF0113</a:t>
                      </a:r>
                      <a:endParaRPr lang="en-US" sz="14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algn="l" fontAlgn="b">
                        <a:buNone/>
                      </a:pPr>
                      <a:r>
                        <a:rPr lang="en-US" sz="1600" b="1" i="0" u="none" strike="noStrike" dirty="0">
                          <a:solidFill>
                            <a:srgbClr val="000000"/>
                          </a:solidFill>
                          <a:effectLst/>
                          <a:latin typeface="Calibri" panose="020F0502020204030204" pitchFamily="34" charset="0"/>
                        </a:rPr>
                        <a:t>PE WAX-1050</a:t>
                      </a:r>
                    </a:p>
                  </a:txBody>
                  <a:tcPr marL="9525" marR="9525" marT="9525" marB="0" anchor="b"/>
                </a:tc>
                <a:tc>
                  <a:txBody>
                    <a:bodyPr/>
                    <a:lstStyle/>
                    <a:p>
                      <a:pPr marL="0" marR="0" algn="ctr">
                        <a:spcBef>
                          <a:spcPts val="100"/>
                        </a:spcBef>
                        <a:spcAft>
                          <a:spcPts val="100"/>
                        </a:spcAft>
                        <a:buNone/>
                      </a:pPr>
                      <a:r>
                        <a:rPr lang="en-US" sz="1600" b="1">
                          <a:effectLst/>
                        </a:rPr>
                        <a:t>13.8</a:t>
                      </a:r>
                      <a:endParaRPr lang="en-US" sz="1600" b="1">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600" b="1" dirty="0">
                          <a:effectLst/>
                        </a:rPr>
                        <a:t>57.6</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solidFill>
                      <a:srgbClr val="FDEBCC"/>
                    </a:solidFill>
                  </a:tcPr>
                </a:tc>
                <a:tc>
                  <a:txBody>
                    <a:bodyPr/>
                    <a:lstStyle/>
                    <a:p>
                      <a:pPr marL="0" marR="0" algn="ctr">
                        <a:spcBef>
                          <a:spcPts val="100"/>
                        </a:spcBef>
                        <a:spcAft>
                          <a:spcPts val="100"/>
                        </a:spcAft>
                        <a:buNone/>
                      </a:pPr>
                      <a:r>
                        <a:rPr lang="en-US" sz="1600" b="1">
                          <a:effectLst/>
                        </a:rPr>
                        <a:t>87.6</a:t>
                      </a:r>
                      <a:endParaRPr lang="en-US" sz="1600" b="1">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400" dirty="0">
                          <a:effectLst/>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tc>
                <a:extLst>
                  <a:ext uri="{0D108BD9-81ED-4DB2-BD59-A6C34878D82A}">
                    <a16:rowId xmlns:a16="http://schemas.microsoft.com/office/drawing/2014/main" val="3825530059"/>
                  </a:ext>
                </a:extLst>
              </a:tr>
              <a:tr h="346439">
                <a:tc>
                  <a:txBody>
                    <a:bodyPr/>
                    <a:lstStyle/>
                    <a:p>
                      <a:pPr marL="0" marR="0" algn="ctr">
                        <a:spcBef>
                          <a:spcPts val="100"/>
                        </a:spcBef>
                        <a:spcAft>
                          <a:spcPts val="100"/>
                        </a:spcAft>
                        <a:buNone/>
                      </a:pPr>
                      <a:r>
                        <a:rPr lang="en-US" sz="1400" dirty="0">
                          <a:effectLst/>
                        </a:rPr>
                        <a:t>DF0114</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algn="l" fontAlgn="b">
                        <a:buNone/>
                      </a:pPr>
                      <a:r>
                        <a:rPr lang="en-US" sz="1600" b="1" i="0" u="none" strike="noStrike" dirty="0">
                          <a:solidFill>
                            <a:srgbClr val="000000"/>
                          </a:solidFill>
                          <a:effectLst/>
                          <a:latin typeface="Calibri" panose="020F0502020204030204" pitchFamily="34" charset="0"/>
                        </a:rPr>
                        <a:t>PE WAX- 1051</a:t>
                      </a:r>
                    </a:p>
                  </a:txBody>
                  <a:tcPr marL="9525" marR="9525" marT="9525" marB="0" anchor="b"/>
                </a:tc>
                <a:tc>
                  <a:txBody>
                    <a:bodyPr/>
                    <a:lstStyle/>
                    <a:p>
                      <a:pPr marL="0" marR="0" algn="ctr">
                        <a:spcBef>
                          <a:spcPts val="100"/>
                        </a:spcBef>
                        <a:spcAft>
                          <a:spcPts val="100"/>
                        </a:spcAft>
                        <a:buNone/>
                      </a:pPr>
                      <a:r>
                        <a:rPr lang="en-US" sz="1600" b="1">
                          <a:effectLst/>
                        </a:rPr>
                        <a:t>13.8</a:t>
                      </a:r>
                      <a:endParaRPr lang="en-US" sz="1600" b="1">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600" b="1" dirty="0">
                          <a:effectLst/>
                        </a:rPr>
                        <a:t>57.5</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solidFill>
                      <a:srgbClr val="FDEBCC"/>
                    </a:solidFill>
                  </a:tcPr>
                </a:tc>
                <a:tc>
                  <a:txBody>
                    <a:bodyPr/>
                    <a:lstStyle/>
                    <a:p>
                      <a:pPr marL="0" marR="0" algn="ctr">
                        <a:spcBef>
                          <a:spcPts val="100"/>
                        </a:spcBef>
                        <a:spcAft>
                          <a:spcPts val="100"/>
                        </a:spcAft>
                        <a:buNone/>
                      </a:pPr>
                      <a:r>
                        <a:rPr lang="en-US" sz="1600" b="1" dirty="0">
                          <a:effectLst/>
                        </a:rPr>
                        <a:t>87.4</a:t>
                      </a:r>
                      <a:endParaRPr lang="en-US" sz="16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tc>
                <a:tc>
                  <a:txBody>
                    <a:bodyPr/>
                    <a:lstStyle/>
                    <a:p>
                      <a:pPr marL="0" marR="0" algn="ctr">
                        <a:spcBef>
                          <a:spcPts val="100"/>
                        </a:spcBef>
                        <a:spcAft>
                          <a:spcPts val="100"/>
                        </a:spcAft>
                        <a:buNone/>
                      </a:pPr>
                      <a:r>
                        <a:rPr lang="en-US" sz="1400" dirty="0">
                          <a:effectLst/>
                        </a:rPr>
                        <a:t> </a:t>
                      </a:r>
                      <a:endParaRPr lang="en-US" sz="14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tc>
                <a:extLst>
                  <a:ext uri="{0D108BD9-81ED-4DB2-BD59-A6C34878D82A}">
                    <a16:rowId xmlns:a16="http://schemas.microsoft.com/office/drawing/2014/main" val="4014882149"/>
                  </a:ext>
                </a:extLst>
              </a:tr>
            </a:tbl>
          </a:graphicData>
        </a:graphic>
      </p:graphicFrame>
    </p:spTree>
    <p:extLst>
      <p:ext uri="{BB962C8B-B14F-4D97-AF65-F5344CB8AC3E}">
        <p14:creationId xmlns:p14="http://schemas.microsoft.com/office/powerpoint/2010/main" val="21021784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1A561-4474-E6A8-3996-B08618090560}"/>
              </a:ext>
            </a:extLst>
          </p:cNvPr>
          <p:cNvSpPr>
            <a:spLocks noGrp="1"/>
          </p:cNvSpPr>
          <p:nvPr>
            <p:ph type="title"/>
          </p:nvPr>
        </p:nvSpPr>
        <p:spPr/>
        <p:txBody>
          <a:bodyPr/>
          <a:lstStyle/>
          <a:p>
            <a:pPr marL="0" marR="0">
              <a:spcAft>
                <a:spcPts val="600"/>
              </a:spcAft>
            </a:pPr>
            <a:r>
              <a:rPr lang="en-US" sz="2400" dirty="0">
                <a:solidFill>
                  <a:srgbClr val="00A6EB"/>
                </a:solidFill>
                <a:effectLst/>
                <a:latin typeface="Arial" panose="020B0604020202020204" pitchFamily="34" charset="0"/>
                <a:ea typeface="SimSun" panose="02010600030101010101" pitchFamily="2" charset="-122"/>
                <a:cs typeface="Arial" panose="020B0604020202020204" pitchFamily="34" charset="0"/>
              </a:rPr>
              <a:t>Scratch Performance – ASTM D 3363 / Gloss 60º - ASTM D 523</a:t>
            </a:r>
            <a:br>
              <a:rPr lang="en-US" sz="2400" dirty="0">
                <a:solidFill>
                  <a:srgbClr val="00A6EB"/>
                </a:solidFill>
                <a:effectLst/>
                <a:latin typeface="Arial Black" panose="020B0A04020102020204" pitchFamily="34" charset="0"/>
                <a:ea typeface="SimSun" panose="02010600030101010101" pitchFamily="2" charset="-122"/>
                <a:cs typeface="Arial" panose="020B0604020202020204" pitchFamily="34" charset="0"/>
              </a:rPr>
            </a:br>
            <a:endParaRPr lang="en-US" dirty="0"/>
          </a:p>
        </p:txBody>
      </p:sp>
      <p:graphicFrame>
        <p:nvGraphicFramePr>
          <p:cNvPr id="7" name="Content Placeholder 6">
            <a:extLst>
              <a:ext uri="{FF2B5EF4-FFF2-40B4-BE49-F238E27FC236}">
                <a16:creationId xmlns:a16="http://schemas.microsoft.com/office/drawing/2014/main" id="{5C04D157-2B28-BEFF-C65A-8F242D9F5C0E}"/>
              </a:ext>
            </a:extLst>
          </p:cNvPr>
          <p:cNvGraphicFramePr>
            <a:graphicFrameLocks noGrp="1"/>
          </p:cNvGraphicFramePr>
          <p:nvPr>
            <p:ph idx="1"/>
            <p:extLst>
              <p:ext uri="{D42A27DB-BD31-4B8C-83A1-F6EECF244321}">
                <p14:modId xmlns:p14="http://schemas.microsoft.com/office/powerpoint/2010/main" val="1062396719"/>
              </p:ext>
            </p:extLst>
          </p:nvPr>
        </p:nvGraphicFramePr>
        <p:xfrm>
          <a:off x="479376" y="908720"/>
          <a:ext cx="9649072" cy="3181349"/>
        </p:xfrm>
        <a:graphic>
          <a:graphicData uri="http://schemas.openxmlformats.org/drawingml/2006/table">
            <a:tbl>
              <a:tblPr firstRow="1" firstCol="1" bandRow="1"/>
              <a:tblGrid>
                <a:gridCol w="1617944">
                  <a:extLst>
                    <a:ext uri="{9D8B030D-6E8A-4147-A177-3AD203B41FA5}">
                      <a16:colId xmlns:a16="http://schemas.microsoft.com/office/drawing/2014/main" val="2649746829"/>
                    </a:ext>
                  </a:extLst>
                </a:gridCol>
                <a:gridCol w="3079881">
                  <a:extLst>
                    <a:ext uri="{9D8B030D-6E8A-4147-A177-3AD203B41FA5}">
                      <a16:colId xmlns:a16="http://schemas.microsoft.com/office/drawing/2014/main" val="2422247652"/>
                    </a:ext>
                  </a:extLst>
                </a:gridCol>
                <a:gridCol w="2901287">
                  <a:extLst>
                    <a:ext uri="{9D8B030D-6E8A-4147-A177-3AD203B41FA5}">
                      <a16:colId xmlns:a16="http://schemas.microsoft.com/office/drawing/2014/main" val="1115120064"/>
                    </a:ext>
                  </a:extLst>
                </a:gridCol>
                <a:gridCol w="2049960">
                  <a:extLst>
                    <a:ext uri="{9D8B030D-6E8A-4147-A177-3AD203B41FA5}">
                      <a16:colId xmlns:a16="http://schemas.microsoft.com/office/drawing/2014/main" val="2956447998"/>
                    </a:ext>
                  </a:extLst>
                </a:gridCol>
              </a:tblGrid>
              <a:tr h="559004">
                <a:tc>
                  <a:txBody>
                    <a:bodyPr/>
                    <a:lstStyle/>
                    <a:p>
                      <a:pPr marL="0" marR="0" algn="ctr">
                        <a:spcBef>
                          <a:spcPts val="100"/>
                        </a:spcBef>
                        <a:spcAft>
                          <a:spcPts val="100"/>
                        </a:spcAft>
                        <a:buNone/>
                      </a:pPr>
                      <a:r>
                        <a:rPr lang="en-US" sz="1800" b="1"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No.</a:t>
                      </a:r>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marL="0" marR="0">
                        <a:spcBef>
                          <a:spcPts val="100"/>
                        </a:spcBef>
                        <a:spcAft>
                          <a:spcPts val="100"/>
                        </a:spcAft>
                        <a:buNone/>
                      </a:pPr>
                      <a:r>
                        <a:rPr lang="en-US" sz="1800" b="1">
                          <a:solidFill>
                            <a:srgbClr val="000000"/>
                          </a:solidFill>
                          <a:effectLst/>
                          <a:latin typeface="Arial" panose="020B0604020202020204" pitchFamily="34" charset="0"/>
                          <a:ea typeface="SimSun" panose="02010600030101010101" pitchFamily="2" charset="-122"/>
                          <a:cs typeface="Times New Roman" panose="02020603050405020304" pitchFamily="18" charset="0"/>
                        </a:rPr>
                        <a:t>Additives</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100"/>
                        </a:spcBef>
                        <a:spcAft>
                          <a:spcPts val="100"/>
                        </a:spcAft>
                        <a:buNone/>
                      </a:pPr>
                      <a:r>
                        <a:rPr lang="en-US" sz="1800" b="1"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Pencil Hardness Scratch </a:t>
                      </a:r>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marL="0" marR="0">
                        <a:spcBef>
                          <a:spcPts val="100"/>
                        </a:spcBef>
                        <a:spcAft>
                          <a:spcPts val="100"/>
                        </a:spcAft>
                        <a:buNone/>
                      </a:pPr>
                      <a:r>
                        <a:rPr lang="en-US" sz="1800" b="1">
                          <a:solidFill>
                            <a:srgbClr val="000000"/>
                          </a:solidFill>
                          <a:effectLst/>
                          <a:latin typeface="Arial" panose="020B0604020202020204" pitchFamily="34" charset="0"/>
                          <a:ea typeface="SimSun" panose="02010600030101010101" pitchFamily="2" charset="-122"/>
                          <a:cs typeface="Times New Roman" panose="02020603050405020304" pitchFamily="18" charset="0"/>
                        </a:rPr>
                        <a:t>GLOSS (60)</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09719330"/>
                  </a:ext>
                </a:extLst>
              </a:tr>
              <a:tr h="570124">
                <a:tc>
                  <a:txBody>
                    <a:bodyPr/>
                    <a:lstStyle/>
                    <a:p>
                      <a:pPr marL="0" marR="0" algn="ctr">
                        <a:spcBef>
                          <a:spcPts val="100"/>
                        </a:spcBef>
                        <a:spcAft>
                          <a:spcPts val="100"/>
                        </a:spcAft>
                        <a:buNone/>
                      </a:pPr>
                      <a:r>
                        <a:rPr lang="en-US" sz="1800" b="1">
                          <a:effectLst/>
                          <a:latin typeface="Arial" panose="020B0604020202020204" pitchFamily="34" charset="0"/>
                          <a:ea typeface="SimSun" panose="02010600030101010101" pitchFamily="2" charset="-122"/>
                          <a:cs typeface="Times New Roman" panose="02020603050405020304" pitchFamily="18" charset="0"/>
                        </a:rPr>
                        <a:t>DF0110</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100"/>
                        </a:spcBef>
                        <a:spcAft>
                          <a:spcPts val="100"/>
                        </a:spcAft>
                        <a:buNone/>
                      </a:pPr>
                      <a:r>
                        <a:rPr lang="en-US" sz="2000" b="1" dirty="0">
                          <a:effectLst/>
                        </a:rPr>
                        <a:t>Control </a:t>
                      </a:r>
                      <a:endParaRPr lang="en-US" sz="2000" b="1"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100"/>
                        </a:spcBef>
                        <a:spcAft>
                          <a:spcPts val="100"/>
                        </a:spcAft>
                        <a:buNone/>
                      </a:pPr>
                      <a:r>
                        <a:rPr lang="en-US" sz="1800" dirty="0">
                          <a:effectLst/>
                          <a:latin typeface="Arial" panose="020B0604020202020204" pitchFamily="34" charset="0"/>
                          <a:ea typeface="SimSun" panose="02010600030101010101" pitchFamily="2" charset="-122"/>
                          <a:cs typeface="Times New Roman" panose="02020603050405020304" pitchFamily="18" charset="0"/>
                        </a:rPr>
                        <a:t>3H</a:t>
                      </a:r>
                      <a:br>
                        <a:rPr lang="en-US" sz="1800" dirty="0">
                          <a:effectLst/>
                          <a:latin typeface="Arial" panose="020B0604020202020204" pitchFamily="34" charset="0"/>
                          <a:ea typeface="SimSun" panose="02010600030101010101" pitchFamily="2" charset="-122"/>
                          <a:cs typeface="Times New Roman" panose="02020603050405020304" pitchFamily="18" charset="0"/>
                        </a:rPr>
                      </a:br>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100"/>
                        </a:spcBef>
                        <a:spcAft>
                          <a:spcPts val="100"/>
                        </a:spcAft>
                        <a:buNone/>
                      </a:pPr>
                      <a:r>
                        <a:rPr lang="en-US" sz="1800">
                          <a:effectLst/>
                          <a:latin typeface="Arial" panose="020B0604020202020204" pitchFamily="34" charset="0"/>
                          <a:ea typeface="SimSun" panose="02010600030101010101" pitchFamily="2" charset="-122"/>
                          <a:cs typeface="Times New Roman" panose="02020603050405020304" pitchFamily="18" charset="0"/>
                        </a:rPr>
                        <a:t>56.9</a:t>
                      </a: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6411527"/>
                  </a:ext>
                </a:extLst>
              </a:tr>
              <a:tr h="570124">
                <a:tc>
                  <a:txBody>
                    <a:bodyPr/>
                    <a:lstStyle/>
                    <a:p>
                      <a:pPr marL="0" marR="0" algn="ctr">
                        <a:spcBef>
                          <a:spcPts val="100"/>
                        </a:spcBef>
                        <a:spcAft>
                          <a:spcPts val="100"/>
                        </a:spcAft>
                        <a:buNone/>
                      </a:pPr>
                      <a:r>
                        <a:rPr lang="en-US" sz="1800" b="1">
                          <a:effectLst/>
                          <a:latin typeface="Arial" panose="020B0604020202020204" pitchFamily="34" charset="0"/>
                          <a:ea typeface="SimSun" panose="02010600030101010101" pitchFamily="2" charset="-122"/>
                          <a:cs typeface="Times New Roman" panose="02020603050405020304" pitchFamily="18" charset="0"/>
                        </a:rPr>
                        <a:t>DF0111</a:t>
                      </a:r>
                      <a:r>
                        <a:rPr lang="en-US" sz="1800" b="1">
                          <a:solidFill>
                            <a:srgbClr val="FF0000"/>
                          </a:solidFill>
                          <a:effectLst/>
                          <a:latin typeface="Arial" panose="020B0604020202020204" pitchFamily="34" charset="0"/>
                          <a:ea typeface="SimSun" panose="02010600030101010101" pitchFamily="2" charset="-122"/>
                          <a:cs typeface="Times New Roman" panose="02020603050405020304" pitchFamily="18" charset="0"/>
                        </a:rPr>
                        <a:t> </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buNone/>
                      </a:pPr>
                      <a:r>
                        <a:rPr lang="en-US" sz="2000" b="1" i="0" u="none" strike="noStrike" dirty="0">
                          <a:solidFill>
                            <a:srgbClr val="000000"/>
                          </a:solidFill>
                          <a:effectLst/>
                          <a:latin typeface="Calibri" panose="020F0502020204030204" pitchFamily="34" charset="0"/>
                        </a:rPr>
                        <a:t>PTFE WAX/BLEND</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100"/>
                        </a:spcBef>
                        <a:spcAft>
                          <a:spcPts val="100"/>
                        </a:spcAft>
                        <a:buNone/>
                      </a:pPr>
                      <a:r>
                        <a:rPr lang="en-US" sz="1800" dirty="0">
                          <a:effectLst/>
                          <a:latin typeface="Arial" panose="020B0604020202020204" pitchFamily="34" charset="0"/>
                          <a:ea typeface="SimSun" panose="02010600030101010101" pitchFamily="2" charset="-122"/>
                          <a:cs typeface="Times New Roman" panose="02020603050405020304" pitchFamily="18" charset="0"/>
                        </a:rPr>
                        <a:t>5H</a:t>
                      </a:r>
                    </a:p>
                  </a:txBody>
                  <a:tcPr marL="45085" marR="45085"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100"/>
                        </a:spcBef>
                        <a:spcAft>
                          <a:spcPts val="100"/>
                        </a:spcAft>
                        <a:buNone/>
                      </a:pPr>
                      <a:r>
                        <a:rPr lang="en-US" sz="1800">
                          <a:effectLst/>
                          <a:latin typeface="Arial" panose="020B0604020202020204" pitchFamily="34" charset="0"/>
                          <a:ea typeface="SimSun" panose="02010600030101010101" pitchFamily="2" charset="-122"/>
                          <a:cs typeface="Times New Roman" panose="02020603050405020304" pitchFamily="18" charset="0"/>
                        </a:rPr>
                        <a:t>60.0</a:t>
                      </a: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3496604"/>
                  </a:ext>
                </a:extLst>
              </a:tr>
              <a:tr h="570124">
                <a:tc>
                  <a:txBody>
                    <a:bodyPr/>
                    <a:lstStyle/>
                    <a:p>
                      <a:pPr marL="0" marR="0" algn="ctr">
                        <a:spcBef>
                          <a:spcPts val="100"/>
                        </a:spcBef>
                        <a:spcAft>
                          <a:spcPts val="100"/>
                        </a:spcAft>
                        <a:buNone/>
                      </a:pPr>
                      <a:r>
                        <a:rPr lang="en-US" sz="1800" b="1">
                          <a:solidFill>
                            <a:srgbClr val="000000"/>
                          </a:solidFill>
                          <a:effectLst/>
                          <a:latin typeface="Arial" panose="020B0604020202020204" pitchFamily="34" charset="0"/>
                          <a:ea typeface="SimSun" panose="02010600030101010101" pitchFamily="2" charset="-122"/>
                          <a:cs typeface="Times New Roman" panose="02020603050405020304" pitchFamily="18" charset="0"/>
                        </a:rPr>
                        <a:t>DF0112</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F7CB"/>
                    </a:solidFill>
                  </a:tcPr>
                </a:tc>
                <a:tc>
                  <a:txBody>
                    <a:bodyPr/>
                    <a:lstStyle/>
                    <a:p>
                      <a:pPr algn="l" fontAlgn="b">
                        <a:buNone/>
                      </a:pPr>
                      <a:r>
                        <a:rPr lang="en-US" sz="2000" b="1" i="0" u="none" strike="noStrike" dirty="0">
                          <a:solidFill>
                            <a:srgbClr val="000000"/>
                          </a:solidFill>
                          <a:effectLst/>
                          <a:latin typeface="Calibri" panose="020F0502020204030204" pitchFamily="34" charset="0"/>
                        </a:rPr>
                        <a:t>Polymer-base slip/scratch add.</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F7CB"/>
                    </a:solidFill>
                  </a:tcPr>
                </a:tc>
                <a:tc>
                  <a:txBody>
                    <a:bodyPr/>
                    <a:lstStyle/>
                    <a:p>
                      <a:pPr marL="0" marR="0" algn="ctr">
                        <a:spcBef>
                          <a:spcPts val="100"/>
                        </a:spcBef>
                        <a:spcAft>
                          <a:spcPts val="100"/>
                        </a:spcAft>
                        <a:buNone/>
                      </a:pPr>
                      <a:r>
                        <a:rPr lang="en-US" sz="1800"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6H</a:t>
                      </a:r>
                      <a:br>
                        <a:rPr lang="en-US" sz="1800" dirty="0">
                          <a:solidFill>
                            <a:srgbClr val="000000"/>
                          </a:solidFill>
                          <a:effectLst/>
                          <a:latin typeface="Arial" panose="020B0604020202020204" pitchFamily="34" charset="0"/>
                          <a:ea typeface="SimSun" panose="02010600030101010101" pitchFamily="2" charset="-122"/>
                          <a:cs typeface="Times New Roman" panose="02020603050405020304" pitchFamily="18" charset="0"/>
                        </a:rPr>
                      </a:br>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F7CB"/>
                    </a:solidFill>
                  </a:tcPr>
                </a:tc>
                <a:tc>
                  <a:txBody>
                    <a:bodyPr/>
                    <a:lstStyle/>
                    <a:p>
                      <a:pPr marL="0" marR="0" algn="ctr">
                        <a:spcBef>
                          <a:spcPts val="100"/>
                        </a:spcBef>
                        <a:spcAft>
                          <a:spcPts val="100"/>
                        </a:spcAft>
                        <a:buNone/>
                      </a:pPr>
                      <a:r>
                        <a:rPr lang="en-US" sz="18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57.4</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F7CB"/>
                    </a:solidFill>
                  </a:tcPr>
                </a:tc>
                <a:extLst>
                  <a:ext uri="{0D108BD9-81ED-4DB2-BD59-A6C34878D82A}">
                    <a16:rowId xmlns:a16="http://schemas.microsoft.com/office/drawing/2014/main" val="4217260898"/>
                  </a:ext>
                </a:extLst>
              </a:tr>
              <a:tr h="431486">
                <a:tc>
                  <a:txBody>
                    <a:bodyPr/>
                    <a:lstStyle/>
                    <a:p>
                      <a:pPr marL="0" marR="0" algn="ctr">
                        <a:spcBef>
                          <a:spcPts val="100"/>
                        </a:spcBef>
                        <a:spcAft>
                          <a:spcPts val="100"/>
                        </a:spcAft>
                        <a:buNone/>
                      </a:pPr>
                      <a:r>
                        <a:rPr lang="en-US" sz="1800" b="1">
                          <a:solidFill>
                            <a:srgbClr val="FF0000"/>
                          </a:solidFill>
                          <a:effectLst/>
                          <a:latin typeface="Arial" panose="020B0604020202020204" pitchFamily="34" charset="0"/>
                          <a:ea typeface="SimSun" panose="02010600030101010101" pitchFamily="2" charset="-122"/>
                          <a:cs typeface="Times New Roman" panose="02020603050405020304" pitchFamily="18" charset="0"/>
                        </a:rPr>
                        <a:t> </a:t>
                      </a:r>
                      <a:r>
                        <a:rPr lang="en-US" sz="1800" b="1">
                          <a:effectLst/>
                          <a:latin typeface="Arial" panose="020B0604020202020204" pitchFamily="34" charset="0"/>
                          <a:ea typeface="SimSun" panose="02010600030101010101" pitchFamily="2" charset="-122"/>
                          <a:cs typeface="Times New Roman" panose="02020603050405020304" pitchFamily="18" charset="0"/>
                        </a:rPr>
                        <a:t>DF0113</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buNone/>
                      </a:pPr>
                      <a:r>
                        <a:rPr lang="en-US" sz="2000" b="1" i="0" u="none" strike="noStrike" dirty="0">
                          <a:solidFill>
                            <a:srgbClr val="000000"/>
                          </a:solidFill>
                          <a:effectLst/>
                          <a:latin typeface="Calibri" panose="020F0502020204030204" pitchFamily="34" charset="0"/>
                        </a:rPr>
                        <a:t>PE WAX-1050</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100"/>
                        </a:spcBef>
                        <a:spcAft>
                          <a:spcPts val="100"/>
                        </a:spcAft>
                        <a:buNone/>
                      </a:pPr>
                      <a:r>
                        <a:rPr lang="en-US" sz="1800" dirty="0">
                          <a:effectLst/>
                          <a:latin typeface="Arial" panose="020B0604020202020204" pitchFamily="34" charset="0"/>
                          <a:ea typeface="SimSun" panose="02010600030101010101" pitchFamily="2" charset="-122"/>
                          <a:cs typeface="Times New Roman" panose="02020603050405020304" pitchFamily="18" charset="0"/>
                        </a:rPr>
                        <a:t>5H</a:t>
                      </a:r>
                    </a:p>
                  </a:txBody>
                  <a:tcPr marL="45085" marR="45085"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100"/>
                        </a:spcBef>
                        <a:spcAft>
                          <a:spcPts val="100"/>
                        </a:spcAft>
                        <a:buNone/>
                      </a:pPr>
                      <a:r>
                        <a:rPr lang="en-US" sz="1800">
                          <a:effectLst/>
                          <a:latin typeface="Arial" panose="020B0604020202020204" pitchFamily="34" charset="0"/>
                          <a:ea typeface="SimSun" panose="02010600030101010101" pitchFamily="2" charset="-122"/>
                          <a:cs typeface="Times New Roman" panose="02020603050405020304" pitchFamily="18" charset="0"/>
                        </a:rPr>
                        <a:t>57.6</a:t>
                      </a: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6285305"/>
                  </a:ext>
                </a:extLst>
              </a:tr>
              <a:tr h="431486">
                <a:tc>
                  <a:txBody>
                    <a:bodyPr/>
                    <a:lstStyle/>
                    <a:p>
                      <a:pPr marL="0" marR="0" algn="ctr">
                        <a:spcBef>
                          <a:spcPts val="100"/>
                        </a:spcBef>
                        <a:spcAft>
                          <a:spcPts val="100"/>
                        </a:spcAft>
                        <a:buNone/>
                      </a:pPr>
                      <a:r>
                        <a:rPr lang="en-US" sz="1800" b="1">
                          <a:effectLst/>
                          <a:latin typeface="Arial" panose="020B0604020202020204" pitchFamily="34" charset="0"/>
                          <a:ea typeface="SimSun" panose="02010600030101010101" pitchFamily="2" charset="-122"/>
                          <a:cs typeface="Times New Roman" panose="02020603050405020304" pitchFamily="18" charset="0"/>
                        </a:rPr>
                        <a:t>DF0114</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buNone/>
                      </a:pPr>
                      <a:r>
                        <a:rPr lang="en-US" sz="2000" b="1" i="0" u="none" strike="noStrike" dirty="0">
                          <a:solidFill>
                            <a:srgbClr val="000000"/>
                          </a:solidFill>
                          <a:effectLst/>
                          <a:latin typeface="Calibri" panose="020F0502020204030204" pitchFamily="34" charset="0"/>
                        </a:rPr>
                        <a:t>PE WAX- 1051</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100"/>
                        </a:spcBef>
                        <a:spcAft>
                          <a:spcPts val="100"/>
                        </a:spcAft>
                        <a:buNone/>
                      </a:pPr>
                      <a:r>
                        <a:rPr lang="en-US" sz="1800" dirty="0">
                          <a:effectLst/>
                          <a:latin typeface="Arial" panose="020B0604020202020204" pitchFamily="34" charset="0"/>
                          <a:ea typeface="SimSun" panose="02010600030101010101" pitchFamily="2" charset="-122"/>
                          <a:cs typeface="Times New Roman" panose="02020603050405020304" pitchFamily="18" charset="0"/>
                        </a:rPr>
                        <a:t>4H</a:t>
                      </a:r>
                    </a:p>
                  </a:txBody>
                  <a:tcPr marL="45085" marR="45085"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100"/>
                        </a:spcBef>
                        <a:spcAft>
                          <a:spcPts val="100"/>
                        </a:spcAft>
                        <a:buNone/>
                      </a:pPr>
                      <a:r>
                        <a:rPr lang="en-US" sz="1800" dirty="0">
                          <a:effectLst/>
                          <a:latin typeface="Arial" panose="020B0604020202020204" pitchFamily="34" charset="0"/>
                          <a:ea typeface="SimSun" panose="02010600030101010101" pitchFamily="2" charset="-122"/>
                          <a:cs typeface="Times New Roman" panose="02020603050405020304" pitchFamily="18" charset="0"/>
                        </a:rPr>
                        <a:t>57.5</a:t>
                      </a:r>
                    </a:p>
                  </a:txBody>
                  <a:tcPr marL="45085" marR="4508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51448374"/>
                  </a:ext>
                </a:extLst>
              </a:tr>
            </a:tbl>
          </a:graphicData>
        </a:graphic>
      </p:graphicFrame>
      <p:sp>
        <p:nvSpPr>
          <p:cNvPr id="4" name="Date Placeholder 3">
            <a:extLst>
              <a:ext uri="{FF2B5EF4-FFF2-40B4-BE49-F238E27FC236}">
                <a16:creationId xmlns:a16="http://schemas.microsoft.com/office/drawing/2014/main" id="{FB959F9A-A279-4150-7028-4053BBD7A9BD}"/>
              </a:ext>
            </a:extLst>
          </p:cNvPr>
          <p:cNvSpPr>
            <a:spLocks noGrp="1"/>
          </p:cNvSpPr>
          <p:nvPr>
            <p:ph type="dt" sz="half" idx="10"/>
          </p:nvPr>
        </p:nvSpPr>
        <p:spPr/>
        <p:txBody>
          <a:bodyPr/>
          <a:lstStyle/>
          <a:p>
            <a:r>
              <a:rPr lang="en-US"/>
              <a:t>September 2025</a:t>
            </a:r>
            <a:endParaRPr lang="en-US" dirty="0"/>
          </a:p>
        </p:txBody>
      </p:sp>
      <p:sp>
        <p:nvSpPr>
          <p:cNvPr id="5" name="Footer Placeholder 4">
            <a:extLst>
              <a:ext uri="{FF2B5EF4-FFF2-40B4-BE49-F238E27FC236}">
                <a16:creationId xmlns:a16="http://schemas.microsoft.com/office/drawing/2014/main" id="{38675F6D-C656-9129-EAD5-777C02A2CCEE}"/>
              </a:ext>
            </a:extLst>
          </p:cNvPr>
          <p:cNvSpPr>
            <a:spLocks noGrp="1"/>
          </p:cNvSpPr>
          <p:nvPr>
            <p:ph type="ftr" sz="quarter" idx="11"/>
          </p:nvPr>
        </p:nvSpPr>
        <p:spPr/>
        <p:txBody>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FFFF4CFF-96BD-DCE3-D537-D98707B48BA0}"/>
              </a:ext>
            </a:extLst>
          </p:cNvPr>
          <p:cNvSpPr>
            <a:spLocks noGrp="1"/>
          </p:cNvSpPr>
          <p:nvPr>
            <p:ph type="sldNum" sz="quarter" idx="12"/>
          </p:nvPr>
        </p:nvSpPr>
        <p:spPr/>
        <p:txBody>
          <a:bodyPr/>
          <a:lstStyle/>
          <a:p>
            <a:r>
              <a:rPr lang="de-DE"/>
              <a:t>Page </a:t>
            </a:r>
            <a:fld id="{8F63C9D9-3015-4EB3-9DF0-04DE0400ED04}" type="slidenum">
              <a:rPr smtClean="0"/>
              <a:pPr/>
              <a:t>29</a:t>
            </a:fld>
            <a:endParaRPr dirty="0"/>
          </a:p>
        </p:txBody>
      </p:sp>
      <p:sp>
        <p:nvSpPr>
          <p:cNvPr id="9" name="TextBox 8">
            <a:extLst>
              <a:ext uri="{FF2B5EF4-FFF2-40B4-BE49-F238E27FC236}">
                <a16:creationId xmlns:a16="http://schemas.microsoft.com/office/drawing/2014/main" id="{5014DCCB-030F-84C2-BEAD-10B47A941455}"/>
              </a:ext>
            </a:extLst>
          </p:cNvPr>
          <p:cNvSpPr txBox="1"/>
          <p:nvPr/>
        </p:nvSpPr>
        <p:spPr>
          <a:xfrm>
            <a:off x="299356" y="4761148"/>
            <a:ext cx="8064896" cy="584775"/>
          </a:xfrm>
          <a:prstGeom prst="rect">
            <a:avLst/>
          </a:prstGeom>
          <a:noFill/>
        </p:spPr>
        <p:txBody>
          <a:bodyPr wrap="square">
            <a:spAutoFit/>
          </a:bodyPr>
          <a:lstStyle/>
          <a:p>
            <a:r>
              <a:rPr lang="en-US" sz="1600" dirty="0">
                <a:effectLst/>
                <a:latin typeface="Arial" panose="020B0604020202020204" pitchFamily="34" charset="0"/>
                <a:ea typeface="SimSun" panose="02010600030101010101" pitchFamily="2" charset="-122"/>
                <a:cs typeface="Times New Roman" panose="02020603050405020304" pitchFamily="18" charset="0"/>
              </a:rPr>
              <a:t>Note: Pencil hardness was the pencil that did not gouge the film, BYK”s polymer-based slip/scratch additive was the best slip additive as well as scratch/ mar performance</a:t>
            </a:r>
            <a:endParaRPr lang="en-US" dirty="0"/>
          </a:p>
        </p:txBody>
      </p:sp>
      <p:pic>
        <p:nvPicPr>
          <p:cNvPr id="10" name="Picture 9" descr="A black rectangular object with white label&#10;&#10;Description automatically generated">
            <a:extLst>
              <a:ext uri="{FF2B5EF4-FFF2-40B4-BE49-F238E27FC236}">
                <a16:creationId xmlns:a16="http://schemas.microsoft.com/office/drawing/2014/main" id="{EE8DA5CC-664F-F371-2F60-42F47E49D3D9}"/>
              </a:ext>
            </a:extLst>
          </p:cNvPr>
          <p:cNvPicPr>
            <a:picLocks noChangeAspect="1"/>
          </p:cNvPicPr>
          <p:nvPr/>
        </p:nvPicPr>
        <p:blipFill rotWithShape="1">
          <a:blip r:embed="rId2" r:link="rId3" cstate="print">
            <a:extLst>
              <a:ext uri="{28A0092B-C50C-407E-A947-70E740481C1C}">
                <a14:useLocalDpi xmlns:a14="http://schemas.microsoft.com/office/drawing/2010/main" val="0"/>
              </a:ext>
            </a:extLst>
          </a:blip>
          <a:srcRect l="20066" t="28069" r="18253" b="8046"/>
          <a:stretch>
            <a:fillRect/>
          </a:stretch>
        </p:blipFill>
        <p:spPr bwMode="auto">
          <a:xfrm>
            <a:off x="9205703" y="4149080"/>
            <a:ext cx="2578929" cy="2196244"/>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43137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2F24E-5829-8ADE-5CFE-D4AF536AD87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E759777-C88C-6AC7-3C9B-870BD7784C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think-cell data - do not delete" hidden="1">
                        <a:extLst>
                          <a:ext uri="{FF2B5EF4-FFF2-40B4-BE49-F238E27FC236}">
                            <a16:creationId xmlns:a16="http://schemas.microsoft.com/office/drawing/2014/main" id="{9E759777-C88C-6AC7-3C9B-870BD7784C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2" name="Gruppieren 21">
            <a:extLst>
              <a:ext uri="{FF2B5EF4-FFF2-40B4-BE49-F238E27FC236}">
                <a16:creationId xmlns:a16="http://schemas.microsoft.com/office/drawing/2014/main" id="{A3D26F4A-43A2-454E-D60F-16742D06C996}"/>
              </a:ext>
            </a:extLst>
          </p:cNvPr>
          <p:cNvGrpSpPr>
            <a:grpSpLocks noChangeAspect="1"/>
          </p:cNvGrpSpPr>
          <p:nvPr/>
        </p:nvGrpSpPr>
        <p:grpSpPr>
          <a:xfrm>
            <a:off x="4044382" y="1630044"/>
            <a:ext cx="3266260" cy="2384658"/>
            <a:chOff x="4561510" y="1137404"/>
            <a:chExt cx="3300152" cy="3329162"/>
          </a:xfrm>
          <a:solidFill>
            <a:schemeClr val="accent5">
              <a:lumMod val="20000"/>
              <a:lumOff val="80000"/>
            </a:schemeClr>
          </a:solidFill>
          <a:scene3d>
            <a:camera prst="perspectiveFront" fov="2700000">
              <a:rot lat="20376000" lon="1938000" rev="20112001"/>
            </a:camera>
            <a:lightRig rig="soft" dir="t">
              <a:rot lat="0" lon="0" rev="0"/>
            </a:lightRig>
          </a:scene3d>
        </p:grpSpPr>
        <p:sp>
          <p:nvSpPr>
            <p:cNvPr id="8" name="Freihandform 9">
              <a:extLst>
                <a:ext uri="{FF2B5EF4-FFF2-40B4-BE49-F238E27FC236}">
                  <a16:creationId xmlns:a16="http://schemas.microsoft.com/office/drawing/2014/main" id="{A51A2F1D-488E-1F02-67F7-4554F7DBA494}"/>
                </a:ext>
              </a:extLst>
            </p:cNvPr>
            <p:cNvSpPr>
              <a:spLocks noChangeAspect="1"/>
            </p:cNvSpPr>
            <p:nvPr/>
          </p:nvSpPr>
          <p:spPr>
            <a:xfrm>
              <a:off x="4561510" y="1137404"/>
              <a:ext cx="3090620" cy="3120974"/>
            </a:xfrm>
            <a:custGeom>
              <a:avLst/>
              <a:gdLst>
                <a:gd name="connsiteX0" fmla="*/ 3790260 w 5732578"/>
                <a:gd name="connsiteY0" fmla="*/ 417868 h 5726204"/>
                <a:gd name="connsiteX1" fmla="*/ 2542870 w 5732578"/>
                <a:gd name="connsiteY1" fmla="*/ 309 h 5726204"/>
                <a:gd name="connsiteX2" fmla="*/ 1401192 w 5732578"/>
                <a:gd name="connsiteY2" fmla="*/ 481294 h 5726204"/>
                <a:gd name="connsiteX3" fmla="*/ 402223 w 5732578"/>
                <a:gd name="connsiteY3" fmla="*/ 1950677 h 5726204"/>
                <a:gd name="connsiteX4" fmla="*/ 521 w 5732578"/>
                <a:gd name="connsiteY4" fmla="*/ 3795333 h 5726204"/>
                <a:gd name="connsiteX5" fmla="*/ 338796 w 5732578"/>
                <a:gd name="connsiteY5" fmla="*/ 4968725 h 5726204"/>
                <a:gd name="connsiteX6" fmla="*/ 1184484 w 5732578"/>
                <a:gd name="connsiteY6" fmla="*/ 5544850 h 5726204"/>
                <a:gd name="connsiteX7" fmla="*/ 2442445 w 5732578"/>
                <a:gd name="connsiteY7" fmla="*/ 5724559 h 5726204"/>
                <a:gd name="connsiteX8" fmla="*/ 4287102 w 5732578"/>
                <a:gd name="connsiteY8" fmla="*/ 5465567 h 5726204"/>
                <a:gd name="connsiteX9" fmla="*/ 5275499 w 5732578"/>
                <a:gd name="connsiteY9" fmla="*/ 4894728 h 5726204"/>
                <a:gd name="connsiteX10" fmla="*/ 5671915 w 5732578"/>
                <a:gd name="connsiteY10" fmla="*/ 4223463 h 5726204"/>
                <a:gd name="connsiteX11" fmla="*/ 5677201 w 5732578"/>
                <a:gd name="connsiteY11" fmla="*/ 3393632 h 5726204"/>
                <a:gd name="connsiteX12" fmla="*/ 5153932 w 5732578"/>
                <a:gd name="connsiteY12" fmla="*/ 1998247 h 5726204"/>
                <a:gd name="connsiteX13" fmla="*/ 4456239 w 5732578"/>
                <a:gd name="connsiteY13" fmla="*/ 993992 h 5726204"/>
                <a:gd name="connsiteX14" fmla="*/ 3790260 w 5732578"/>
                <a:gd name="connsiteY14" fmla="*/ 417868 h 5726204"/>
                <a:gd name="connsiteX0" fmla="*/ 3786602 w 5732578"/>
                <a:gd name="connsiteY0" fmla="*/ 435997 h 5726045"/>
                <a:gd name="connsiteX1" fmla="*/ 2542870 w 5732578"/>
                <a:gd name="connsiteY1" fmla="*/ 150 h 5726045"/>
                <a:gd name="connsiteX2" fmla="*/ 1401192 w 5732578"/>
                <a:gd name="connsiteY2" fmla="*/ 481135 h 5726045"/>
                <a:gd name="connsiteX3" fmla="*/ 402223 w 5732578"/>
                <a:gd name="connsiteY3" fmla="*/ 1950518 h 5726045"/>
                <a:gd name="connsiteX4" fmla="*/ 521 w 5732578"/>
                <a:gd name="connsiteY4" fmla="*/ 3795174 h 5726045"/>
                <a:gd name="connsiteX5" fmla="*/ 338796 w 5732578"/>
                <a:gd name="connsiteY5" fmla="*/ 4968566 h 5726045"/>
                <a:gd name="connsiteX6" fmla="*/ 1184484 w 5732578"/>
                <a:gd name="connsiteY6" fmla="*/ 5544691 h 5726045"/>
                <a:gd name="connsiteX7" fmla="*/ 2442445 w 5732578"/>
                <a:gd name="connsiteY7" fmla="*/ 5724400 h 5726045"/>
                <a:gd name="connsiteX8" fmla="*/ 4287102 w 5732578"/>
                <a:gd name="connsiteY8" fmla="*/ 5465408 h 5726045"/>
                <a:gd name="connsiteX9" fmla="*/ 5275499 w 5732578"/>
                <a:gd name="connsiteY9" fmla="*/ 4894569 h 5726045"/>
                <a:gd name="connsiteX10" fmla="*/ 5671915 w 5732578"/>
                <a:gd name="connsiteY10" fmla="*/ 4223304 h 5726045"/>
                <a:gd name="connsiteX11" fmla="*/ 5677201 w 5732578"/>
                <a:gd name="connsiteY11" fmla="*/ 3393473 h 5726045"/>
                <a:gd name="connsiteX12" fmla="*/ 5153932 w 5732578"/>
                <a:gd name="connsiteY12" fmla="*/ 1998088 h 5726045"/>
                <a:gd name="connsiteX13" fmla="*/ 4456239 w 5732578"/>
                <a:gd name="connsiteY13" fmla="*/ 993833 h 5726045"/>
                <a:gd name="connsiteX14" fmla="*/ 3786602 w 5732578"/>
                <a:gd name="connsiteY14" fmla="*/ 435997 h 5726045"/>
                <a:gd name="connsiteX0" fmla="*/ 3786602 w 5732578"/>
                <a:gd name="connsiteY0" fmla="*/ 435993 h 5726041"/>
                <a:gd name="connsiteX1" fmla="*/ 2542870 w 5732578"/>
                <a:gd name="connsiteY1" fmla="*/ 146 h 5726041"/>
                <a:gd name="connsiteX2" fmla="*/ 1401192 w 5732578"/>
                <a:gd name="connsiteY2" fmla="*/ 481131 h 5726041"/>
                <a:gd name="connsiteX3" fmla="*/ 402223 w 5732578"/>
                <a:gd name="connsiteY3" fmla="*/ 1950514 h 5726041"/>
                <a:gd name="connsiteX4" fmla="*/ 521 w 5732578"/>
                <a:gd name="connsiteY4" fmla="*/ 3795170 h 5726041"/>
                <a:gd name="connsiteX5" fmla="*/ 338796 w 5732578"/>
                <a:gd name="connsiteY5" fmla="*/ 4968562 h 5726041"/>
                <a:gd name="connsiteX6" fmla="*/ 1184484 w 5732578"/>
                <a:gd name="connsiteY6" fmla="*/ 5544687 h 5726041"/>
                <a:gd name="connsiteX7" fmla="*/ 2442445 w 5732578"/>
                <a:gd name="connsiteY7" fmla="*/ 5724396 h 5726041"/>
                <a:gd name="connsiteX8" fmla="*/ 4287102 w 5732578"/>
                <a:gd name="connsiteY8" fmla="*/ 5465404 h 5726041"/>
                <a:gd name="connsiteX9" fmla="*/ 5275499 w 5732578"/>
                <a:gd name="connsiteY9" fmla="*/ 4894565 h 5726041"/>
                <a:gd name="connsiteX10" fmla="*/ 5671915 w 5732578"/>
                <a:gd name="connsiteY10" fmla="*/ 4223300 h 5726041"/>
                <a:gd name="connsiteX11" fmla="*/ 5677201 w 5732578"/>
                <a:gd name="connsiteY11" fmla="*/ 3393469 h 5726041"/>
                <a:gd name="connsiteX12" fmla="*/ 5153932 w 5732578"/>
                <a:gd name="connsiteY12" fmla="*/ 1998084 h 5726041"/>
                <a:gd name="connsiteX13" fmla="*/ 4456239 w 5732578"/>
                <a:gd name="connsiteY13" fmla="*/ 993829 h 5726041"/>
                <a:gd name="connsiteX14" fmla="*/ 3786602 w 5732578"/>
                <a:gd name="connsiteY14" fmla="*/ 435993 h 5726041"/>
                <a:gd name="connsiteX0" fmla="*/ 3786602 w 5732578"/>
                <a:gd name="connsiteY0" fmla="*/ 435998 h 5726046"/>
                <a:gd name="connsiteX1" fmla="*/ 2542870 w 5732578"/>
                <a:gd name="connsiteY1" fmla="*/ 151 h 5726046"/>
                <a:gd name="connsiteX2" fmla="*/ 1401192 w 5732578"/>
                <a:gd name="connsiteY2" fmla="*/ 481136 h 5726046"/>
                <a:gd name="connsiteX3" fmla="*/ 402223 w 5732578"/>
                <a:gd name="connsiteY3" fmla="*/ 1950519 h 5726046"/>
                <a:gd name="connsiteX4" fmla="*/ 521 w 5732578"/>
                <a:gd name="connsiteY4" fmla="*/ 3795175 h 5726046"/>
                <a:gd name="connsiteX5" fmla="*/ 338796 w 5732578"/>
                <a:gd name="connsiteY5" fmla="*/ 4968567 h 5726046"/>
                <a:gd name="connsiteX6" fmla="*/ 1184484 w 5732578"/>
                <a:gd name="connsiteY6" fmla="*/ 5544692 h 5726046"/>
                <a:gd name="connsiteX7" fmla="*/ 2442445 w 5732578"/>
                <a:gd name="connsiteY7" fmla="*/ 5724401 h 5726046"/>
                <a:gd name="connsiteX8" fmla="*/ 4287102 w 5732578"/>
                <a:gd name="connsiteY8" fmla="*/ 5465409 h 5726046"/>
                <a:gd name="connsiteX9" fmla="*/ 5275499 w 5732578"/>
                <a:gd name="connsiteY9" fmla="*/ 4894570 h 5726046"/>
                <a:gd name="connsiteX10" fmla="*/ 5671915 w 5732578"/>
                <a:gd name="connsiteY10" fmla="*/ 4223305 h 5726046"/>
                <a:gd name="connsiteX11" fmla="*/ 5677201 w 5732578"/>
                <a:gd name="connsiteY11" fmla="*/ 3393474 h 5726046"/>
                <a:gd name="connsiteX12" fmla="*/ 5153932 w 5732578"/>
                <a:gd name="connsiteY12" fmla="*/ 1998089 h 5726046"/>
                <a:gd name="connsiteX13" fmla="*/ 4437951 w 5732578"/>
                <a:gd name="connsiteY13" fmla="*/ 1019437 h 5726046"/>
                <a:gd name="connsiteX14" fmla="*/ 3786602 w 5732578"/>
                <a:gd name="connsiteY14" fmla="*/ 435998 h 5726046"/>
                <a:gd name="connsiteX0" fmla="*/ 3786602 w 5732578"/>
                <a:gd name="connsiteY0" fmla="*/ 435998 h 5726046"/>
                <a:gd name="connsiteX1" fmla="*/ 2542870 w 5732578"/>
                <a:gd name="connsiteY1" fmla="*/ 151 h 5726046"/>
                <a:gd name="connsiteX2" fmla="*/ 1401192 w 5732578"/>
                <a:gd name="connsiteY2" fmla="*/ 481136 h 5726046"/>
                <a:gd name="connsiteX3" fmla="*/ 402223 w 5732578"/>
                <a:gd name="connsiteY3" fmla="*/ 1950519 h 5726046"/>
                <a:gd name="connsiteX4" fmla="*/ 521 w 5732578"/>
                <a:gd name="connsiteY4" fmla="*/ 3795175 h 5726046"/>
                <a:gd name="connsiteX5" fmla="*/ 338796 w 5732578"/>
                <a:gd name="connsiteY5" fmla="*/ 4968567 h 5726046"/>
                <a:gd name="connsiteX6" fmla="*/ 1184484 w 5732578"/>
                <a:gd name="connsiteY6" fmla="*/ 5544692 h 5726046"/>
                <a:gd name="connsiteX7" fmla="*/ 2442445 w 5732578"/>
                <a:gd name="connsiteY7" fmla="*/ 5724401 h 5726046"/>
                <a:gd name="connsiteX8" fmla="*/ 4287102 w 5732578"/>
                <a:gd name="connsiteY8" fmla="*/ 5465409 h 5726046"/>
                <a:gd name="connsiteX9" fmla="*/ 5275499 w 5732578"/>
                <a:gd name="connsiteY9" fmla="*/ 4894570 h 5726046"/>
                <a:gd name="connsiteX10" fmla="*/ 5671915 w 5732578"/>
                <a:gd name="connsiteY10" fmla="*/ 4223305 h 5726046"/>
                <a:gd name="connsiteX11" fmla="*/ 5677201 w 5732578"/>
                <a:gd name="connsiteY11" fmla="*/ 3393474 h 5726046"/>
                <a:gd name="connsiteX12" fmla="*/ 5153932 w 5732578"/>
                <a:gd name="connsiteY12" fmla="*/ 1998089 h 5726046"/>
                <a:gd name="connsiteX13" fmla="*/ 4437951 w 5732578"/>
                <a:gd name="connsiteY13" fmla="*/ 1019437 h 5726046"/>
                <a:gd name="connsiteX14" fmla="*/ 3786602 w 5732578"/>
                <a:gd name="connsiteY14" fmla="*/ 435998 h 5726046"/>
                <a:gd name="connsiteX0" fmla="*/ 3786602 w 5732578"/>
                <a:gd name="connsiteY0" fmla="*/ 436029 h 5726077"/>
                <a:gd name="connsiteX1" fmla="*/ 2542870 w 5732578"/>
                <a:gd name="connsiteY1" fmla="*/ 182 h 5726077"/>
                <a:gd name="connsiteX2" fmla="*/ 1401192 w 5732578"/>
                <a:gd name="connsiteY2" fmla="*/ 481167 h 5726077"/>
                <a:gd name="connsiteX3" fmla="*/ 402223 w 5732578"/>
                <a:gd name="connsiteY3" fmla="*/ 1950550 h 5726077"/>
                <a:gd name="connsiteX4" fmla="*/ 521 w 5732578"/>
                <a:gd name="connsiteY4" fmla="*/ 3795206 h 5726077"/>
                <a:gd name="connsiteX5" fmla="*/ 338796 w 5732578"/>
                <a:gd name="connsiteY5" fmla="*/ 4968598 h 5726077"/>
                <a:gd name="connsiteX6" fmla="*/ 1184484 w 5732578"/>
                <a:gd name="connsiteY6" fmla="*/ 5544723 h 5726077"/>
                <a:gd name="connsiteX7" fmla="*/ 2442445 w 5732578"/>
                <a:gd name="connsiteY7" fmla="*/ 5724432 h 5726077"/>
                <a:gd name="connsiteX8" fmla="*/ 4287102 w 5732578"/>
                <a:gd name="connsiteY8" fmla="*/ 5465440 h 5726077"/>
                <a:gd name="connsiteX9" fmla="*/ 5275499 w 5732578"/>
                <a:gd name="connsiteY9" fmla="*/ 4894601 h 5726077"/>
                <a:gd name="connsiteX10" fmla="*/ 5671915 w 5732578"/>
                <a:gd name="connsiteY10" fmla="*/ 4223336 h 5726077"/>
                <a:gd name="connsiteX11" fmla="*/ 5677201 w 5732578"/>
                <a:gd name="connsiteY11" fmla="*/ 3393505 h 5726077"/>
                <a:gd name="connsiteX12" fmla="*/ 5153932 w 5732578"/>
                <a:gd name="connsiteY12" fmla="*/ 1998120 h 5726077"/>
                <a:gd name="connsiteX13" fmla="*/ 4437951 w 5732578"/>
                <a:gd name="connsiteY13" fmla="*/ 1019468 h 5726077"/>
                <a:gd name="connsiteX14" fmla="*/ 3786602 w 5732578"/>
                <a:gd name="connsiteY14" fmla="*/ 436029 h 5726077"/>
                <a:gd name="connsiteX0" fmla="*/ 3786602 w 5733076"/>
                <a:gd name="connsiteY0" fmla="*/ 436029 h 5726077"/>
                <a:gd name="connsiteX1" fmla="*/ 2542870 w 5733076"/>
                <a:gd name="connsiteY1" fmla="*/ 182 h 5726077"/>
                <a:gd name="connsiteX2" fmla="*/ 1401192 w 5733076"/>
                <a:gd name="connsiteY2" fmla="*/ 481167 h 5726077"/>
                <a:gd name="connsiteX3" fmla="*/ 402223 w 5733076"/>
                <a:gd name="connsiteY3" fmla="*/ 1950550 h 5726077"/>
                <a:gd name="connsiteX4" fmla="*/ 521 w 5733076"/>
                <a:gd name="connsiteY4" fmla="*/ 3795206 h 5726077"/>
                <a:gd name="connsiteX5" fmla="*/ 338796 w 5733076"/>
                <a:gd name="connsiteY5" fmla="*/ 4968598 h 5726077"/>
                <a:gd name="connsiteX6" fmla="*/ 1184484 w 5733076"/>
                <a:gd name="connsiteY6" fmla="*/ 5544723 h 5726077"/>
                <a:gd name="connsiteX7" fmla="*/ 2442445 w 5733076"/>
                <a:gd name="connsiteY7" fmla="*/ 5724432 h 5726077"/>
                <a:gd name="connsiteX8" fmla="*/ 4287102 w 5733076"/>
                <a:gd name="connsiteY8" fmla="*/ 5465440 h 5726077"/>
                <a:gd name="connsiteX9" fmla="*/ 5275499 w 5733076"/>
                <a:gd name="connsiteY9" fmla="*/ 4894601 h 5726077"/>
                <a:gd name="connsiteX10" fmla="*/ 5671915 w 5733076"/>
                <a:gd name="connsiteY10" fmla="*/ 4223336 h 5726077"/>
                <a:gd name="connsiteX11" fmla="*/ 5677201 w 5733076"/>
                <a:gd name="connsiteY11" fmla="*/ 3393505 h 5726077"/>
                <a:gd name="connsiteX12" fmla="*/ 5146617 w 5733076"/>
                <a:gd name="connsiteY12" fmla="*/ 2031039 h 5726077"/>
                <a:gd name="connsiteX13" fmla="*/ 4437951 w 5733076"/>
                <a:gd name="connsiteY13" fmla="*/ 1019468 h 5726077"/>
                <a:gd name="connsiteX14" fmla="*/ 3786602 w 5733076"/>
                <a:gd name="connsiteY14" fmla="*/ 436029 h 5726077"/>
                <a:gd name="connsiteX0" fmla="*/ 3786602 w 5722211"/>
                <a:gd name="connsiteY0" fmla="*/ 436029 h 5726077"/>
                <a:gd name="connsiteX1" fmla="*/ 2542870 w 5722211"/>
                <a:gd name="connsiteY1" fmla="*/ 182 h 5726077"/>
                <a:gd name="connsiteX2" fmla="*/ 1401192 w 5722211"/>
                <a:gd name="connsiteY2" fmla="*/ 481167 h 5726077"/>
                <a:gd name="connsiteX3" fmla="*/ 402223 w 5722211"/>
                <a:gd name="connsiteY3" fmla="*/ 1950550 h 5726077"/>
                <a:gd name="connsiteX4" fmla="*/ 521 w 5722211"/>
                <a:gd name="connsiteY4" fmla="*/ 3795206 h 5726077"/>
                <a:gd name="connsiteX5" fmla="*/ 338796 w 5722211"/>
                <a:gd name="connsiteY5" fmla="*/ 4968598 h 5726077"/>
                <a:gd name="connsiteX6" fmla="*/ 1184484 w 5722211"/>
                <a:gd name="connsiteY6" fmla="*/ 5544723 h 5726077"/>
                <a:gd name="connsiteX7" fmla="*/ 2442445 w 5722211"/>
                <a:gd name="connsiteY7" fmla="*/ 5724432 h 5726077"/>
                <a:gd name="connsiteX8" fmla="*/ 4287102 w 5722211"/>
                <a:gd name="connsiteY8" fmla="*/ 5465440 h 5726077"/>
                <a:gd name="connsiteX9" fmla="*/ 5275499 w 5722211"/>
                <a:gd name="connsiteY9" fmla="*/ 4894601 h 5726077"/>
                <a:gd name="connsiteX10" fmla="*/ 5671915 w 5722211"/>
                <a:gd name="connsiteY10" fmla="*/ 4223336 h 5726077"/>
                <a:gd name="connsiteX11" fmla="*/ 5658913 w 5722211"/>
                <a:gd name="connsiteY11" fmla="*/ 3393505 h 5726077"/>
                <a:gd name="connsiteX12" fmla="*/ 5146617 w 5722211"/>
                <a:gd name="connsiteY12" fmla="*/ 2031039 h 5726077"/>
                <a:gd name="connsiteX13" fmla="*/ 4437951 w 5722211"/>
                <a:gd name="connsiteY13" fmla="*/ 1019468 h 5726077"/>
                <a:gd name="connsiteX14" fmla="*/ 3786602 w 5722211"/>
                <a:gd name="connsiteY14" fmla="*/ 436029 h 5726077"/>
                <a:gd name="connsiteX0" fmla="*/ 3786602 w 5722211"/>
                <a:gd name="connsiteY0" fmla="*/ 436029 h 5726077"/>
                <a:gd name="connsiteX1" fmla="*/ 2542870 w 5722211"/>
                <a:gd name="connsiteY1" fmla="*/ 182 h 5726077"/>
                <a:gd name="connsiteX2" fmla="*/ 1401192 w 5722211"/>
                <a:gd name="connsiteY2" fmla="*/ 481167 h 5726077"/>
                <a:gd name="connsiteX3" fmla="*/ 402223 w 5722211"/>
                <a:gd name="connsiteY3" fmla="*/ 1950550 h 5726077"/>
                <a:gd name="connsiteX4" fmla="*/ 521 w 5722211"/>
                <a:gd name="connsiteY4" fmla="*/ 3795206 h 5726077"/>
                <a:gd name="connsiteX5" fmla="*/ 338796 w 5722211"/>
                <a:gd name="connsiteY5" fmla="*/ 4968598 h 5726077"/>
                <a:gd name="connsiteX6" fmla="*/ 1184484 w 5722211"/>
                <a:gd name="connsiteY6" fmla="*/ 5544723 h 5726077"/>
                <a:gd name="connsiteX7" fmla="*/ 2442445 w 5722211"/>
                <a:gd name="connsiteY7" fmla="*/ 5724432 h 5726077"/>
                <a:gd name="connsiteX8" fmla="*/ 4287102 w 5722211"/>
                <a:gd name="connsiteY8" fmla="*/ 5465440 h 5726077"/>
                <a:gd name="connsiteX9" fmla="*/ 5275499 w 5722211"/>
                <a:gd name="connsiteY9" fmla="*/ 4894601 h 5726077"/>
                <a:gd name="connsiteX10" fmla="*/ 5671915 w 5722211"/>
                <a:gd name="connsiteY10" fmla="*/ 4223336 h 5726077"/>
                <a:gd name="connsiteX11" fmla="*/ 5658913 w 5722211"/>
                <a:gd name="connsiteY11" fmla="*/ 3393505 h 5726077"/>
                <a:gd name="connsiteX12" fmla="*/ 5146617 w 5722211"/>
                <a:gd name="connsiteY12" fmla="*/ 2031039 h 5726077"/>
                <a:gd name="connsiteX13" fmla="*/ 4437951 w 5722211"/>
                <a:gd name="connsiteY13" fmla="*/ 1019468 h 5726077"/>
                <a:gd name="connsiteX14" fmla="*/ 3786602 w 5722211"/>
                <a:gd name="connsiteY14" fmla="*/ 436029 h 5726077"/>
                <a:gd name="connsiteX0" fmla="*/ 3786602 w 5714404"/>
                <a:gd name="connsiteY0" fmla="*/ 436029 h 5726077"/>
                <a:gd name="connsiteX1" fmla="*/ 2542870 w 5714404"/>
                <a:gd name="connsiteY1" fmla="*/ 182 h 5726077"/>
                <a:gd name="connsiteX2" fmla="*/ 1401192 w 5714404"/>
                <a:gd name="connsiteY2" fmla="*/ 481167 h 5726077"/>
                <a:gd name="connsiteX3" fmla="*/ 402223 w 5714404"/>
                <a:gd name="connsiteY3" fmla="*/ 1950550 h 5726077"/>
                <a:gd name="connsiteX4" fmla="*/ 521 w 5714404"/>
                <a:gd name="connsiteY4" fmla="*/ 3795206 h 5726077"/>
                <a:gd name="connsiteX5" fmla="*/ 338796 w 5714404"/>
                <a:gd name="connsiteY5" fmla="*/ 4968598 h 5726077"/>
                <a:gd name="connsiteX6" fmla="*/ 1184484 w 5714404"/>
                <a:gd name="connsiteY6" fmla="*/ 5544723 h 5726077"/>
                <a:gd name="connsiteX7" fmla="*/ 2442445 w 5714404"/>
                <a:gd name="connsiteY7" fmla="*/ 5724432 h 5726077"/>
                <a:gd name="connsiteX8" fmla="*/ 4287102 w 5714404"/>
                <a:gd name="connsiteY8" fmla="*/ 5465440 h 5726077"/>
                <a:gd name="connsiteX9" fmla="*/ 5275499 w 5714404"/>
                <a:gd name="connsiteY9" fmla="*/ 4894601 h 5726077"/>
                <a:gd name="connsiteX10" fmla="*/ 5671915 w 5714404"/>
                <a:gd name="connsiteY10" fmla="*/ 4223336 h 5726077"/>
                <a:gd name="connsiteX11" fmla="*/ 5658913 w 5714404"/>
                <a:gd name="connsiteY11" fmla="*/ 3393505 h 5726077"/>
                <a:gd name="connsiteX12" fmla="*/ 5146617 w 5714404"/>
                <a:gd name="connsiteY12" fmla="*/ 2031039 h 5726077"/>
                <a:gd name="connsiteX13" fmla="*/ 4437951 w 5714404"/>
                <a:gd name="connsiteY13" fmla="*/ 1019468 h 5726077"/>
                <a:gd name="connsiteX14" fmla="*/ 3786602 w 5714404"/>
                <a:gd name="connsiteY14" fmla="*/ 436029 h 5726077"/>
                <a:gd name="connsiteX0" fmla="*/ 3786602 w 5718911"/>
                <a:gd name="connsiteY0" fmla="*/ 436029 h 5726077"/>
                <a:gd name="connsiteX1" fmla="*/ 2542870 w 5718911"/>
                <a:gd name="connsiteY1" fmla="*/ 182 h 5726077"/>
                <a:gd name="connsiteX2" fmla="*/ 1401192 w 5718911"/>
                <a:gd name="connsiteY2" fmla="*/ 481167 h 5726077"/>
                <a:gd name="connsiteX3" fmla="*/ 402223 w 5718911"/>
                <a:gd name="connsiteY3" fmla="*/ 1950550 h 5726077"/>
                <a:gd name="connsiteX4" fmla="*/ 521 w 5718911"/>
                <a:gd name="connsiteY4" fmla="*/ 3795206 h 5726077"/>
                <a:gd name="connsiteX5" fmla="*/ 338796 w 5718911"/>
                <a:gd name="connsiteY5" fmla="*/ 4968598 h 5726077"/>
                <a:gd name="connsiteX6" fmla="*/ 1184484 w 5718911"/>
                <a:gd name="connsiteY6" fmla="*/ 5544723 h 5726077"/>
                <a:gd name="connsiteX7" fmla="*/ 2442445 w 5718911"/>
                <a:gd name="connsiteY7" fmla="*/ 5724432 h 5726077"/>
                <a:gd name="connsiteX8" fmla="*/ 4287102 w 5718911"/>
                <a:gd name="connsiteY8" fmla="*/ 5465440 h 5726077"/>
                <a:gd name="connsiteX9" fmla="*/ 5275499 w 5718911"/>
                <a:gd name="connsiteY9" fmla="*/ 4894601 h 5726077"/>
                <a:gd name="connsiteX10" fmla="*/ 5671915 w 5718911"/>
                <a:gd name="connsiteY10" fmla="*/ 4223336 h 5726077"/>
                <a:gd name="connsiteX11" fmla="*/ 5658913 w 5718911"/>
                <a:gd name="connsiteY11" fmla="*/ 3393505 h 5726077"/>
                <a:gd name="connsiteX12" fmla="*/ 5146617 w 5718911"/>
                <a:gd name="connsiteY12" fmla="*/ 2031039 h 5726077"/>
                <a:gd name="connsiteX13" fmla="*/ 4437951 w 5718911"/>
                <a:gd name="connsiteY13" fmla="*/ 1019468 h 5726077"/>
                <a:gd name="connsiteX14" fmla="*/ 3786602 w 5718911"/>
                <a:gd name="connsiteY14" fmla="*/ 436029 h 5726077"/>
                <a:gd name="connsiteX0" fmla="*/ 3786602 w 5722208"/>
                <a:gd name="connsiteY0" fmla="*/ 436029 h 5726077"/>
                <a:gd name="connsiteX1" fmla="*/ 2542870 w 5722208"/>
                <a:gd name="connsiteY1" fmla="*/ 182 h 5726077"/>
                <a:gd name="connsiteX2" fmla="*/ 1401192 w 5722208"/>
                <a:gd name="connsiteY2" fmla="*/ 481167 h 5726077"/>
                <a:gd name="connsiteX3" fmla="*/ 402223 w 5722208"/>
                <a:gd name="connsiteY3" fmla="*/ 1950550 h 5726077"/>
                <a:gd name="connsiteX4" fmla="*/ 521 w 5722208"/>
                <a:gd name="connsiteY4" fmla="*/ 3795206 h 5726077"/>
                <a:gd name="connsiteX5" fmla="*/ 338796 w 5722208"/>
                <a:gd name="connsiteY5" fmla="*/ 4968598 h 5726077"/>
                <a:gd name="connsiteX6" fmla="*/ 1184484 w 5722208"/>
                <a:gd name="connsiteY6" fmla="*/ 5544723 h 5726077"/>
                <a:gd name="connsiteX7" fmla="*/ 2442445 w 5722208"/>
                <a:gd name="connsiteY7" fmla="*/ 5724432 h 5726077"/>
                <a:gd name="connsiteX8" fmla="*/ 4287102 w 5722208"/>
                <a:gd name="connsiteY8" fmla="*/ 5465440 h 5726077"/>
                <a:gd name="connsiteX9" fmla="*/ 5275499 w 5722208"/>
                <a:gd name="connsiteY9" fmla="*/ 4894601 h 5726077"/>
                <a:gd name="connsiteX10" fmla="*/ 5664600 w 5722208"/>
                <a:gd name="connsiteY10" fmla="*/ 4263569 h 5726077"/>
                <a:gd name="connsiteX11" fmla="*/ 5658913 w 5722208"/>
                <a:gd name="connsiteY11" fmla="*/ 3393505 h 5726077"/>
                <a:gd name="connsiteX12" fmla="*/ 5146617 w 5722208"/>
                <a:gd name="connsiteY12" fmla="*/ 2031039 h 5726077"/>
                <a:gd name="connsiteX13" fmla="*/ 4437951 w 5722208"/>
                <a:gd name="connsiteY13" fmla="*/ 1019468 h 5726077"/>
                <a:gd name="connsiteX14" fmla="*/ 3786602 w 5722208"/>
                <a:gd name="connsiteY14" fmla="*/ 436029 h 5726077"/>
                <a:gd name="connsiteX0" fmla="*/ 3786602 w 5716275"/>
                <a:gd name="connsiteY0" fmla="*/ 436029 h 5726077"/>
                <a:gd name="connsiteX1" fmla="*/ 2542870 w 5716275"/>
                <a:gd name="connsiteY1" fmla="*/ 182 h 5726077"/>
                <a:gd name="connsiteX2" fmla="*/ 1401192 w 5716275"/>
                <a:gd name="connsiteY2" fmla="*/ 481167 h 5726077"/>
                <a:gd name="connsiteX3" fmla="*/ 402223 w 5716275"/>
                <a:gd name="connsiteY3" fmla="*/ 1950550 h 5726077"/>
                <a:gd name="connsiteX4" fmla="*/ 521 w 5716275"/>
                <a:gd name="connsiteY4" fmla="*/ 3795206 h 5726077"/>
                <a:gd name="connsiteX5" fmla="*/ 338796 w 5716275"/>
                <a:gd name="connsiteY5" fmla="*/ 4968598 h 5726077"/>
                <a:gd name="connsiteX6" fmla="*/ 1184484 w 5716275"/>
                <a:gd name="connsiteY6" fmla="*/ 5544723 h 5726077"/>
                <a:gd name="connsiteX7" fmla="*/ 2442445 w 5716275"/>
                <a:gd name="connsiteY7" fmla="*/ 5724432 h 5726077"/>
                <a:gd name="connsiteX8" fmla="*/ 4287102 w 5716275"/>
                <a:gd name="connsiteY8" fmla="*/ 5465440 h 5726077"/>
                <a:gd name="connsiteX9" fmla="*/ 5275499 w 5716275"/>
                <a:gd name="connsiteY9" fmla="*/ 4894601 h 5726077"/>
                <a:gd name="connsiteX10" fmla="*/ 5653627 w 5716275"/>
                <a:gd name="connsiteY10" fmla="*/ 4263569 h 5726077"/>
                <a:gd name="connsiteX11" fmla="*/ 5658913 w 5716275"/>
                <a:gd name="connsiteY11" fmla="*/ 3393505 h 5726077"/>
                <a:gd name="connsiteX12" fmla="*/ 5146617 w 5716275"/>
                <a:gd name="connsiteY12" fmla="*/ 2031039 h 5726077"/>
                <a:gd name="connsiteX13" fmla="*/ 4437951 w 5716275"/>
                <a:gd name="connsiteY13" fmla="*/ 1019468 h 5726077"/>
                <a:gd name="connsiteX14" fmla="*/ 3786602 w 5716275"/>
                <a:gd name="connsiteY14" fmla="*/ 436029 h 5726077"/>
                <a:gd name="connsiteX0" fmla="*/ 3786602 w 5706729"/>
                <a:gd name="connsiteY0" fmla="*/ 436029 h 5726077"/>
                <a:gd name="connsiteX1" fmla="*/ 2542870 w 5706729"/>
                <a:gd name="connsiteY1" fmla="*/ 182 h 5726077"/>
                <a:gd name="connsiteX2" fmla="*/ 1401192 w 5706729"/>
                <a:gd name="connsiteY2" fmla="*/ 481167 h 5726077"/>
                <a:gd name="connsiteX3" fmla="*/ 402223 w 5706729"/>
                <a:gd name="connsiteY3" fmla="*/ 1950550 h 5726077"/>
                <a:gd name="connsiteX4" fmla="*/ 521 w 5706729"/>
                <a:gd name="connsiteY4" fmla="*/ 3795206 h 5726077"/>
                <a:gd name="connsiteX5" fmla="*/ 338796 w 5706729"/>
                <a:gd name="connsiteY5" fmla="*/ 4968598 h 5726077"/>
                <a:gd name="connsiteX6" fmla="*/ 1184484 w 5706729"/>
                <a:gd name="connsiteY6" fmla="*/ 5544723 h 5726077"/>
                <a:gd name="connsiteX7" fmla="*/ 2442445 w 5706729"/>
                <a:gd name="connsiteY7" fmla="*/ 5724432 h 5726077"/>
                <a:gd name="connsiteX8" fmla="*/ 4287102 w 5706729"/>
                <a:gd name="connsiteY8" fmla="*/ 5465440 h 5726077"/>
                <a:gd name="connsiteX9" fmla="*/ 5275499 w 5706729"/>
                <a:gd name="connsiteY9" fmla="*/ 4894601 h 5726077"/>
                <a:gd name="connsiteX10" fmla="*/ 5653627 w 5706729"/>
                <a:gd name="connsiteY10" fmla="*/ 4263569 h 5726077"/>
                <a:gd name="connsiteX11" fmla="*/ 5658913 w 5706729"/>
                <a:gd name="connsiteY11" fmla="*/ 3393505 h 5726077"/>
                <a:gd name="connsiteX12" fmla="*/ 5146617 w 5706729"/>
                <a:gd name="connsiteY12" fmla="*/ 2031039 h 5726077"/>
                <a:gd name="connsiteX13" fmla="*/ 4437951 w 5706729"/>
                <a:gd name="connsiteY13" fmla="*/ 1019468 h 5726077"/>
                <a:gd name="connsiteX14" fmla="*/ 3786602 w 5706729"/>
                <a:gd name="connsiteY14" fmla="*/ 436029 h 5726077"/>
                <a:gd name="connsiteX0" fmla="*/ 3786602 w 5706729"/>
                <a:gd name="connsiteY0" fmla="*/ 436029 h 5740496"/>
                <a:gd name="connsiteX1" fmla="*/ 2542870 w 5706729"/>
                <a:gd name="connsiteY1" fmla="*/ 182 h 5740496"/>
                <a:gd name="connsiteX2" fmla="*/ 1401192 w 5706729"/>
                <a:gd name="connsiteY2" fmla="*/ 481167 h 5740496"/>
                <a:gd name="connsiteX3" fmla="*/ 402223 w 5706729"/>
                <a:gd name="connsiteY3" fmla="*/ 1950550 h 5740496"/>
                <a:gd name="connsiteX4" fmla="*/ 521 w 5706729"/>
                <a:gd name="connsiteY4" fmla="*/ 3795206 h 5740496"/>
                <a:gd name="connsiteX5" fmla="*/ 338796 w 5706729"/>
                <a:gd name="connsiteY5" fmla="*/ 4968598 h 5740496"/>
                <a:gd name="connsiteX6" fmla="*/ 1184484 w 5706729"/>
                <a:gd name="connsiteY6" fmla="*/ 5544723 h 5740496"/>
                <a:gd name="connsiteX7" fmla="*/ 2669217 w 5706729"/>
                <a:gd name="connsiteY7" fmla="*/ 5739062 h 5740496"/>
                <a:gd name="connsiteX8" fmla="*/ 4287102 w 5706729"/>
                <a:gd name="connsiteY8" fmla="*/ 5465440 h 5740496"/>
                <a:gd name="connsiteX9" fmla="*/ 5275499 w 5706729"/>
                <a:gd name="connsiteY9" fmla="*/ 4894601 h 5740496"/>
                <a:gd name="connsiteX10" fmla="*/ 5653627 w 5706729"/>
                <a:gd name="connsiteY10" fmla="*/ 4263569 h 5740496"/>
                <a:gd name="connsiteX11" fmla="*/ 5658913 w 5706729"/>
                <a:gd name="connsiteY11" fmla="*/ 3393505 h 5740496"/>
                <a:gd name="connsiteX12" fmla="*/ 5146617 w 5706729"/>
                <a:gd name="connsiteY12" fmla="*/ 2031039 h 5740496"/>
                <a:gd name="connsiteX13" fmla="*/ 4437951 w 5706729"/>
                <a:gd name="connsiteY13" fmla="*/ 1019468 h 5740496"/>
                <a:gd name="connsiteX14" fmla="*/ 3786602 w 5706729"/>
                <a:gd name="connsiteY14" fmla="*/ 436029 h 5740496"/>
                <a:gd name="connsiteX0" fmla="*/ 3786602 w 5706729"/>
                <a:gd name="connsiteY0" fmla="*/ 436029 h 5758583"/>
                <a:gd name="connsiteX1" fmla="*/ 2542870 w 5706729"/>
                <a:gd name="connsiteY1" fmla="*/ 182 h 5758583"/>
                <a:gd name="connsiteX2" fmla="*/ 1401192 w 5706729"/>
                <a:gd name="connsiteY2" fmla="*/ 481167 h 5758583"/>
                <a:gd name="connsiteX3" fmla="*/ 402223 w 5706729"/>
                <a:gd name="connsiteY3" fmla="*/ 1950550 h 5758583"/>
                <a:gd name="connsiteX4" fmla="*/ 521 w 5706729"/>
                <a:gd name="connsiteY4" fmla="*/ 3795206 h 5758583"/>
                <a:gd name="connsiteX5" fmla="*/ 338796 w 5706729"/>
                <a:gd name="connsiteY5" fmla="*/ 4968598 h 5758583"/>
                <a:gd name="connsiteX6" fmla="*/ 1184484 w 5706729"/>
                <a:gd name="connsiteY6" fmla="*/ 5544723 h 5758583"/>
                <a:gd name="connsiteX7" fmla="*/ 2669217 w 5706729"/>
                <a:gd name="connsiteY7" fmla="*/ 5757350 h 5758583"/>
                <a:gd name="connsiteX8" fmla="*/ 4287102 w 5706729"/>
                <a:gd name="connsiteY8" fmla="*/ 5465440 h 5758583"/>
                <a:gd name="connsiteX9" fmla="*/ 5275499 w 5706729"/>
                <a:gd name="connsiteY9" fmla="*/ 4894601 h 5758583"/>
                <a:gd name="connsiteX10" fmla="*/ 5653627 w 5706729"/>
                <a:gd name="connsiteY10" fmla="*/ 4263569 h 5758583"/>
                <a:gd name="connsiteX11" fmla="*/ 5658913 w 5706729"/>
                <a:gd name="connsiteY11" fmla="*/ 3393505 h 5758583"/>
                <a:gd name="connsiteX12" fmla="*/ 5146617 w 5706729"/>
                <a:gd name="connsiteY12" fmla="*/ 2031039 h 5758583"/>
                <a:gd name="connsiteX13" fmla="*/ 4437951 w 5706729"/>
                <a:gd name="connsiteY13" fmla="*/ 1019468 h 5758583"/>
                <a:gd name="connsiteX14" fmla="*/ 3786602 w 5706729"/>
                <a:gd name="connsiteY14" fmla="*/ 436029 h 5758583"/>
                <a:gd name="connsiteX0" fmla="*/ 3787120 w 5707247"/>
                <a:gd name="connsiteY0" fmla="*/ 436029 h 5758564"/>
                <a:gd name="connsiteX1" fmla="*/ 2543388 w 5707247"/>
                <a:gd name="connsiteY1" fmla="*/ 182 h 5758564"/>
                <a:gd name="connsiteX2" fmla="*/ 1401710 w 5707247"/>
                <a:gd name="connsiteY2" fmla="*/ 481167 h 5758564"/>
                <a:gd name="connsiteX3" fmla="*/ 402741 w 5707247"/>
                <a:gd name="connsiteY3" fmla="*/ 1950550 h 5758564"/>
                <a:gd name="connsiteX4" fmla="*/ 1039 w 5707247"/>
                <a:gd name="connsiteY4" fmla="*/ 3795206 h 5758564"/>
                <a:gd name="connsiteX5" fmla="*/ 317369 w 5707247"/>
                <a:gd name="connsiteY5" fmla="*/ 4979571 h 5758564"/>
                <a:gd name="connsiteX6" fmla="*/ 1185002 w 5707247"/>
                <a:gd name="connsiteY6" fmla="*/ 5544723 h 5758564"/>
                <a:gd name="connsiteX7" fmla="*/ 2669735 w 5707247"/>
                <a:gd name="connsiteY7" fmla="*/ 5757350 h 5758564"/>
                <a:gd name="connsiteX8" fmla="*/ 4287620 w 5707247"/>
                <a:gd name="connsiteY8" fmla="*/ 5465440 h 5758564"/>
                <a:gd name="connsiteX9" fmla="*/ 5276017 w 5707247"/>
                <a:gd name="connsiteY9" fmla="*/ 4894601 h 5758564"/>
                <a:gd name="connsiteX10" fmla="*/ 5654145 w 5707247"/>
                <a:gd name="connsiteY10" fmla="*/ 4263569 h 5758564"/>
                <a:gd name="connsiteX11" fmla="*/ 5659431 w 5707247"/>
                <a:gd name="connsiteY11" fmla="*/ 3393505 h 5758564"/>
                <a:gd name="connsiteX12" fmla="*/ 5147135 w 5707247"/>
                <a:gd name="connsiteY12" fmla="*/ 2031039 h 5758564"/>
                <a:gd name="connsiteX13" fmla="*/ 4438469 w 5707247"/>
                <a:gd name="connsiteY13" fmla="*/ 1019468 h 5758564"/>
                <a:gd name="connsiteX14" fmla="*/ 3787120 w 5707247"/>
                <a:gd name="connsiteY14" fmla="*/ 436029 h 5758564"/>
                <a:gd name="connsiteX0" fmla="*/ 3805311 w 5725438"/>
                <a:gd name="connsiteY0" fmla="*/ 436029 h 5758564"/>
                <a:gd name="connsiteX1" fmla="*/ 2561579 w 5725438"/>
                <a:gd name="connsiteY1" fmla="*/ 182 h 5758564"/>
                <a:gd name="connsiteX2" fmla="*/ 1419901 w 5725438"/>
                <a:gd name="connsiteY2" fmla="*/ 481167 h 5758564"/>
                <a:gd name="connsiteX3" fmla="*/ 420932 w 5725438"/>
                <a:gd name="connsiteY3" fmla="*/ 1950550 h 5758564"/>
                <a:gd name="connsiteX4" fmla="*/ 942 w 5725438"/>
                <a:gd name="connsiteY4" fmla="*/ 3795206 h 5758564"/>
                <a:gd name="connsiteX5" fmla="*/ 335560 w 5725438"/>
                <a:gd name="connsiteY5" fmla="*/ 4979571 h 5758564"/>
                <a:gd name="connsiteX6" fmla="*/ 1203193 w 5725438"/>
                <a:gd name="connsiteY6" fmla="*/ 5544723 h 5758564"/>
                <a:gd name="connsiteX7" fmla="*/ 2687926 w 5725438"/>
                <a:gd name="connsiteY7" fmla="*/ 5757350 h 5758564"/>
                <a:gd name="connsiteX8" fmla="*/ 4305811 w 5725438"/>
                <a:gd name="connsiteY8" fmla="*/ 5465440 h 5758564"/>
                <a:gd name="connsiteX9" fmla="*/ 5294208 w 5725438"/>
                <a:gd name="connsiteY9" fmla="*/ 4894601 h 5758564"/>
                <a:gd name="connsiteX10" fmla="*/ 5672336 w 5725438"/>
                <a:gd name="connsiteY10" fmla="*/ 4263569 h 5758564"/>
                <a:gd name="connsiteX11" fmla="*/ 5677622 w 5725438"/>
                <a:gd name="connsiteY11" fmla="*/ 3393505 h 5758564"/>
                <a:gd name="connsiteX12" fmla="*/ 5165326 w 5725438"/>
                <a:gd name="connsiteY12" fmla="*/ 2031039 h 5758564"/>
                <a:gd name="connsiteX13" fmla="*/ 4456660 w 5725438"/>
                <a:gd name="connsiteY13" fmla="*/ 1019468 h 5758564"/>
                <a:gd name="connsiteX14" fmla="*/ 3805311 w 5725438"/>
                <a:gd name="connsiteY14" fmla="*/ 436029 h 5758564"/>
                <a:gd name="connsiteX0" fmla="*/ 3805311 w 5725438"/>
                <a:gd name="connsiteY0" fmla="*/ 436029 h 5759220"/>
                <a:gd name="connsiteX1" fmla="*/ 2561579 w 5725438"/>
                <a:gd name="connsiteY1" fmla="*/ 182 h 5759220"/>
                <a:gd name="connsiteX2" fmla="*/ 1419901 w 5725438"/>
                <a:gd name="connsiteY2" fmla="*/ 481167 h 5759220"/>
                <a:gd name="connsiteX3" fmla="*/ 420932 w 5725438"/>
                <a:gd name="connsiteY3" fmla="*/ 1950550 h 5759220"/>
                <a:gd name="connsiteX4" fmla="*/ 942 w 5725438"/>
                <a:gd name="connsiteY4" fmla="*/ 3795206 h 5759220"/>
                <a:gd name="connsiteX5" fmla="*/ 335560 w 5725438"/>
                <a:gd name="connsiteY5" fmla="*/ 4979571 h 5759220"/>
                <a:gd name="connsiteX6" fmla="*/ 1203193 w 5725438"/>
                <a:gd name="connsiteY6" fmla="*/ 5559354 h 5759220"/>
                <a:gd name="connsiteX7" fmla="*/ 2687926 w 5725438"/>
                <a:gd name="connsiteY7" fmla="*/ 5757350 h 5759220"/>
                <a:gd name="connsiteX8" fmla="*/ 4305811 w 5725438"/>
                <a:gd name="connsiteY8" fmla="*/ 5465440 h 5759220"/>
                <a:gd name="connsiteX9" fmla="*/ 5294208 w 5725438"/>
                <a:gd name="connsiteY9" fmla="*/ 4894601 h 5759220"/>
                <a:gd name="connsiteX10" fmla="*/ 5672336 w 5725438"/>
                <a:gd name="connsiteY10" fmla="*/ 4263569 h 5759220"/>
                <a:gd name="connsiteX11" fmla="*/ 5677622 w 5725438"/>
                <a:gd name="connsiteY11" fmla="*/ 3393505 h 5759220"/>
                <a:gd name="connsiteX12" fmla="*/ 5165326 w 5725438"/>
                <a:gd name="connsiteY12" fmla="*/ 2031039 h 5759220"/>
                <a:gd name="connsiteX13" fmla="*/ 4456660 w 5725438"/>
                <a:gd name="connsiteY13" fmla="*/ 1019468 h 5759220"/>
                <a:gd name="connsiteX14" fmla="*/ 3805311 w 5725438"/>
                <a:gd name="connsiteY14" fmla="*/ 436029 h 5759220"/>
                <a:gd name="connsiteX0" fmla="*/ 3805311 w 5725438"/>
                <a:gd name="connsiteY0" fmla="*/ 436029 h 5758768"/>
                <a:gd name="connsiteX1" fmla="*/ 2561579 w 5725438"/>
                <a:gd name="connsiteY1" fmla="*/ 182 h 5758768"/>
                <a:gd name="connsiteX2" fmla="*/ 1419901 w 5725438"/>
                <a:gd name="connsiteY2" fmla="*/ 481167 h 5758768"/>
                <a:gd name="connsiteX3" fmla="*/ 420932 w 5725438"/>
                <a:gd name="connsiteY3" fmla="*/ 1950550 h 5758768"/>
                <a:gd name="connsiteX4" fmla="*/ 942 w 5725438"/>
                <a:gd name="connsiteY4" fmla="*/ 3795206 h 5758768"/>
                <a:gd name="connsiteX5" fmla="*/ 335560 w 5725438"/>
                <a:gd name="connsiteY5" fmla="*/ 4979571 h 5758768"/>
                <a:gd name="connsiteX6" fmla="*/ 1203193 w 5725438"/>
                <a:gd name="connsiteY6" fmla="*/ 5559354 h 5758768"/>
                <a:gd name="connsiteX7" fmla="*/ 2687926 w 5725438"/>
                <a:gd name="connsiteY7" fmla="*/ 5757350 h 5758768"/>
                <a:gd name="connsiteX8" fmla="*/ 4305811 w 5725438"/>
                <a:gd name="connsiteY8" fmla="*/ 5465440 h 5758768"/>
                <a:gd name="connsiteX9" fmla="*/ 5294208 w 5725438"/>
                <a:gd name="connsiteY9" fmla="*/ 4894601 h 5758768"/>
                <a:gd name="connsiteX10" fmla="*/ 5672336 w 5725438"/>
                <a:gd name="connsiteY10" fmla="*/ 4263569 h 5758768"/>
                <a:gd name="connsiteX11" fmla="*/ 5677622 w 5725438"/>
                <a:gd name="connsiteY11" fmla="*/ 3393505 h 5758768"/>
                <a:gd name="connsiteX12" fmla="*/ 5165326 w 5725438"/>
                <a:gd name="connsiteY12" fmla="*/ 2031039 h 5758768"/>
                <a:gd name="connsiteX13" fmla="*/ 4456660 w 5725438"/>
                <a:gd name="connsiteY13" fmla="*/ 1019468 h 5758768"/>
                <a:gd name="connsiteX14" fmla="*/ 3805311 w 5725438"/>
                <a:gd name="connsiteY14" fmla="*/ 436029 h 5758768"/>
                <a:gd name="connsiteX0" fmla="*/ 3805311 w 5725438"/>
                <a:gd name="connsiteY0" fmla="*/ 436029 h 5758990"/>
                <a:gd name="connsiteX1" fmla="*/ 2561579 w 5725438"/>
                <a:gd name="connsiteY1" fmla="*/ 182 h 5758990"/>
                <a:gd name="connsiteX2" fmla="*/ 1419901 w 5725438"/>
                <a:gd name="connsiteY2" fmla="*/ 481167 h 5758990"/>
                <a:gd name="connsiteX3" fmla="*/ 420932 w 5725438"/>
                <a:gd name="connsiteY3" fmla="*/ 1950550 h 5758990"/>
                <a:gd name="connsiteX4" fmla="*/ 942 w 5725438"/>
                <a:gd name="connsiteY4" fmla="*/ 3795206 h 5758990"/>
                <a:gd name="connsiteX5" fmla="*/ 335560 w 5725438"/>
                <a:gd name="connsiteY5" fmla="*/ 4979571 h 5758990"/>
                <a:gd name="connsiteX6" fmla="*/ 1203193 w 5725438"/>
                <a:gd name="connsiteY6" fmla="*/ 5559354 h 5758990"/>
                <a:gd name="connsiteX7" fmla="*/ 2687926 w 5725438"/>
                <a:gd name="connsiteY7" fmla="*/ 5757350 h 5758990"/>
                <a:gd name="connsiteX8" fmla="*/ 4305811 w 5725438"/>
                <a:gd name="connsiteY8" fmla="*/ 5465440 h 5758990"/>
                <a:gd name="connsiteX9" fmla="*/ 5294208 w 5725438"/>
                <a:gd name="connsiteY9" fmla="*/ 4894601 h 5758990"/>
                <a:gd name="connsiteX10" fmla="*/ 5672336 w 5725438"/>
                <a:gd name="connsiteY10" fmla="*/ 4263569 h 5758990"/>
                <a:gd name="connsiteX11" fmla="*/ 5677622 w 5725438"/>
                <a:gd name="connsiteY11" fmla="*/ 3393505 h 5758990"/>
                <a:gd name="connsiteX12" fmla="*/ 5165326 w 5725438"/>
                <a:gd name="connsiteY12" fmla="*/ 2031039 h 5758990"/>
                <a:gd name="connsiteX13" fmla="*/ 4456660 w 5725438"/>
                <a:gd name="connsiteY13" fmla="*/ 1019468 h 5758990"/>
                <a:gd name="connsiteX14" fmla="*/ 3805311 w 5725438"/>
                <a:gd name="connsiteY14" fmla="*/ 436029 h 5758990"/>
                <a:gd name="connsiteX0" fmla="*/ 3805377 w 5725504"/>
                <a:gd name="connsiteY0" fmla="*/ 436029 h 5758990"/>
                <a:gd name="connsiteX1" fmla="*/ 2561645 w 5725504"/>
                <a:gd name="connsiteY1" fmla="*/ 182 h 5758990"/>
                <a:gd name="connsiteX2" fmla="*/ 1419967 w 5725504"/>
                <a:gd name="connsiteY2" fmla="*/ 481167 h 5758990"/>
                <a:gd name="connsiteX3" fmla="*/ 420998 w 5725504"/>
                <a:gd name="connsiteY3" fmla="*/ 1950550 h 5758990"/>
                <a:gd name="connsiteX4" fmla="*/ 1008 w 5725504"/>
                <a:gd name="connsiteY4" fmla="*/ 3795206 h 5758990"/>
                <a:gd name="connsiteX5" fmla="*/ 335626 w 5725504"/>
                <a:gd name="connsiteY5" fmla="*/ 4979571 h 5758990"/>
                <a:gd name="connsiteX6" fmla="*/ 1203259 w 5725504"/>
                <a:gd name="connsiteY6" fmla="*/ 5559354 h 5758990"/>
                <a:gd name="connsiteX7" fmla="*/ 2687992 w 5725504"/>
                <a:gd name="connsiteY7" fmla="*/ 5757350 h 5758990"/>
                <a:gd name="connsiteX8" fmla="*/ 4305877 w 5725504"/>
                <a:gd name="connsiteY8" fmla="*/ 5465440 h 5758990"/>
                <a:gd name="connsiteX9" fmla="*/ 5294274 w 5725504"/>
                <a:gd name="connsiteY9" fmla="*/ 4894601 h 5758990"/>
                <a:gd name="connsiteX10" fmla="*/ 5672402 w 5725504"/>
                <a:gd name="connsiteY10" fmla="*/ 4263569 h 5758990"/>
                <a:gd name="connsiteX11" fmla="*/ 5677688 w 5725504"/>
                <a:gd name="connsiteY11" fmla="*/ 3393505 h 5758990"/>
                <a:gd name="connsiteX12" fmla="*/ 5165392 w 5725504"/>
                <a:gd name="connsiteY12" fmla="*/ 2031039 h 5758990"/>
                <a:gd name="connsiteX13" fmla="*/ 4456726 w 5725504"/>
                <a:gd name="connsiteY13" fmla="*/ 1019468 h 5758990"/>
                <a:gd name="connsiteX14" fmla="*/ 3805377 w 5725504"/>
                <a:gd name="connsiteY14" fmla="*/ 436029 h 5758990"/>
                <a:gd name="connsiteX0" fmla="*/ 3805377 w 5725504"/>
                <a:gd name="connsiteY0" fmla="*/ 454501 h 5777462"/>
                <a:gd name="connsiteX1" fmla="*/ 2580154 w 5725504"/>
                <a:gd name="connsiteY1" fmla="*/ 144 h 5777462"/>
                <a:gd name="connsiteX2" fmla="*/ 1419967 w 5725504"/>
                <a:gd name="connsiteY2" fmla="*/ 499639 h 5777462"/>
                <a:gd name="connsiteX3" fmla="*/ 420998 w 5725504"/>
                <a:gd name="connsiteY3" fmla="*/ 1969022 h 5777462"/>
                <a:gd name="connsiteX4" fmla="*/ 1008 w 5725504"/>
                <a:gd name="connsiteY4" fmla="*/ 3813678 h 5777462"/>
                <a:gd name="connsiteX5" fmla="*/ 335626 w 5725504"/>
                <a:gd name="connsiteY5" fmla="*/ 4998043 h 5777462"/>
                <a:gd name="connsiteX6" fmla="*/ 1203259 w 5725504"/>
                <a:gd name="connsiteY6" fmla="*/ 5577826 h 5777462"/>
                <a:gd name="connsiteX7" fmla="*/ 2687992 w 5725504"/>
                <a:gd name="connsiteY7" fmla="*/ 5775822 h 5777462"/>
                <a:gd name="connsiteX8" fmla="*/ 4305877 w 5725504"/>
                <a:gd name="connsiteY8" fmla="*/ 5483912 h 5777462"/>
                <a:gd name="connsiteX9" fmla="*/ 5294274 w 5725504"/>
                <a:gd name="connsiteY9" fmla="*/ 4913073 h 5777462"/>
                <a:gd name="connsiteX10" fmla="*/ 5672402 w 5725504"/>
                <a:gd name="connsiteY10" fmla="*/ 4282041 h 5777462"/>
                <a:gd name="connsiteX11" fmla="*/ 5677688 w 5725504"/>
                <a:gd name="connsiteY11" fmla="*/ 3411977 h 5777462"/>
                <a:gd name="connsiteX12" fmla="*/ 5165392 w 5725504"/>
                <a:gd name="connsiteY12" fmla="*/ 2049511 h 5777462"/>
                <a:gd name="connsiteX13" fmla="*/ 4456726 w 5725504"/>
                <a:gd name="connsiteY13" fmla="*/ 1037940 h 5777462"/>
                <a:gd name="connsiteX14" fmla="*/ 3805377 w 5725504"/>
                <a:gd name="connsiteY14" fmla="*/ 454501 h 5777462"/>
                <a:gd name="connsiteX0" fmla="*/ 3805377 w 5725504"/>
                <a:gd name="connsiteY0" fmla="*/ 454541 h 5777502"/>
                <a:gd name="connsiteX1" fmla="*/ 2580154 w 5725504"/>
                <a:gd name="connsiteY1" fmla="*/ 184 h 5777502"/>
                <a:gd name="connsiteX2" fmla="*/ 1419967 w 5725504"/>
                <a:gd name="connsiteY2" fmla="*/ 499679 h 5777502"/>
                <a:gd name="connsiteX3" fmla="*/ 420998 w 5725504"/>
                <a:gd name="connsiteY3" fmla="*/ 1969062 h 5777502"/>
                <a:gd name="connsiteX4" fmla="*/ 1008 w 5725504"/>
                <a:gd name="connsiteY4" fmla="*/ 3813718 h 5777502"/>
                <a:gd name="connsiteX5" fmla="*/ 335626 w 5725504"/>
                <a:gd name="connsiteY5" fmla="*/ 4998083 h 5777502"/>
                <a:gd name="connsiteX6" fmla="*/ 1203259 w 5725504"/>
                <a:gd name="connsiteY6" fmla="*/ 5577866 h 5777502"/>
                <a:gd name="connsiteX7" fmla="*/ 2687992 w 5725504"/>
                <a:gd name="connsiteY7" fmla="*/ 5775862 h 5777502"/>
                <a:gd name="connsiteX8" fmla="*/ 4305877 w 5725504"/>
                <a:gd name="connsiteY8" fmla="*/ 5483952 h 5777502"/>
                <a:gd name="connsiteX9" fmla="*/ 5294274 w 5725504"/>
                <a:gd name="connsiteY9" fmla="*/ 4913113 h 5777502"/>
                <a:gd name="connsiteX10" fmla="*/ 5672402 w 5725504"/>
                <a:gd name="connsiteY10" fmla="*/ 4282081 h 5777502"/>
                <a:gd name="connsiteX11" fmla="*/ 5677688 w 5725504"/>
                <a:gd name="connsiteY11" fmla="*/ 3412017 h 5777502"/>
                <a:gd name="connsiteX12" fmla="*/ 5165392 w 5725504"/>
                <a:gd name="connsiteY12" fmla="*/ 2049551 h 5777502"/>
                <a:gd name="connsiteX13" fmla="*/ 4456726 w 5725504"/>
                <a:gd name="connsiteY13" fmla="*/ 1037980 h 5777502"/>
                <a:gd name="connsiteX14" fmla="*/ 3805377 w 5725504"/>
                <a:gd name="connsiteY14" fmla="*/ 454541 h 5777502"/>
                <a:gd name="connsiteX0" fmla="*/ 3805377 w 5725504"/>
                <a:gd name="connsiteY0" fmla="*/ 455068 h 5778029"/>
                <a:gd name="connsiteX1" fmla="*/ 2580154 w 5725504"/>
                <a:gd name="connsiteY1" fmla="*/ 711 h 5778029"/>
                <a:gd name="connsiteX2" fmla="*/ 1355185 w 5725504"/>
                <a:gd name="connsiteY2" fmla="*/ 546479 h 5778029"/>
                <a:gd name="connsiteX3" fmla="*/ 420998 w 5725504"/>
                <a:gd name="connsiteY3" fmla="*/ 1969589 h 5778029"/>
                <a:gd name="connsiteX4" fmla="*/ 1008 w 5725504"/>
                <a:gd name="connsiteY4" fmla="*/ 3814245 h 5778029"/>
                <a:gd name="connsiteX5" fmla="*/ 335626 w 5725504"/>
                <a:gd name="connsiteY5" fmla="*/ 4998610 h 5778029"/>
                <a:gd name="connsiteX6" fmla="*/ 1203259 w 5725504"/>
                <a:gd name="connsiteY6" fmla="*/ 5578393 h 5778029"/>
                <a:gd name="connsiteX7" fmla="*/ 2687992 w 5725504"/>
                <a:gd name="connsiteY7" fmla="*/ 5776389 h 5778029"/>
                <a:gd name="connsiteX8" fmla="*/ 4305877 w 5725504"/>
                <a:gd name="connsiteY8" fmla="*/ 5484479 h 5778029"/>
                <a:gd name="connsiteX9" fmla="*/ 5294274 w 5725504"/>
                <a:gd name="connsiteY9" fmla="*/ 4913640 h 5778029"/>
                <a:gd name="connsiteX10" fmla="*/ 5672402 w 5725504"/>
                <a:gd name="connsiteY10" fmla="*/ 4282608 h 5778029"/>
                <a:gd name="connsiteX11" fmla="*/ 5677688 w 5725504"/>
                <a:gd name="connsiteY11" fmla="*/ 3412544 h 5778029"/>
                <a:gd name="connsiteX12" fmla="*/ 5165392 w 5725504"/>
                <a:gd name="connsiteY12" fmla="*/ 2050078 h 5778029"/>
                <a:gd name="connsiteX13" fmla="*/ 4456726 w 5725504"/>
                <a:gd name="connsiteY13" fmla="*/ 1038507 h 5778029"/>
                <a:gd name="connsiteX14" fmla="*/ 3805377 w 5725504"/>
                <a:gd name="connsiteY14" fmla="*/ 455068 h 5778029"/>
                <a:gd name="connsiteX0" fmla="*/ 3805377 w 5725504"/>
                <a:gd name="connsiteY0" fmla="*/ 455068 h 5778029"/>
                <a:gd name="connsiteX1" fmla="*/ 2580154 w 5725504"/>
                <a:gd name="connsiteY1" fmla="*/ 711 h 5778029"/>
                <a:gd name="connsiteX2" fmla="*/ 1355185 w 5725504"/>
                <a:gd name="connsiteY2" fmla="*/ 546479 h 5778029"/>
                <a:gd name="connsiteX3" fmla="*/ 420998 w 5725504"/>
                <a:gd name="connsiteY3" fmla="*/ 1969589 h 5778029"/>
                <a:gd name="connsiteX4" fmla="*/ 1008 w 5725504"/>
                <a:gd name="connsiteY4" fmla="*/ 3814245 h 5778029"/>
                <a:gd name="connsiteX5" fmla="*/ 335626 w 5725504"/>
                <a:gd name="connsiteY5" fmla="*/ 4998610 h 5778029"/>
                <a:gd name="connsiteX6" fmla="*/ 1203259 w 5725504"/>
                <a:gd name="connsiteY6" fmla="*/ 5578393 h 5778029"/>
                <a:gd name="connsiteX7" fmla="*/ 2687992 w 5725504"/>
                <a:gd name="connsiteY7" fmla="*/ 5776389 h 5778029"/>
                <a:gd name="connsiteX8" fmla="*/ 4305877 w 5725504"/>
                <a:gd name="connsiteY8" fmla="*/ 5484479 h 5778029"/>
                <a:gd name="connsiteX9" fmla="*/ 5294274 w 5725504"/>
                <a:gd name="connsiteY9" fmla="*/ 4913640 h 5778029"/>
                <a:gd name="connsiteX10" fmla="*/ 5672402 w 5725504"/>
                <a:gd name="connsiteY10" fmla="*/ 4282608 h 5778029"/>
                <a:gd name="connsiteX11" fmla="*/ 5677688 w 5725504"/>
                <a:gd name="connsiteY11" fmla="*/ 3412544 h 5778029"/>
                <a:gd name="connsiteX12" fmla="*/ 5165392 w 5725504"/>
                <a:gd name="connsiteY12" fmla="*/ 2050078 h 5778029"/>
                <a:gd name="connsiteX13" fmla="*/ 4456726 w 5725504"/>
                <a:gd name="connsiteY13" fmla="*/ 1038507 h 5778029"/>
                <a:gd name="connsiteX14" fmla="*/ 3805377 w 5725504"/>
                <a:gd name="connsiteY14" fmla="*/ 455068 h 5778029"/>
                <a:gd name="connsiteX0" fmla="*/ 3804857 w 5724984"/>
                <a:gd name="connsiteY0" fmla="*/ 455068 h 5778029"/>
                <a:gd name="connsiteX1" fmla="*/ 2579634 w 5724984"/>
                <a:gd name="connsiteY1" fmla="*/ 711 h 5778029"/>
                <a:gd name="connsiteX2" fmla="*/ 1354665 w 5724984"/>
                <a:gd name="connsiteY2" fmla="*/ 546479 h 5778029"/>
                <a:gd name="connsiteX3" fmla="*/ 392714 w 5724984"/>
                <a:gd name="connsiteY3" fmla="*/ 2015862 h 5778029"/>
                <a:gd name="connsiteX4" fmla="*/ 488 w 5724984"/>
                <a:gd name="connsiteY4" fmla="*/ 3814245 h 5778029"/>
                <a:gd name="connsiteX5" fmla="*/ 335106 w 5724984"/>
                <a:gd name="connsiteY5" fmla="*/ 4998610 h 5778029"/>
                <a:gd name="connsiteX6" fmla="*/ 1202739 w 5724984"/>
                <a:gd name="connsiteY6" fmla="*/ 5578393 h 5778029"/>
                <a:gd name="connsiteX7" fmla="*/ 2687472 w 5724984"/>
                <a:gd name="connsiteY7" fmla="*/ 5776389 h 5778029"/>
                <a:gd name="connsiteX8" fmla="*/ 4305357 w 5724984"/>
                <a:gd name="connsiteY8" fmla="*/ 5484479 h 5778029"/>
                <a:gd name="connsiteX9" fmla="*/ 5293754 w 5724984"/>
                <a:gd name="connsiteY9" fmla="*/ 4913640 h 5778029"/>
                <a:gd name="connsiteX10" fmla="*/ 5671882 w 5724984"/>
                <a:gd name="connsiteY10" fmla="*/ 4282608 h 5778029"/>
                <a:gd name="connsiteX11" fmla="*/ 5677168 w 5724984"/>
                <a:gd name="connsiteY11" fmla="*/ 3412544 h 5778029"/>
                <a:gd name="connsiteX12" fmla="*/ 5164872 w 5724984"/>
                <a:gd name="connsiteY12" fmla="*/ 2050078 h 5778029"/>
                <a:gd name="connsiteX13" fmla="*/ 4456206 w 5724984"/>
                <a:gd name="connsiteY13" fmla="*/ 1038507 h 5778029"/>
                <a:gd name="connsiteX14" fmla="*/ 3804857 w 5724984"/>
                <a:gd name="connsiteY14" fmla="*/ 455068 h 5778029"/>
                <a:gd name="connsiteX0" fmla="*/ 3804857 w 5724984"/>
                <a:gd name="connsiteY0" fmla="*/ 455068 h 5776712"/>
                <a:gd name="connsiteX1" fmla="*/ 2579634 w 5724984"/>
                <a:gd name="connsiteY1" fmla="*/ 711 h 5776712"/>
                <a:gd name="connsiteX2" fmla="*/ 1354665 w 5724984"/>
                <a:gd name="connsiteY2" fmla="*/ 546479 h 5776712"/>
                <a:gd name="connsiteX3" fmla="*/ 392714 w 5724984"/>
                <a:gd name="connsiteY3" fmla="*/ 2015862 h 5776712"/>
                <a:gd name="connsiteX4" fmla="*/ 488 w 5724984"/>
                <a:gd name="connsiteY4" fmla="*/ 3814245 h 5776712"/>
                <a:gd name="connsiteX5" fmla="*/ 335106 w 5724984"/>
                <a:gd name="connsiteY5" fmla="*/ 4998610 h 5776712"/>
                <a:gd name="connsiteX6" fmla="*/ 1202739 w 5724984"/>
                <a:gd name="connsiteY6" fmla="*/ 5578393 h 5776712"/>
                <a:gd name="connsiteX7" fmla="*/ 2687472 w 5724984"/>
                <a:gd name="connsiteY7" fmla="*/ 5776389 h 5776712"/>
                <a:gd name="connsiteX8" fmla="*/ 4305357 w 5724984"/>
                <a:gd name="connsiteY8" fmla="*/ 5484479 h 5776712"/>
                <a:gd name="connsiteX9" fmla="*/ 5293754 w 5724984"/>
                <a:gd name="connsiteY9" fmla="*/ 4913640 h 5776712"/>
                <a:gd name="connsiteX10" fmla="*/ 5671882 w 5724984"/>
                <a:gd name="connsiteY10" fmla="*/ 4282608 h 5776712"/>
                <a:gd name="connsiteX11" fmla="*/ 5677168 w 5724984"/>
                <a:gd name="connsiteY11" fmla="*/ 3412544 h 5776712"/>
                <a:gd name="connsiteX12" fmla="*/ 5164872 w 5724984"/>
                <a:gd name="connsiteY12" fmla="*/ 2050078 h 5776712"/>
                <a:gd name="connsiteX13" fmla="*/ 4456206 w 5724984"/>
                <a:gd name="connsiteY13" fmla="*/ 1038507 h 5776712"/>
                <a:gd name="connsiteX14" fmla="*/ 3804857 w 5724984"/>
                <a:gd name="connsiteY14" fmla="*/ 455068 h 5776712"/>
                <a:gd name="connsiteX0" fmla="*/ 3804857 w 5733896"/>
                <a:gd name="connsiteY0" fmla="*/ 455068 h 5776712"/>
                <a:gd name="connsiteX1" fmla="*/ 2579634 w 5733896"/>
                <a:gd name="connsiteY1" fmla="*/ 711 h 5776712"/>
                <a:gd name="connsiteX2" fmla="*/ 1354665 w 5733896"/>
                <a:gd name="connsiteY2" fmla="*/ 546479 h 5776712"/>
                <a:gd name="connsiteX3" fmla="*/ 392714 w 5733896"/>
                <a:gd name="connsiteY3" fmla="*/ 2015862 h 5776712"/>
                <a:gd name="connsiteX4" fmla="*/ 488 w 5733896"/>
                <a:gd name="connsiteY4" fmla="*/ 3814245 h 5776712"/>
                <a:gd name="connsiteX5" fmla="*/ 335106 w 5733896"/>
                <a:gd name="connsiteY5" fmla="*/ 4998610 h 5776712"/>
                <a:gd name="connsiteX6" fmla="*/ 1202739 w 5733896"/>
                <a:gd name="connsiteY6" fmla="*/ 5578393 h 5776712"/>
                <a:gd name="connsiteX7" fmla="*/ 2687472 w 5733896"/>
                <a:gd name="connsiteY7" fmla="*/ 5776389 h 5776712"/>
                <a:gd name="connsiteX8" fmla="*/ 4305357 w 5733896"/>
                <a:gd name="connsiteY8" fmla="*/ 5484479 h 5776712"/>
                <a:gd name="connsiteX9" fmla="*/ 5293754 w 5733896"/>
                <a:gd name="connsiteY9" fmla="*/ 4913640 h 5776712"/>
                <a:gd name="connsiteX10" fmla="*/ 5690391 w 5733896"/>
                <a:gd name="connsiteY10" fmla="*/ 4301117 h 5776712"/>
                <a:gd name="connsiteX11" fmla="*/ 5677168 w 5733896"/>
                <a:gd name="connsiteY11" fmla="*/ 3412544 h 5776712"/>
                <a:gd name="connsiteX12" fmla="*/ 5164872 w 5733896"/>
                <a:gd name="connsiteY12" fmla="*/ 2050078 h 5776712"/>
                <a:gd name="connsiteX13" fmla="*/ 4456206 w 5733896"/>
                <a:gd name="connsiteY13" fmla="*/ 1038507 h 5776712"/>
                <a:gd name="connsiteX14" fmla="*/ 3804857 w 5733896"/>
                <a:gd name="connsiteY14" fmla="*/ 455068 h 5776712"/>
                <a:gd name="connsiteX0" fmla="*/ 3804857 w 5729250"/>
                <a:gd name="connsiteY0" fmla="*/ 455068 h 5776712"/>
                <a:gd name="connsiteX1" fmla="*/ 2579634 w 5729250"/>
                <a:gd name="connsiteY1" fmla="*/ 711 h 5776712"/>
                <a:gd name="connsiteX2" fmla="*/ 1354665 w 5729250"/>
                <a:gd name="connsiteY2" fmla="*/ 546479 h 5776712"/>
                <a:gd name="connsiteX3" fmla="*/ 392714 w 5729250"/>
                <a:gd name="connsiteY3" fmla="*/ 2015862 h 5776712"/>
                <a:gd name="connsiteX4" fmla="*/ 488 w 5729250"/>
                <a:gd name="connsiteY4" fmla="*/ 3814245 h 5776712"/>
                <a:gd name="connsiteX5" fmla="*/ 335106 w 5729250"/>
                <a:gd name="connsiteY5" fmla="*/ 4998610 h 5776712"/>
                <a:gd name="connsiteX6" fmla="*/ 1202739 w 5729250"/>
                <a:gd name="connsiteY6" fmla="*/ 5578393 h 5776712"/>
                <a:gd name="connsiteX7" fmla="*/ 2687472 w 5729250"/>
                <a:gd name="connsiteY7" fmla="*/ 5776389 h 5776712"/>
                <a:gd name="connsiteX8" fmla="*/ 4305357 w 5729250"/>
                <a:gd name="connsiteY8" fmla="*/ 5484479 h 5776712"/>
                <a:gd name="connsiteX9" fmla="*/ 5293754 w 5729250"/>
                <a:gd name="connsiteY9" fmla="*/ 4913640 h 5776712"/>
                <a:gd name="connsiteX10" fmla="*/ 5681136 w 5729250"/>
                <a:gd name="connsiteY10" fmla="*/ 4301117 h 5776712"/>
                <a:gd name="connsiteX11" fmla="*/ 5677168 w 5729250"/>
                <a:gd name="connsiteY11" fmla="*/ 3412544 h 5776712"/>
                <a:gd name="connsiteX12" fmla="*/ 5164872 w 5729250"/>
                <a:gd name="connsiteY12" fmla="*/ 2050078 h 5776712"/>
                <a:gd name="connsiteX13" fmla="*/ 4456206 w 5729250"/>
                <a:gd name="connsiteY13" fmla="*/ 1038507 h 5776712"/>
                <a:gd name="connsiteX14" fmla="*/ 3804857 w 5729250"/>
                <a:gd name="connsiteY14" fmla="*/ 455068 h 5776712"/>
                <a:gd name="connsiteX0" fmla="*/ 3804857 w 5733101"/>
                <a:gd name="connsiteY0" fmla="*/ 455068 h 5776712"/>
                <a:gd name="connsiteX1" fmla="*/ 2579634 w 5733101"/>
                <a:gd name="connsiteY1" fmla="*/ 711 h 5776712"/>
                <a:gd name="connsiteX2" fmla="*/ 1354665 w 5733101"/>
                <a:gd name="connsiteY2" fmla="*/ 546479 h 5776712"/>
                <a:gd name="connsiteX3" fmla="*/ 392714 w 5733101"/>
                <a:gd name="connsiteY3" fmla="*/ 2015862 h 5776712"/>
                <a:gd name="connsiteX4" fmla="*/ 488 w 5733101"/>
                <a:gd name="connsiteY4" fmla="*/ 3814245 h 5776712"/>
                <a:gd name="connsiteX5" fmla="*/ 335106 w 5733101"/>
                <a:gd name="connsiteY5" fmla="*/ 4998610 h 5776712"/>
                <a:gd name="connsiteX6" fmla="*/ 1202739 w 5733101"/>
                <a:gd name="connsiteY6" fmla="*/ 5578393 h 5776712"/>
                <a:gd name="connsiteX7" fmla="*/ 2687472 w 5733101"/>
                <a:gd name="connsiteY7" fmla="*/ 5776389 h 5776712"/>
                <a:gd name="connsiteX8" fmla="*/ 4305357 w 5733101"/>
                <a:gd name="connsiteY8" fmla="*/ 5484479 h 5776712"/>
                <a:gd name="connsiteX9" fmla="*/ 5293754 w 5733101"/>
                <a:gd name="connsiteY9" fmla="*/ 4913640 h 5776712"/>
                <a:gd name="connsiteX10" fmla="*/ 5681136 w 5733101"/>
                <a:gd name="connsiteY10" fmla="*/ 4301117 h 5776712"/>
                <a:gd name="connsiteX11" fmla="*/ 5677168 w 5733101"/>
                <a:gd name="connsiteY11" fmla="*/ 3412544 h 5776712"/>
                <a:gd name="connsiteX12" fmla="*/ 5164872 w 5733101"/>
                <a:gd name="connsiteY12" fmla="*/ 2050078 h 5776712"/>
                <a:gd name="connsiteX13" fmla="*/ 4456206 w 5733101"/>
                <a:gd name="connsiteY13" fmla="*/ 1038507 h 5776712"/>
                <a:gd name="connsiteX14" fmla="*/ 3804857 w 5733101"/>
                <a:gd name="connsiteY14" fmla="*/ 455068 h 5776712"/>
                <a:gd name="connsiteX0" fmla="*/ 3804857 w 5723695"/>
                <a:gd name="connsiteY0" fmla="*/ 455068 h 5776712"/>
                <a:gd name="connsiteX1" fmla="*/ 2579634 w 5723695"/>
                <a:gd name="connsiteY1" fmla="*/ 711 h 5776712"/>
                <a:gd name="connsiteX2" fmla="*/ 1354665 w 5723695"/>
                <a:gd name="connsiteY2" fmla="*/ 546479 h 5776712"/>
                <a:gd name="connsiteX3" fmla="*/ 392714 w 5723695"/>
                <a:gd name="connsiteY3" fmla="*/ 2015862 h 5776712"/>
                <a:gd name="connsiteX4" fmla="*/ 488 w 5723695"/>
                <a:gd name="connsiteY4" fmla="*/ 3814245 h 5776712"/>
                <a:gd name="connsiteX5" fmla="*/ 335106 w 5723695"/>
                <a:gd name="connsiteY5" fmla="*/ 4998610 h 5776712"/>
                <a:gd name="connsiteX6" fmla="*/ 1202739 w 5723695"/>
                <a:gd name="connsiteY6" fmla="*/ 5578393 h 5776712"/>
                <a:gd name="connsiteX7" fmla="*/ 2687472 w 5723695"/>
                <a:gd name="connsiteY7" fmla="*/ 5776389 h 5776712"/>
                <a:gd name="connsiteX8" fmla="*/ 4305357 w 5723695"/>
                <a:gd name="connsiteY8" fmla="*/ 5484479 h 5776712"/>
                <a:gd name="connsiteX9" fmla="*/ 5293754 w 5723695"/>
                <a:gd name="connsiteY9" fmla="*/ 4913640 h 5776712"/>
                <a:gd name="connsiteX10" fmla="*/ 5681136 w 5723695"/>
                <a:gd name="connsiteY10" fmla="*/ 4301117 h 5776712"/>
                <a:gd name="connsiteX11" fmla="*/ 5649404 w 5723695"/>
                <a:gd name="connsiteY11" fmla="*/ 3282980 h 5776712"/>
                <a:gd name="connsiteX12" fmla="*/ 5164872 w 5723695"/>
                <a:gd name="connsiteY12" fmla="*/ 2050078 h 5776712"/>
                <a:gd name="connsiteX13" fmla="*/ 4456206 w 5723695"/>
                <a:gd name="connsiteY13" fmla="*/ 1038507 h 5776712"/>
                <a:gd name="connsiteX14" fmla="*/ 3804857 w 5723695"/>
                <a:gd name="connsiteY14" fmla="*/ 455068 h 5776712"/>
                <a:gd name="connsiteX0" fmla="*/ 3804857 w 5720637"/>
                <a:gd name="connsiteY0" fmla="*/ 455068 h 5776712"/>
                <a:gd name="connsiteX1" fmla="*/ 2579634 w 5720637"/>
                <a:gd name="connsiteY1" fmla="*/ 711 h 5776712"/>
                <a:gd name="connsiteX2" fmla="*/ 1354665 w 5720637"/>
                <a:gd name="connsiteY2" fmla="*/ 546479 h 5776712"/>
                <a:gd name="connsiteX3" fmla="*/ 392714 w 5720637"/>
                <a:gd name="connsiteY3" fmla="*/ 2015862 h 5776712"/>
                <a:gd name="connsiteX4" fmla="*/ 488 w 5720637"/>
                <a:gd name="connsiteY4" fmla="*/ 3814245 h 5776712"/>
                <a:gd name="connsiteX5" fmla="*/ 335106 w 5720637"/>
                <a:gd name="connsiteY5" fmla="*/ 4998610 h 5776712"/>
                <a:gd name="connsiteX6" fmla="*/ 1202739 w 5720637"/>
                <a:gd name="connsiteY6" fmla="*/ 5578393 h 5776712"/>
                <a:gd name="connsiteX7" fmla="*/ 2687472 w 5720637"/>
                <a:gd name="connsiteY7" fmla="*/ 5776389 h 5776712"/>
                <a:gd name="connsiteX8" fmla="*/ 4305357 w 5720637"/>
                <a:gd name="connsiteY8" fmla="*/ 5484479 h 5776712"/>
                <a:gd name="connsiteX9" fmla="*/ 5293754 w 5720637"/>
                <a:gd name="connsiteY9" fmla="*/ 4913640 h 5776712"/>
                <a:gd name="connsiteX10" fmla="*/ 5681136 w 5720637"/>
                <a:gd name="connsiteY10" fmla="*/ 4301117 h 5776712"/>
                <a:gd name="connsiteX11" fmla="*/ 5649404 w 5720637"/>
                <a:gd name="connsiteY11" fmla="*/ 3282980 h 5776712"/>
                <a:gd name="connsiteX12" fmla="*/ 5164872 w 5720637"/>
                <a:gd name="connsiteY12" fmla="*/ 2050078 h 5776712"/>
                <a:gd name="connsiteX13" fmla="*/ 4456206 w 5720637"/>
                <a:gd name="connsiteY13" fmla="*/ 1038507 h 5776712"/>
                <a:gd name="connsiteX14" fmla="*/ 3804857 w 5720637"/>
                <a:gd name="connsiteY14" fmla="*/ 455068 h 5776712"/>
                <a:gd name="connsiteX0" fmla="*/ 3786348 w 5720637"/>
                <a:gd name="connsiteY0" fmla="*/ 436933 h 5777086"/>
                <a:gd name="connsiteX1" fmla="*/ 2579634 w 5720637"/>
                <a:gd name="connsiteY1" fmla="*/ 1085 h 5777086"/>
                <a:gd name="connsiteX2" fmla="*/ 1354665 w 5720637"/>
                <a:gd name="connsiteY2" fmla="*/ 546853 h 5777086"/>
                <a:gd name="connsiteX3" fmla="*/ 392714 w 5720637"/>
                <a:gd name="connsiteY3" fmla="*/ 2016236 h 5777086"/>
                <a:gd name="connsiteX4" fmla="*/ 488 w 5720637"/>
                <a:gd name="connsiteY4" fmla="*/ 3814619 h 5777086"/>
                <a:gd name="connsiteX5" fmla="*/ 335106 w 5720637"/>
                <a:gd name="connsiteY5" fmla="*/ 4998984 h 5777086"/>
                <a:gd name="connsiteX6" fmla="*/ 1202739 w 5720637"/>
                <a:gd name="connsiteY6" fmla="*/ 5578767 h 5777086"/>
                <a:gd name="connsiteX7" fmla="*/ 2687472 w 5720637"/>
                <a:gd name="connsiteY7" fmla="*/ 5776763 h 5777086"/>
                <a:gd name="connsiteX8" fmla="*/ 4305357 w 5720637"/>
                <a:gd name="connsiteY8" fmla="*/ 5484853 h 5777086"/>
                <a:gd name="connsiteX9" fmla="*/ 5293754 w 5720637"/>
                <a:gd name="connsiteY9" fmla="*/ 4914014 h 5777086"/>
                <a:gd name="connsiteX10" fmla="*/ 5681136 w 5720637"/>
                <a:gd name="connsiteY10" fmla="*/ 4301491 h 5777086"/>
                <a:gd name="connsiteX11" fmla="*/ 5649404 w 5720637"/>
                <a:gd name="connsiteY11" fmla="*/ 3283354 h 5777086"/>
                <a:gd name="connsiteX12" fmla="*/ 5164872 w 5720637"/>
                <a:gd name="connsiteY12" fmla="*/ 2050452 h 5777086"/>
                <a:gd name="connsiteX13" fmla="*/ 4456206 w 5720637"/>
                <a:gd name="connsiteY13" fmla="*/ 1038881 h 5777086"/>
                <a:gd name="connsiteX14" fmla="*/ 3786348 w 5720637"/>
                <a:gd name="connsiteY14" fmla="*/ 436933 h 5777086"/>
                <a:gd name="connsiteX0" fmla="*/ 3786348 w 5720637"/>
                <a:gd name="connsiteY0" fmla="*/ 436933 h 5777086"/>
                <a:gd name="connsiteX1" fmla="*/ 2579634 w 5720637"/>
                <a:gd name="connsiteY1" fmla="*/ 1085 h 5777086"/>
                <a:gd name="connsiteX2" fmla="*/ 1354665 w 5720637"/>
                <a:gd name="connsiteY2" fmla="*/ 546853 h 5777086"/>
                <a:gd name="connsiteX3" fmla="*/ 392714 w 5720637"/>
                <a:gd name="connsiteY3" fmla="*/ 2016236 h 5777086"/>
                <a:gd name="connsiteX4" fmla="*/ 488 w 5720637"/>
                <a:gd name="connsiteY4" fmla="*/ 3814619 h 5777086"/>
                <a:gd name="connsiteX5" fmla="*/ 335106 w 5720637"/>
                <a:gd name="connsiteY5" fmla="*/ 4998984 h 5777086"/>
                <a:gd name="connsiteX6" fmla="*/ 1202739 w 5720637"/>
                <a:gd name="connsiteY6" fmla="*/ 5578767 h 5777086"/>
                <a:gd name="connsiteX7" fmla="*/ 2687472 w 5720637"/>
                <a:gd name="connsiteY7" fmla="*/ 5776763 h 5777086"/>
                <a:gd name="connsiteX8" fmla="*/ 4305357 w 5720637"/>
                <a:gd name="connsiteY8" fmla="*/ 5484853 h 5777086"/>
                <a:gd name="connsiteX9" fmla="*/ 5293754 w 5720637"/>
                <a:gd name="connsiteY9" fmla="*/ 4914014 h 5777086"/>
                <a:gd name="connsiteX10" fmla="*/ 5681136 w 5720637"/>
                <a:gd name="connsiteY10" fmla="*/ 4301491 h 5777086"/>
                <a:gd name="connsiteX11" fmla="*/ 5649404 w 5720637"/>
                <a:gd name="connsiteY11" fmla="*/ 3283354 h 5777086"/>
                <a:gd name="connsiteX12" fmla="*/ 5164872 w 5720637"/>
                <a:gd name="connsiteY12" fmla="*/ 2050452 h 5777086"/>
                <a:gd name="connsiteX13" fmla="*/ 4456206 w 5720637"/>
                <a:gd name="connsiteY13" fmla="*/ 1038881 h 5777086"/>
                <a:gd name="connsiteX14" fmla="*/ 3786348 w 5720637"/>
                <a:gd name="connsiteY14" fmla="*/ 436933 h 5777086"/>
                <a:gd name="connsiteX0" fmla="*/ 3786348 w 5726811"/>
                <a:gd name="connsiteY0" fmla="*/ 436933 h 5777086"/>
                <a:gd name="connsiteX1" fmla="*/ 2579634 w 5726811"/>
                <a:gd name="connsiteY1" fmla="*/ 1085 h 5777086"/>
                <a:gd name="connsiteX2" fmla="*/ 1354665 w 5726811"/>
                <a:gd name="connsiteY2" fmla="*/ 546853 h 5777086"/>
                <a:gd name="connsiteX3" fmla="*/ 392714 w 5726811"/>
                <a:gd name="connsiteY3" fmla="*/ 2016236 h 5777086"/>
                <a:gd name="connsiteX4" fmla="*/ 488 w 5726811"/>
                <a:gd name="connsiteY4" fmla="*/ 3814619 h 5777086"/>
                <a:gd name="connsiteX5" fmla="*/ 335106 w 5726811"/>
                <a:gd name="connsiteY5" fmla="*/ 4998984 h 5777086"/>
                <a:gd name="connsiteX6" fmla="*/ 1202739 w 5726811"/>
                <a:gd name="connsiteY6" fmla="*/ 5578767 h 5777086"/>
                <a:gd name="connsiteX7" fmla="*/ 2687472 w 5726811"/>
                <a:gd name="connsiteY7" fmla="*/ 5776763 h 5777086"/>
                <a:gd name="connsiteX8" fmla="*/ 4305357 w 5726811"/>
                <a:gd name="connsiteY8" fmla="*/ 5484853 h 5777086"/>
                <a:gd name="connsiteX9" fmla="*/ 5293754 w 5726811"/>
                <a:gd name="connsiteY9" fmla="*/ 4914014 h 5777086"/>
                <a:gd name="connsiteX10" fmla="*/ 5690392 w 5726811"/>
                <a:gd name="connsiteY10" fmla="*/ 4255218 h 5777086"/>
                <a:gd name="connsiteX11" fmla="*/ 5649404 w 5726811"/>
                <a:gd name="connsiteY11" fmla="*/ 3283354 h 5777086"/>
                <a:gd name="connsiteX12" fmla="*/ 5164872 w 5726811"/>
                <a:gd name="connsiteY12" fmla="*/ 2050452 h 5777086"/>
                <a:gd name="connsiteX13" fmla="*/ 4456206 w 5726811"/>
                <a:gd name="connsiteY13" fmla="*/ 1038881 h 5777086"/>
                <a:gd name="connsiteX14" fmla="*/ 3786348 w 5726811"/>
                <a:gd name="connsiteY14" fmla="*/ 436933 h 5777086"/>
                <a:gd name="connsiteX0" fmla="*/ 3786348 w 5726811"/>
                <a:gd name="connsiteY0" fmla="*/ 436933 h 5777086"/>
                <a:gd name="connsiteX1" fmla="*/ 2579634 w 5726811"/>
                <a:gd name="connsiteY1" fmla="*/ 1085 h 5777086"/>
                <a:gd name="connsiteX2" fmla="*/ 1354665 w 5726811"/>
                <a:gd name="connsiteY2" fmla="*/ 546853 h 5777086"/>
                <a:gd name="connsiteX3" fmla="*/ 392714 w 5726811"/>
                <a:gd name="connsiteY3" fmla="*/ 2016236 h 5777086"/>
                <a:gd name="connsiteX4" fmla="*/ 488 w 5726811"/>
                <a:gd name="connsiteY4" fmla="*/ 3814619 h 5777086"/>
                <a:gd name="connsiteX5" fmla="*/ 335106 w 5726811"/>
                <a:gd name="connsiteY5" fmla="*/ 4998984 h 5777086"/>
                <a:gd name="connsiteX6" fmla="*/ 1202739 w 5726811"/>
                <a:gd name="connsiteY6" fmla="*/ 5578767 h 5777086"/>
                <a:gd name="connsiteX7" fmla="*/ 2687472 w 5726811"/>
                <a:gd name="connsiteY7" fmla="*/ 5776763 h 5777086"/>
                <a:gd name="connsiteX8" fmla="*/ 4305357 w 5726811"/>
                <a:gd name="connsiteY8" fmla="*/ 5484853 h 5777086"/>
                <a:gd name="connsiteX9" fmla="*/ 5293754 w 5726811"/>
                <a:gd name="connsiteY9" fmla="*/ 4914014 h 5777086"/>
                <a:gd name="connsiteX10" fmla="*/ 5690392 w 5726811"/>
                <a:gd name="connsiteY10" fmla="*/ 4255218 h 5777086"/>
                <a:gd name="connsiteX11" fmla="*/ 5649404 w 5726811"/>
                <a:gd name="connsiteY11" fmla="*/ 3283354 h 5777086"/>
                <a:gd name="connsiteX12" fmla="*/ 5164872 w 5726811"/>
                <a:gd name="connsiteY12" fmla="*/ 2050452 h 5777086"/>
                <a:gd name="connsiteX13" fmla="*/ 4456206 w 5726811"/>
                <a:gd name="connsiteY13" fmla="*/ 1038881 h 5777086"/>
                <a:gd name="connsiteX14" fmla="*/ 3786348 w 5726811"/>
                <a:gd name="connsiteY14" fmla="*/ 436933 h 5777086"/>
                <a:gd name="connsiteX0" fmla="*/ 3786348 w 5728799"/>
                <a:gd name="connsiteY0" fmla="*/ 436933 h 5777086"/>
                <a:gd name="connsiteX1" fmla="*/ 2579634 w 5728799"/>
                <a:gd name="connsiteY1" fmla="*/ 1085 h 5777086"/>
                <a:gd name="connsiteX2" fmla="*/ 1354665 w 5728799"/>
                <a:gd name="connsiteY2" fmla="*/ 546853 h 5777086"/>
                <a:gd name="connsiteX3" fmla="*/ 392714 w 5728799"/>
                <a:gd name="connsiteY3" fmla="*/ 2016236 h 5777086"/>
                <a:gd name="connsiteX4" fmla="*/ 488 w 5728799"/>
                <a:gd name="connsiteY4" fmla="*/ 3814619 h 5777086"/>
                <a:gd name="connsiteX5" fmla="*/ 335106 w 5728799"/>
                <a:gd name="connsiteY5" fmla="*/ 4998984 h 5777086"/>
                <a:gd name="connsiteX6" fmla="*/ 1202739 w 5728799"/>
                <a:gd name="connsiteY6" fmla="*/ 5578767 h 5777086"/>
                <a:gd name="connsiteX7" fmla="*/ 2687472 w 5728799"/>
                <a:gd name="connsiteY7" fmla="*/ 5776763 h 5777086"/>
                <a:gd name="connsiteX8" fmla="*/ 4305357 w 5728799"/>
                <a:gd name="connsiteY8" fmla="*/ 5484853 h 5777086"/>
                <a:gd name="connsiteX9" fmla="*/ 5265991 w 5728799"/>
                <a:gd name="connsiteY9" fmla="*/ 4923269 h 5777086"/>
                <a:gd name="connsiteX10" fmla="*/ 5690392 w 5728799"/>
                <a:gd name="connsiteY10" fmla="*/ 4255218 h 5777086"/>
                <a:gd name="connsiteX11" fmla="*/ 5649404 w 5728799"/>
                <a:gd name="connsiteY11" fmla="*/ 3283354 h 5777086"/>
                <a:gd name="connsiteX12" fmla="*/ 5164872 w 5728799"/>
                <a:gd name="connsiteY12" fmla="*/ 2050452 h 5777086"/>
                <a:gd name="connsiteX13" fmla="*/ 4456206 w 5728799"/>
                <a:gd name="connsiteY13" fmla="*/ 1038881 h 5777086"/>
                <a:gd name="connsiteX14" fmla="*/ 3786348 w 5728799"/>
                <a:gd name="connsiteY14" fmla="*/ 436933 h 5777086"/>
                <a:gd name="connsiteX0" fmla="*/ 3786348 w 5728799"/>
                <a:gd name="connsiteY0" fmla="*/ 436933 h 5777086"/>
                <a:gd name="connsiteX1" fmla="*/ 2579634 w 5728799"/>
                <a:gd name="connsiteY1" fmla="*/ 1085 h 5777086"/>
                <a:gd name="connsiteX2" fmla="*/ 1354665 w 5728799"/>
                <a:gd name="connsiteY2" fmla="*/ 546853 h 5777086"/>
                <a:gd name="connsiteX3" fmla="*/ 392714 w 5728799"/>
                <a:gd name="connsiteY3" fmla="*/ 2016236 h 5777086"/>
                <a:gd name="connsiteX4" fmla="*/ 488 w 5728799"/>
                <a:gd name="connsiteY4" fmla="*/ 3814619 h 5777086"/>
                <a:gd name="connsiteX5" fmla="*/ 335106 w 5728799"/>
                <a:gd name="connsiteY5" fmla="*/ 4998984 h 5777086"/>
                <a:gd name="connsiteX6" fmla="*/ 1202739 w 5728799"/>
                <a:gd name="connsiteY6" fmla="*/ 5578767 h 5777086"/>
                <a:gd name="connsiteX7" fmla="*/ 2687472 w 5728799"/>
                <a:gd name="connsiteY7" fmla="*/ 5776763 h 5777086"/>
                <a:gd name="connsiteX8" fmla="*/ 4305357 w 5728799"/>
                <a:gd name="connsiteY8" fmla="*/ 5484853 h 5777086"/>
                <a:gd name="connsiteX9" fmla="*/ 5265991 w 5728799"/>
                <a:gd name="connsiteY9" fmla="*/ 4932523 h 5777086"/>
                <a:gd name="connsiteX10" fmla="*/ 5690392 w 5728799"/>
                <a:gd name="connsiteY10" fmla="*/ 4255218 h 5777086"/>
                <a:gd name="connsiteX11" fmla="*/ 5649404 w 5728799"/>
                <a:gd name="connsiteY11" fmla="*/ 3283354 h 5777086"/>
                <a:gd name="connsiteX12" fmla="*/ 5164872 w 5728799"/>
                <a:gd name="connsiteY12" fmla="*/ 2050452 h 5777086"/>
                <a:gd name="connsiteX13" fmla="*/ 4456206 w 5728799"/>
                <a:gd name="connsiteY13" fmla="*/ 1038881 h 5777086"/>
                <a:gd name="connsiteX14" fmla="*/ 3786348 w 5728799"/>
                <a:gd name="connsiteY14" fmla="*/ 436933 h 5777086"/>
                <a:gd name="connsiteX0" fmla="*/ 3786348 w 5728799"/>
                <a:gd name="connsiteY0" fmla="*/ 436933 h 5777086"/>
                <a:gd name="connsiteX1" fmla="*/ 2579634 w 5728799"/>
                <a:gd name="connsiteY1" fmla="*/ 1085 h 5777086"/>
                <a:gd name="connsiteX2" fmla="*/ 1354665 w 5728799"/>
                <a:gd name="connsiteY2" fmla="*/ 546853 h 5777086"/>
                <a:gd name="connsiteX3" fmla="*/ 392714 w 5728799"/>
                <a:gd name="connsiteY3" fmla="*/ 2016236 h 5777086"/>
                <a:gd name="connsiteX4" fmla="*/ 488 w 5728799"/>
                <a:gd name="connsiteY4" fmla="*/ 3814619 h 5777086"/>
                <a:gd name="connsiteX5" fmla="*/ 335106 w 5728799"/>
                <a:gd name="connsiteY5" fmla="*/ 4998984 h 5777086"/>
                <a:gd name="connsiteX6" fmla="*/ 1202739 w 5728799"/>
                <a:gd name="connsiteY6" fmla="*/ 5578767 h 5777086"/>
                <a:gd name="connsiteX7" fmla="*/ 2687472 w 5728799"/>
                <a:gd name="connsiteY7" fmla="*/ 5776763 h 5777086"/>
                <a:gd name="connsiteX8" fmla="*/ 4305357 w 5728799"/>
                <a:gd name="connsiteY8" fmla="*/ 5484853 h 5777086"/>
                <a:gd name="connsiteX9" fmla="*/ 5265991 w 5728799"/>
                <a:gd name="connsiteY9" fmla="*/ 4941777 h 5777086"/>
                <a:gd name="connsiteX10" fmla="*/ 5690392 w 5728799"/>
                <a:gd name="connsiteY10" fmla="*/ 4255218 h 5777086"/>
                <a:gd name="connsiteX11" fmla="*/ 5649404 w 5728799"/>
                <a:gd name="connsiteY11" fmla="*/ 3283354 h 5777086"/>
                <a:gd name="connsiteX12" fmla="*/ 5164872 w 5728799"/>
                <a:gd name="connsiteY12" fmla="*/ 2050452 h 5777086"/>
                <a:gd name="connsiteX13" fmla="*/ 4456206 w 5728799"/>
                <a:gd name="connsiteY13" fmla="*/ 1038881 h 5777086"/>
                <a:gd name="connsiteX14" fmla="*/ 3786348 w 5728799"/>
                <a:gd name="connsiteY14" fmla="*/ 436933 h 5777086"/>
                <a:gd name="connsiteX0" fmla="*/ 3786348 w 5716670"/>
                <a:gd name="connsiteY0" fmla="*/ 436933 h 5777086"/>
                <a:gd name="connsiteX1" fmla="*/ 2579634 w 5716670"/>
                <a:gd name="connsiteY1" fmla="*/ 1085 h 5777086"/>
                <a:gd name="connsiteX2" fmla="*/ 1354665 w 5716670"/>
                <a:gd name="connsiteY2" fmla="*/ 546853 h 5777086"/>
                <a:gd name="connsiteX3" fmla="*/ 392714 w 5716670"/>
                <a:gd name="connsiteY3" fmla="*/ 2016236 h 5777086"/>
                <a:gd name="connsiteX4" fmla="*/ 488 w 5716670"/>
                <a:gd name="connsiteY4" fmla="*/ 3814619 h 5777086"/>
                <a:gd name="connsiteX5" fmla="*/ 335106 w 5716670"/>
                <a:gd name="connsiteY5" fmla="*/ 4998984 h 5777086"/>
                <a:gd name="connsiteX6" fmla="*/ 1202739 w 5716670"/>
                <a:gd name="connsiteY6" fmla="*/ 5578767 h 5777086"/>
                <a:gd name="connsiteX7" fmla="*/ 2687472 w 5716670"/>
                <a:gd name="connsiteY7" fmla="*/ 5776763 h 5777086"/>
                <a:gd name="connsiteX8" fmla="*/ 4305357 w 5716670"/>
                <a:gd name="connsiteY8" fmla="*/ 5484853 h 5777086"/>
                <a:gd name="connsiteX9" fmla="*/ 5265991 w 5716670"/>
                <a:gd name="connsiteY9" fmla="*/ 4941777 h 5777086"/>
                <a:gd name="connsiteX10" fmla="*/ 5671883 w 5716670"/>
                <a:gd name="connsiteY10" fmla="*/ 4292236 h 5777086"/>
                <a:gd name="connsiteX11" fmla="*/ 5649404 w 5716670"/>
                <a:gd name="connsiteY11" fmla="*/ 3283354 h 5777086"/>
                <a:gd name="connsiteX12" fmla="*/ 5164872 w 5716670"/>
                <a:gd name="connsiteY12" fmla="*/ 2050452 h 5777086"/>
                <a:gd name="connsiteX13" fmla="*/ 4456206 w 5716670"/>
                <a:gd name="connsiteY13" fmla="*/ 1038881 h 5777086"/>
                <a:gd name="connsiteX14" fmla="*/ 3786348 w 5716670"/>
                <a:gd name="connsiteY14" fmla="*/ 436933 h 5777086"/>
                <a:gd name="connsiteX0" fmla="*/ 3786348 w 5720435"/>
                <a:gd name="connsiteY0" fmla="*/ 436933 h 5777086"/>
                <a:gd name="connsiteX1" fmla="*/ 2579634 w 5720435"/>
                <a:gd name="connsiteY1" fmla="*/ 1085 h 5777086"/>
                <a:gd name="connsiteX2" fmla="*/ 1354665 w 5720435"/>
                <a:gd name="connsiteY2" fmla="*/ 546853 h 5777086"/>
                <a:gd name="connsiteX3" fmla="*/ 392714 w 5720435"/>
                <a:gd name="connsiteY3" fmla="*/ 2016236 h 5777086"/>
                <a:gd name="connsiteX4" fmla="*/ 488 w 5720435"/>
                <a:gd name="connsiteY4" fmla="*/ 3814619 h 5777086"/>
                <a:gd name="connsiteX5" fmla="*/ 335106 w 5720435"/>
                <a:gd name="connsiteY5" fmla="*/ 4998984 h 5777086"/>
                <a:gd name="connsiteX6" fmla="*/ 1202739 w 5720435"/>
                <a:gd name="connsiteY6" fmla="*/ 5578767 h 5777086"/>
                <a:gd name="connsiteX7" fmla="*/ 2687472 w 5720435"/>
                <a:gd name="connsiteY7" fmla="*/ 5776763 h 5777086"/>
                <a:gd name="connsiteX8" fmla="*/ 4305357 w 5720435"/>
                <a:gd name="connsiteY8" fmla="*/ 5484853 h 5777086"/>
                <a:gd name="connsiteX9" fmla="*/ 5265991 w 5720435"/>
                <a:gd name="connsiteY9" fmla="*/ 4941777 h 5777086"/>
                <a:gd name="connsiteX10" fmla="*/ 5671883 w 5720435"/>
                <a:gd name="connsiteY10" fmla="*/ 4292236 h 5777086"/>
                <a:gd name="connsiteX11" fmla="*/ 5649404 w 5720435"/>
                <a:gd name="connsiteY11" fmla="*/ 3283354 h 5777086"/>
                <a:gd name="connsiteX12" fmla="*/ 5164872 w 5720435"/>
                <a:gd name="connsiteY12" fmla="*/ 2050452 h 5777086"/>
                <a:gd name="connsiteX13" fmla="*/ 4456206 w 5720435"/>
                <a:gd name="connsiteY13" fmla="*/ 1038881 h 5777086"/>
                <a:gd name="connsiteX14" fmla="*/ 3786348 w 5720435"/>
                <a:gd name="connsiteY14" fmla="*/ 436933 h 5777086"/>
                <a:gd name="connsiteX0" fmla="*/ 3786348 w 5728126"/>
                <a:gd name="connsiteY0" fmla="*/ 436933 h 5777086"/>
                <a:gd name="connsiteX1" fmla="*/ 2579634 w 5728126"/>
                <a:gd name="connsiteY1" fmla="*/ 1085 h 5777086"/>
                <a:gd name="connsiteX2" fmla="*/ 1354665 w 5728126"/>
                <a:gd name="connsiteY2" fmla="*/ 546853 h 5777086"/>
                <a:gd name="connsiteX3" fmla="*/ 392714 w 5728126"/>
                <a:gd name="connsiteY3" fmla="*/ 2016236 h 5777086"/>
                <a:gd name="connsiteX4" fmla="*/ 488 w 5728126"/>
                <a:gd name="connsiteY4" fmla="*/ 3814619 h 5777086"/>
                <a:gd name="connsiteX5" fmla="*/ 335106 w 5728126"/>
                <a:gd name="connsiteY5" fmla="*/ 4998984 h 5777086"/>
                <a:gd name="connsiteX6" fmla="*/ 1202739 w 5728126"/>
                <a:gd name="connsiteY6" fmla="*/ 5578767 h 5777086"/>
                <a:gd name="connsiteX7" fmla="*/ 2687472 w 5728126"/>
                <a:gd name="connsiteY7" fmla="*/ 5776763 h 5777086"/>
                <a:gd name="connsiteX8" fmla="*/ 4305357 w 5728126"/>
                <a:gd name="connsiteY8" fmla="*/ 5484853 h 5777086"/>
                <a:gd name="connsiteX9" fmla="*/ 5265991 w 5728126"/>
                <a:gd name="connsiteY9" fmla="*/ 4941777 h 5777086"/>
                <a:gd name="connsiteX10" fmla="*/ 5671883 w 5728126"/>
                <a:gd name="connsiteY10" fmla="*/ 4292236 h 5777086"/>
                <a:gd name="connsiteX11" fmla="*/ 5649404 w 5728126"/>
                <a:gd name="connsiteY11" fmla="*/ 3283354 h 5777086"/>
                <a:gd name="connsiteX12" fmla="*/ 5164872 w 5728126"/>
                <a:gd name="connsiteY12" fmla="*/ 2050452 h 5777086"/>
                <a:gd name="connsiteX13" fmla="*/ 4456206 w 5728126"/>
                <a:gd name="connsiteY13" fmla="*/ 1038881 h 5777086"/>
                <a:gd name="connsiteX14" fmla="*/ 3786348 w 5728126"/>
                <a:gd name="connsiteY14" fmla="*/ 436933 h 5777086"/>
                <a:gd name="connsiteX0" fmla="*/ 3786348 w 5728126"/>
                <a:gd name="connsiteY0" fmla="*/ 436933 h 5777086"/>
                <a:gd name="connsiteX1" fmla="*/ 2579634 w 5728126"/>
                <a:gd name="connsiteY1" fmla="*/ 1085 h 5777086"/>
                <a:gd name="connsiteX2" fmla="*/ 1354665 w 5728126"/>
                <a:gd name="connsiteY2" fmla="*/ 546853 h 5777086"/>
                <a:gd name="connsiteX3" fmla="*/ 392714 w 5728126"/>
                <a:gd name="connsiteY3" fmla="*/ 2016236 h 5777086"/>
                <a:gd name="connsiteX4" fmla="*/ 488 w 5728126"/>
                <a:gd name="connsiteY4" fmla="*/ 3814619 h 5777086"/>
                <a:gd name="connsiteX5" fmla="*/ 335106 w 5728126"/>
                <a:gd name="connsiteY5" fmla="*/ 4998984 h 5777086"/>
                <a:gd name="connsiteX6" fmla="*/ 1202739 w 5728126"/>
                <a:gd name="connsiteY6" fmla="*/ 5578767 h 5777086"/>
                <a:gd name="connsiteX7" fmla="*/ 2687472 w 5728126"/>
                <a:gd name="connsiteY7" fmla="*/ 5776763 h 5777086"/>
                <a:gd name="connsiteX8" fmla="*/ 4305357 w 5728126"/>
                <a:gd name="connsiteY8" fmla="*/ 5484853 h 5777086"/>
                <a:gd name="connsiteX9" fmla="*/ 5265991 w 5728126"/>
                <a:gd name="connsiteY9" fmla="*/ 4941777 h 5777086"/>
                <a:gd name="connsiteX10" fmla="*/ 5671883 w 5728126"/>
                <a:gd name="connsiteY10" fmla="*/ 4292236 h 5777086"/>
                <a:gd name="connsiteX11" fmla="*/ 5649404 w 5728126"/>
                <a:gd name="connsiteY11" fmla="*/ 3283354 h 5777086"/>
                <a:gd name="connsiteX12" fmla="*/ 5164872 w 5728126"/>
                <a:gd name="connsiteY12" fmla="*/ 2050452 h 5777086"/>
                <a:gd name="connsiteX13" fmla="*/ 4456206 w 5728126"/>
                <a:gd name="connsiteY13" fmla="*/ 1038881 h 5777086"/>
                <a:gd name="connsiteX14" fmla="*/ 3786348 w 5728126"/>
                <a:gd name="connsiteY14" fmla="*/ 436933 h 5777086"/>
                <a:gd name="connsiteX0" fmla="*/ 3786348 w 5728126"/>
                <a:gd name="connsiteY0" fmla="*/ 436933 h 5777086"/>
                <a:gd name="connsiteX1" fmla="*/ 2579634 w 5728126"/>
                <a:gd name="connsiteY1" fmla="*/ 1085 h 5777086"/>
                <a:gd name="connsiteX2" fmla="*/ 1354665 w 5728126"/>
                <a:gd name="connsiteY2" fmla="*/ 546853 h 5777086"/>
                <a:gd name="connsiteX3" fmla="*/ 392714 w 5728126"/>
                <a:gd name="connsiteY3" fmla="*/ 2016236 h 5777086"/>
                <a:gd name="connsiteX4" fmla="*/ 488 w 5728126"/>
                <a:gd name="connsiteY4" fmla="*/ 3814619 h 5777086"/>
                <a:gd name="connsiteX5" fmla="*/ 335106 w 5728126"/>
                <a:gd name="connsiteY5" fmla="*/ 4998984 h 5777086"/>
                <a:gd name="connsiteX6" fmla="*/ 1202739 w 5728126"/>
                <a:gd name="connsiteY6" fmla="*/ 5578767 h 5777086"/>
                <a:gd name="connsiteX7" fmla="*/ 2687472 w 5728126"/>
                <a:gd name="connsiteY7" fmla="*/ 5776763 h 5777086"/>
                <a:gd name="connsiteX8" fmla="*/ 4305357 w 5728126"/>
                <a:gd name="connsiteY8" fmla="*/ 5484853 h 5777086"/>
                <a:gd name="connsiteX9" fmla="*/ 5265991 w 5728126"/>
                <a:gd name="connsiteY9" fmla="*/ 4941777 h 5777086"/>
                <a:gd name="connsiteX10" fmla="*/ 5671883 w 5728126"/>
                <a:gd name="connsiteY10" fmla="*/ 4292236 h 5777086"/>
                <a:gd name="connsiteX11" fmla="*/ 5649404 w 5728126"/>
                <a:gd name="connsiteY11" fmla="*/ 3283354 h 5777086"/>
                <a:gd name="connsiteX12" fmla="*/ 5164872 w 5728126"/>
                <a:gd name="connsiteY12" fmla="*/ 2050452 h 5777086"/>
                <a:gd name="connsiteX13" fmla="*/ 4456206 w 5728126"/>
                <a:gd name="connsiteY13" fmla="*/ 1038881 h 5777086"/>
                <a:gd name="connsiteX14" fmla="*/ 3786348 w 5728126"/>
                <a:gd name="connsiteY14" fmla="*/ 436933 h 5777086"/>
                <a:gd name="connsiteX0" fmla="*/ 3786348 w 5712979"/>
                <a:gd name="connsiteY0" fmla="*/ 436933 h 5777086"/>
                <a:gd name="connsiteX1" fmla="*/ 2579634 w 5712979"/>
                <a:gd name="connsiteY1" fmla="*/ 1085 h 5777086"/>
                <a:gd name="connsiteX2" fmla="*/ 1354665 w 5712979"/>
                <a:gd name="connsiteY2" fmla="*/ 546853 h 5777086"/>
                <a:gd name="connsiteX3" fmla="*/ 392714 w 5712979"/>
                <a:gd name="connsiteY3" fmla="*/ 2016236 h 5777086"/>
                <a:gd name="connsiteX4" fmla="*/ 488 w 5712979"/>
                <a:gd name="connsiteY4" fmla="*/ 3814619 h 5777086"/>
                <a:gd name="connsiteX5" fmla="*/ 335106 w 5712979"/>
                <a:gd name="connsiteY5" fmla="*/ 4998984 h 5777086"/>
                <a:gd name="connsiteX6" fmla="*/ 1202739 w 5712979"/>
                <a:gd name="connsiteY6" fmla="*/ 5578767 h 5777086"/>
                <a:gd name="connsiteX7" fmla="*/ 2687472 w 5712979"/>
                <a:gd name="connsiteY7" fmla="*/ 5776763 h 5777086"/>
                <a:gd name="connsiteX8" fmla="*/ 4305357 w 5712979"/>
                <a:gd name="connsiteY8" fmla="*/ 5484853 h 5777086"/>
                <a:gd name="connsiteX9" fmla="*/ 5265991 w 5712979"/>
                <a:gd name="connsiteY9" fmla="*/ 4941777 h 5777086"/>
                <a:gd name="connsiteX10" fmla="*/ 5671883 w 5712979"/>
                <a:gd name="connsiteY10" fmla="*/ 4292236 h 5777086"/>
                <a:gd name="connsiteX11" fmla="*/ 5649404 w 5712979"/>
                <a:gd name="connsiteY11" fmla="*/ 3283354 h 5777086"/>
                <a:gd name="connsiteX12" fmla="*/ 5164872 w 5712979"/>
                <a:gd name="connsiteY12" fmla="*/ 2050452 h 5777086"/>
                <a:gd name="connsiteX13" fmla="*/ 4456206 w 5712979"/>
                <a:gd name="connsiteY13" fmla="*/ 1038881 h 5777086"/>
                <a:gd name="connsiteX14" fmla="*/ 3786348 w 5712979"/>
                <a:gd name="connsiteY14" fmla="*/ 436933 h 5777086"/>
                <a:gd name="connsiteX0" fmla="*/ 3786348 w 5718721"/>
                <a:gd name="connsiteY0" fmla="*/ 436933 h 5777086"/>
                <a:gd name="connsiteX1" fmla="*/ 2579634 w 5718721"/>
                <a:gd name="connsiteY1" fmla="*/ 1085 h 5777086"/>
                <a:gd name="connsiteX2" fmla="*/ 1354665 w 5718721"/>
                <a:gd name="connsiteY2" fmla="*/ 546853 h 5777086"/>
                <a:gd name="connsiteX3" fmla="*/ 392714 w 5718721"/>
                <a:gd name="connsiteY3" fmla="*/ 2016236 h 5777086"/>
                <a:gd name="connsiteX4" fmla="*/ 488 w 5718721"/>
                <a:gd name="connsiteY4" fmla="*/ 3814619 h 5777086"/>
                <a:gd name="connsiteX5" fmla="*/ 335106 w 5718721"/>
                <a:gd name="connsiteY5" fmla="*/ 4998984 h 5777086"/>
                <a:gd name="connsiteX6" fmla="*/ 1202739 w 5718721"/>
                <a:gd name="connsiteY6" fmla="*/ 5578767 h 5777086"/>
                <a:gd name="connsiteX7" fmla="*/ 2687472 w 5718721"/>
                <a:gd name="connsiteY7" fmla="*/ 5776763 h 5777086"/>
                <a:gd name="connsiteX8" fmla="*/ 4305357 w 5718721"/>
                <a:gd name="connsiteY8" fmla="*/ 5484853 h 5777086"/>
                <a:gd name="connsiteX9" fmla="*/ 5265991 w 5718721"/>
                <a:gd name="connsiteY9" fmla="*/ 4941777 h 5777086"/>
                <a:gd name="connsiteX10" fmla="*/ 5681138 w 5718721"/>
                <a:gd name="connsiteY10" fmla="*/ 4264473 h 5777086"/>
                <a:gd name="connsiteX11" fmla="*/ 5649404 w 5718721"/>
                <a:gd name="connsiteY11" fmla="*/ 3283354 h 5777086"/>
                <a:gd name="connsiteX12" fmla="*/ 5164872 w 5718721"/>
                <a:gd name="connsiteY12" fmla="*/ 2050452 h 5777086"/>
                <a:gd name="connsiteX13" fmla="*/ 4456206 w 5718721"/>
                <a:gd name="connsiteY13" fmla="*/ 1038881 h 5777086"/>
                <a:gd name="connsiteX14" fmla="*/ 3786348 w 5718721"/>
                <a:gd name="connsiteY14" fmla="*/ 436933 h 5777086"/>
                <a:gd name="connsiteX0" fmla="*/ 3786348 w 5724833"/>
                <a:gd name="connsiteY0" fmla="*/ 436933 h 5777086"/>
                <a:gd name="connsiteX1" fmla="*/ 2579634 w 5724833"/>
                <a:gd name="connsiteY1" fmla="*/ 1085 h 5777086"/>
                <a:gd name="connsiteX2" fmla="*/ 1354665 w 5724833"/>
                <a:gd name="connsiteY2" fmla="*/ 546853 h 5777086"/>
                <a:gd name="connsiteX3" fmla="*/ 392714 w 5724833"/>
                <a:gd name="connsiteY3" fmla="*/ 2016236 h 5777086"/>
                <a:gd name="connsiteX4" fmla="*/ 488 w 5724833"/>
                <a:gd name="connsiteY4" fmla="*/ 3814619 h 5777086"/>
                <a:gd name="connsiteX5" fmla="*/ 335106 w 5724833"/>
                <a:gd name="connsiteY5" fmla="*/ 4998984 h 5777086"/>
                <a:gd name="connsiteX6" fmla="*/ 1202739 w 5724833"/>
                <a:gd name="connsiteY6" fmla="*/ 5578767 h 5777086"/>
                <a:gd name="connsiteX7" fmla="*/ 2687472 w 5724833"/>
                <a:gd name="connsiteY7" fmla="*/ 5776763 h 5777086"/>
                <a:gd name="connsiteX8" fmla="*/ 4305357 w 5724833"/>
                <a:gd name="connsiteY8" fmla="*/ 5484853 h 5777086"/>
                <a:gd name="connsiteX9" fmla="*/ 5265991 w 5724833"/>
                <a:gd name="connsiteY9" fmla="*/ 4941777 h 5777086"/>
                <a:gd name="connsiteX10" fmla="*/ 5690394 w 5724833"/>
                <a:gd name="connsiteY10" fmla="*/ 4255218 h 5777086"/>
                <a:gd name="connsiteX11" fmla="*/ 5649404 w 5724833"/>
                <a:gd name="connsiteY11" fmla="*/ 3283354 h 5777086"/>
                <a:gd name="connsiteX12" fmla="*/ 5164872 w 5724833"/>
                <a:gd name="connsiteY12" fmla="*/ 2050452 h 5777086"/>
                <a:gd name="connsiteX13" fmla="*/ 4456206 w 5724833"/>
                <a:gd name="connsiteY13" fmla="*/ 1038881 h 5777086"/>
                <a:gd name="connsiteX14" fmla="*/ 3786348 w 5724833"/>
                <a:gd name="connsiteY14" fmla="*/ 436933 h 5777086"/>
                <a:gd name="connsiteX0" fmla="*/ 3786348 w 5720901"/>
                <a:gd name="connsiteY0" fmla="*/ 436933 h 5777086"/>
                <a:gd name="connsiteX1" fmla="*/ 2579634 w 5720901"/>
                <a:gd name="connsiteY1" fmla="*/ 1085 h 5777086"/>
                <a:gd name="connsiteX2" fmla="*/ 1354665 w 5720901"/>
                <a:gd name="connsiteY2" fmla="*/ 546853 h 5777086"/>
                <a:gd name="connsiteX3" fmla="*/ 392714 w 5720901"/>
                <a:gd name="connsiteY3" fmla="*/ 2016236 h 5777086"/>
                <a:gd name="connsiteX4" fmla="*/ 488 w 5720901"/>
                <a:gd name="connsiteY4" fmla="*/ 3814619 h 5777086"/>
                <a:gd name="connsiteX5" fmla="*/ 335106 w 5720901"/>
                <a:gd name="connsiteY5" fmla="*/ 4998984 h 5777086"/>
                <a:gd name="connsiteX6" fmla="*/ 1202739 w 5720901"/>
                <a:gd name="connsiteY6" fmla="*/ 5578767 h 5777086"/>
                <a:gd name="connsiteX7" fmla="*/ 2687472 w 5720901"/>
                <a:gd name="connsiteY7" fmla="*/ 5776763 h 5777086"/>
                <a:gd name="connsiteX8" fmla="*/ 4305357 w 5720901"/>
                <a:gd name="connsiteY8" fmla="*/ 5484853 h 5777086"/>
                <a:gd name="connsiteX9" fmla="*/ 5265991 w 5720901"/>
                <a:gd name="connsiteY9" fmla="*/ 4941777 h 5777086"/>
                <a:gd name="connsiteX10" fmla="*/ 5690394 w 5720901"/>
                <a:gd name="connsiteY10" fmla="*/ 4255218 h 5777086"/>
                <a:gd name="connsiteX11" fmla="*/ 5649404 w 5720901"/>
                <a:gd name="connsiteY11" fmla="*/ 3283354 h 5777086"/>
                <a:gd name="connsiteX12" fmla="*/ 5164872 w 5720901"/>
                <a:gd name="connsiteY12" fmla="*/ 2050452 h 5777086"/>
                <a:gd name="connsiteX13" fmla="*/ 4456206 w 5720901"/>
                <a:gd name="connsiteY13" fmla="*/ 1038881 h 5777086"/>
                <a:gd name="connsiteX14" fmla="*/ 3786348 w 5720901"/>
                <a:gd name="connsiteY14" fmla="*/ 436933 h 5777086"/>
                <a:gd name="connsiteX0" fmla="*/ 3786348 w 5720901"/>
                <a:gd name="connsiteY0" fmla="*/ 436933 h 5777086"/>
                <a:gd name="connsiteX1" fmla="*/ 2579634 w 5720901"/>
                <a:gd name="connsiteY1" fmla="*/ 1085 h 5777086"/>
                <a:gd name="connsiteX2" fmla="*/ 1354665 w 5720901"/>
                <a:gd name="connsiteY2" fmla="*/ 546853 h 5777086"/>
                <a:gd name="connsiteX3" fmla="*/ 392714 w 5720901"/>
                <a:gd name="connsiteY3" fmla="*/ 2016236 h 5777086"/>
                <a:gd name="connsiteX4" fmla="*/ 488 w 5720901"/>
                <a:gd name="connsiteY4" fmla="*/ 3814619 h 5777086"/>
                <a:gd name="connsiteX5" fmla="*/ 335106 w 5720901"/>
                <a:gd name="connsiteY5" fmla="*/ 4998984 h 5777086"/>
                <a:gd name="connsiteX6" fmla="*/ 1202739 w 5720901"/>
                <a:gd name="connsiteY6" fmla="*/ 5578767 h 5777086"/>
                <a:gd name="connsiteX7" fmla="*/ 2687472 w 5720901"/>
                <a:gd name="connsiteY7" fmla="*/ 5776763 h 5777086"/>
                <a:gd name="connsiteX8" fmla="*/ 4305357 w 5720901"/>
                <a:gd name="connsiteY8" fmla="*/ 5484853 h 5777086"/>
                <a:gd name="connsiteX9" fmla="*/ 5265991 w 5720901"/>
                <a:gd name="connsiteY9" fmla="*/ 4941777 h 5777086"/>
                <a:gd name="connsiteX10" fmla="*/ 5690394 w 5720901"/>
                <a:gd name="connsiteY10" fmla="*/ 4255218 h 5777086"/>
                <a:gd name="connsiteX11" fmla="*/ 5649404 w 5720901"/>
                <a:gd name="connsiteY11" fmla="*/ 3283354 h 5777086"/>
                <a:gd name="connsiteX12" fmla="*/ 5164872 w 5720901"/>
                <a:gd name="connsiteY12" fmla="*/ 2050452 h 5777086"/>
                <a:gd name="connsiteX13" fmla="*/ 4456206 w 5720901"/>
                <a:gd name="connsiteY13" fmla="*/ 1038881 h 5777086"/>
                <a:gd name="connsiteX14" fmla="*/ 3786348 w 5720901"/>
                <a:gd name="connsiteY14" fmla="*/ 436933 h 5777086"/>
                <a:gd name="connsiteX0" fmla="*/ 3795603 w 5720901"/>
                <a:gd name="connsiteY0" fmla="*/ 436933 h 5777086"/>
                <a:gd name="connsiteX1" fmla="*/ 2579634 w 5720901"/>
                <a:gd name="connsiteY1" fmla="*/ 1085 h 5777086"/>
                <a:gd name="connsiteX2" fmla="*/ 1354665 w 5720901"/>
                <a:gd name="connsiteY2" fmla="*/ 546853 h 5777086"/>
                <a:gd name="connsiteX3" fmla="*/ 392714 w 5720901"/>
                <a:gd name="connsiteY3" fmla="*/ 2016236 h 5777086"/>
                <a:gd name="connsiteX4" fmla="*/ 488 w 5720901"/>
                <a:gd name="connsiteY4" fmla="*/ 3814619 h 5777086"/>
                <a:gd name="connsiteX5" fmla="*/ 335106 w 5720901"/>
                <a:gd name="connsiteY5" fmla="*/ 4998984 h 5777086"/>
                <a:gd name="connsiteX6" fmla="*/ 1202739 w 5720901"/>
                <a:gd name="connsiteY6" fmla="*/ 5578767 h 5777086"/>
                <a:gd name="connsiteX7" fmla="*/ 2687472 w 5720901"/>
                <a:gd name="connsiteY7" fmla="*/ 5776763 h 5777086"/>
                <a:gd name="connsiteX8" fmla="*/ 4305357 w 5720901"/>
                <a:gd name="connsiteY8" fmla="*/ 5484853 h 5777086"/>
                <a:gd name="connsiteX9" fmla="*/ 5265991 w 5720901"/>
                <a:gd name="connsiteY9" fmla="*/ 4941777 h 5777086"/>
                <a:gd name="connsiteX10" fmla="*/ 5690394 w 5720901"/>
                <a:gd name="connsiteY10" fmla="*/ 4255218 h 5777086"/>
                <a:gd name="connsiteX11" fmla="*/ 5649404 w 5720901"/>
                <a:gd name="connsiteY11" fmla="*/ 3283354 h 5777086"/>
                <a:gd name="connsiteX12" fmla="*/ 5164872 w 5720901"/>
                <a:gd name="connsiteY12" fmla="*/ 2050452 h 5777086"/>
                <a:gd name="connsiteX13" fmla="*/ 4456206 w 5720901"/>
                <a:gd name="connsiteY13" fmla="*/ 1038881 h 5777086"/>
                <a:gd name="connsiteX14" fmla="*/ 3795603 w 5720901"/>
                <a:gd name="connsiteY14" fmla="*/ 436933 h 577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20901" h="5777086">
                  <a:moveTo>
                    <a:pt x="3795603" y="436933"/>
                  </a:moveTo>
                  <a:cubicBezTo>
                    <a:pt x="3482841" y="199185"/>
                    <a:pt x="2986457" y="-17235"/>
                    <a:pt x="2579634" y="1085"/>
                  </a:cubicBezTo>
                  <a:cubicBezTo>
                    <a:pt x="2172811" y="19405"/>
                    <a:pt x="1719152" y="210995"/>
                    <a:pt x="1354665" y="546853"/>
                  </a:cubicBezTo>
                  <a:cubicBezTo>
                    <a:pt x="990178" y="882712"/>
                    <a:pt x="618410" y="1471608"/>
                    <a:pt x="392714" y="2016236"/>
                  </a:cubicBezTo>
                  <a:cubicBezTo>
                    <a:pt x="167018" y="2560864"/>
                    <a:pt x="10089" y="3317494"/>
                    <a:pt x="488" y="3814619"/>
                  </a:cubicBezTo>
                  <a:cubicBezTo>
                    <a:pt x="-9113" y="4311744"/>
                    <a:pt x="123758" y="4730562"/>
                    <a:pt x="335106" y="4998984"/>
                  </a:cubicBezTo>
                  <a:cubicBezTo>
                    <a:pt x="546454" y="5267406"/>
                    <a:pt x="887488" y="5463768"/>
                    <a:pt x="1202739" y="5578767"/>
                  </a:cubicBezTo>
                  <a:cubicBezTo>
                    <a:pt x="1517990" y="5693766"/>
                    <a:pt x="2068567" y="5783160"/>
                    <a:pt x="2687472" y="5776763"/>
                  </a:cubicBezTo>
                  <a:cubicBezTo>
                    <a:pt x="3306377" y="5770366"/>
                    <a:pt x="3866350" y="5642525"/>
                    <a:pt x="4305357" y="5484853"/>
                  </a:cubicBezTo>
                  <a:cubicBezTo>
                    <a:pt x="4744364" y="5327181"/>
                    <a:pt x="5035151" y="5146716"/>
                    <a:pt x="5265991" y="4941777"/>
                  </a:cubicBezTo>
                  <a:cubicBezTo>
                    <a:pt x="5496831" y="4736838"/>
                    <a:pt x="5645001" y="4494603"/>
                    <a:pt x="5690394" y="4255218"/>
                  </a:cubicBezTo>
                  <a:cubicBezTo>
                    <a:pt x="5735787" y="4015833"/>
                    <a:pt x="5736991" y="3650815"/>
                    <a:pt x="5649404" y="3283354"/>
                  </a:cubicBezTo>
                  <a:cubicBezTo>
                    <a:pt x="5561817" y="2915893"/>
                    <a:pt x="5451658" y="2607721"/>
                    <a:pt x="5164872" y="2050452"/>
                  </a:cubicBezTo>
                  <a:cubicBezTo>
                    <a:pt x="4961378" y="1650512"/>
                    <a:pt x="4684418" y="1307801"/>
                    <a:pt x="4456206" y="1038881"/>
                  </a:cubicBezTo>
                  <a:cubicBezTo>
                    <a:pt x="4227995" y="769961"/>
                    <a:pt x="4108365" y="674681"/>
                    <a:pt x="3795603" y="436933"/>
                  </a:cubicBezTo>
                  <a:close/>
                </a:path>
              </a:pathLst>
            </a:custGeom>
            <a:grpFill/>
            <a:ln w="12700">
              <a:noFill/>
            </a:ln>
            <a:effectLst>
              <a:outerShdw blurRad="127000" dist="38100" dir="2700000" algn="ctr">
                <a:srgbClr val="000000">
                  <a:alpha val="45000"/>
                </a:srgbClr>
              </a:outerShdw>
            </a:effectLst>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solidFill>
                  <a:schemeClr val="lt1"/>
                </a:solidFill>
                <a:latin typeface="+mn-lt"/>
              </a:endParaRPr>
            </a:p>
          </p:txBody>
        </p:sp>
        <p:sp>
          <p:nvSpPr>
            <p:cNvPr id="10" name="Freihandform 9">
              <a:extLst>
                <a:ext uri="{FF2B5EF4-FFF2-40B4-BE49-F238E27FC236}">
                  <a16:creationId xmlns:a16="http://schemas.microsoft.com/office/drawing/2014/main" id="{49A7BAB0-821E-C74F-D3E8-CDD35CB23E60}"/>
                </a:ext>
              </a:extLst>
            </p:cNvPr>
            <p:cNvSpPr>
              <a:spLocks noChangeAspect="1"/>
            </p:cNvSpPr>
            <p:nvPr/>
          </p:nvSpPr>
          <p:spPr>
            <a:xfrm rot="2538712">
              <a:off x="4622128" y="1207014"/>
              <a:ext cx="3090620" cy="3120974"/>
            </a:xfrm>
            <a:custGeom>
              <a:avLst/>
              <a:gdLst>
                <a:gd name="connsiteX0" fmla="*/ 3790260 w 5732578"/>
                <a:gd name="connsiteY0" fmla="*/ 417868 h 5726204"/>
                <a:gd name="connsiteX1" fmla="*/ 2542870 w 5732578"/>
                <a:gd name="connsiteY1" fmla="*/ 309 h 5726204"/>
                <a:gd name="connsiteX2" fmla="*/ 1401192 w 5732578"/>
                <a:gd name="connsiteY2" fmla="*/ 481294 h 5726204"/>
                <a:gd name="connsiteX3" fmla="*/ 402223 w 5732578"/>
                <a:gd name="connsiteY3" fmla="*/ 1950677 h 5726204"/>
                <a:gd name="connsiteX4" fmla="*/ 521 w 5732578"/>
                <a:gd name="connsiteY4" fmla="*/ 3795333 h 5726204"/>
                <a:gd name="connsiteX5" fmla="*/ 338796 w 5732578"/>
                <a:gd name="connsiteY5" fmla="*/ 4968725 h 5726204"/>
                <a:gd name="connsiteX6" fmla="*/ 1184484 w 5732578"/>
                <a:gd name="connsiteY6" fmla="*/ 5544850 h 5726204"/>
                <a:gd name="connsiteX7" fmla="*/ 2442445 w 5732578"/>
                <a:gd name="connsiteY7" fmla="*/ 5724559 h 5726204"/>
                <a:gd name="connsiteX8" fmla="*/ 4287102 w 5732578"/>
                <a:gd name="connsiteY8" fmla="*/ 5465567 h 5726204"/>
                <a:gd name="connsiteX9" fmla="*/ 5275499 w 5732578"/>
                <a:gd name="connsiteY9" fmla="*/ 4894728 h 5726204"/>
                <a:gd name="connsiteX10" fmla="*/ 5671915 w 5732578"/>
                <a:gd name="connsiteY10" fmla="*/ 4223463 h 5726204"/>
                <a:gd name="connsiteX11" fmla="*/ 5677201 w 5732578"/>
                <a:gd name="connsiteY11" fmla="*/ 3393632 h 5726204"/>
                <a:gd name="connsiteX12" fmla="*/ 5153932 w 5732578"/>
                <a:gd name="connsiteY12" fmla="*/ 1998247 h 5726204"/>
                <a:gd name="connsiteX13" fmla="*/ 4456239 w 5732578"/>
                <a:gd name="connsiteY13" fmla="*/ 993992 h 5726204"/>
                <a:gd name="connsiteX14" fmla="*/ 3790260 w 5732578"/>
                <a:gd name="connsiteY14" fmla="*/ 417868 h 5726204"/>
                <a:gd name="connsiteX0" fmla="*/ 3786602 w 5732578"/>
                <a:gd name="connsiteY0" fmla="*/ 435997 h 5726045"/>
                <a:gd name="connsiteX1" fmla="*/ 2542870 w 5732578"/>
                <a:gd name="connsiteY1" fmla="*/ 150 h 5726045"/>
                <a:gd name="connsiteX2" fmla="*/ 1401192 w 5732578"/>
                <a:gd name="connsiteY2" fmla="*/ 481135 h 5726045"/>
                <a:gd name="connsiteX3" fmla="*/ 402223 w 5732578"/>
                <a:gd name="connsiteY3" fmla="*/ 1950518 h 5726045"/>
                <a:gd name="connsiteX4" fmla="*/ 521 w 5732578"/>
                <a:gd name="connsiteY4" fmla="*/ 3795174 h 5726045"/>
                <a:gd name="connsiteX5" fmla="*/ 338796 w 5732578"/>
                <a:gd name="connsiteY5" fmla="*/ 4968566 h 5726045"/>
                <a:gd name="connsiteX6" fmla="*/ 1184484 w 5732578"/>
                <a:gd name="connsiteY6" fmla="*/ 5544691 h 5726045"/>
                <a:gd name="connsiteX7" fmla="*/ 2442445 w 5732578"/>
                <a:gd name="connsiteY7" fmla="*/ 5724400 h 5726045"/>
                <a:gd name="connsiteX8" fmla="*/ 4287102 w 5732578"/>
                <a:gd name="connsiteY8" fmla="*/ 5465408 h 5726045"/>
                <a:gd name="connsiteX9" fmla="*/ 5275499 w 5732578"/>
                <a:gd name="connsiteY9" fmla="*/ 4894569 h 5726045"/>
                <a:gd name="connsiteX10" fmla="*/ 5671915 w 5732578"/>
                <a:gd name="connsiteY10" fmla="*/ 4223304 h 5726045"/>
                <a:gd name="connsiteX11" fmla="*/ 5677201 w 5732578"/>
                <a:gd name="connsiteY11" fmla="*/ 3393473 h 5726045"/>
                <a:gd name="connsiteX12" fmla="*/ 5153932 w 5732578"/>
                <a:gd name="connsiteY12" fmla="*/ 1998088 h 5726045"/>
                <a:gd name="connsiteX13" fmla="*/ 4456239 w 5732578"/>
                <a:gd name="connsiteY13" fmla="*/ 993833 h 5726045"/>
                <a:gd name="connsiteX14" fmla="*/ 3786602 w 5732578"/>
                <a:gd name="connsiteY14" fmla="*/ 435997 h 5726045"/>
                <a:gd name="connsiteX0" fmla="*/ 3786602 w 5732578"/>
                <a:gd name="connsiteY0" fmla="*/ 435993 h 5726041"/>
                <a:gd name="connsiteX1" fmla="*/ 2542870 w 5732578"/>
                <a:gd name="connsiteY1" fmla="*/ 146 h 5726041"/>
                <a:gd name="connsiteX2" fmla="*/ 1401192 w 5732578"/>
                <a:gd name="connsiteY2" fmla="*/ 481131 h 5726041"/>
                <a:gd name="connsiteX3" fmla="*/ 402223 w 5732578"/>
                <a:gd name="connsiteY3" fmla="*/ 1950514 h 5726041"/>
                <a:gd name="connsiteX4" fmla="*/ 521 w 5732578"/>
                <a:gd name="connsiteY4" fmla="*/ 3795170 h 5726041"/>
                <a:gd name="connsiteX5" fmla="*/ 338796 w 5732578"/>
                <a:gd name="connsiteY5" fmla="*/ 4968562 h 5726041"/>
                <a:gd name="connsiteX6" fmla="*/ 1184484 w 5732578"/>
                <a:gd name="connsiteY6" fmla="*/ 5544687 h 5726041"/>
                <a:gd name="connsiteX7" fmla="*/ 2442445 w 5732578"/>
                <a:gd name="connsiteY7" fmla="*/ 5724396 h 5726041"/>
                <a:gd name="connsiteX8" fmla="*/ 4287102 w 5732578"/>
                <a:gd name="connsiteY8" fmla="*/ 5465404 h 5726041"/>
                <a:gd name="connsiteX9" fmla="*/ 5275499 w 5732578"/>
                <a:gd name="connsiteY9" fmla="*/ 4894565 h 5726041"/>
                <a:gd name="connsiteX10" fmla="*/ 5671915 w 5732578"/>
                <a:gd name="connsiteY10" fmla="*/ 4223300 h 5726041"/>
                <a:gd name="connsiteX11" fmla="*/ 5677201 w 5732578"/>
                <a:gd name="connsiteY11" fmla="*/ 3393469 h 5726041"/>
                <a:gd name="connsiteX12" fmla="*/ 5153932 w 5732578"/>
                <a:gd name="connsiteY12" fmla="*/ 1998084 h 5726041"/>
                <a:gd name="connsiteX13" fmla="*/ 4456239 w 5732578"/>
                <a:gd name="connsiteY13" fmla="*/ 993829 h 5726041"/>
                <a:gd name="connsiteX14" fmla="*/ 3786602 w 5732578"/>
                <a:gd name="connsiteY14" fmla="*/ 435993 h 5726041"/>
                <a:gd name="connsiteX0" fmla="*/ 3786602 w 5732578"/>
                <a:gd name="connsiteY0" fmla="*/ 435998 h 5726046"/>
                <a:gd name="connsiteX1" fmla="*/ 2542870 w 5732578"/>
                <a:gd name="connsiteY1" fmla="*/ 151 h 5726046"/>
                <a:gd name="connsiteX2" fmla="*/ 1401192 w 5732578"/>
                <a:gd name="connsiteY2" fmla="*/ 481136 h 5726046"/>
                <a:gd name="connsiteX3" fmla="*/ 402223 w 5732578"/>
                <a:gd name="connsiteY3" fmla="*/ 1950519 h 5726046"/>
                <a:gd name="connsiteX4" fmla="*/ 521 w 5732578"/>
                <a:gd name="connsiteY4" fmla="*/ 3795175 h 5726046"/>
                <a:gd name="connsiteX5" fmla="*/ 338796 w 5732578"/>
                <a:gd name="connsiteY5" fmla="*/ 4968567 h 5726046"/>
                <a:gd name="connsiteX6" fmla="*/ 1184484 w 5732578"/>
                <a:gd name="connsiteY6" fmla="*/ 5544692 h 5726046"/>
                <a:gd name="connsiteX7" fmla="*/ 2442445 w 5732578"/>
                <a:gd name="connsiteY7" fmla="*/ 5724401 h 5726046"/>
                <a:gd name="connsiteX8" fmla="*/ 4287102 w 5732578"/>
                <a:gd name="connsiteY8" fmla="*/ 5465409 h 5726046"/>
                <a:gd name="connsiteX9" fmla="*/ 5275499 w 5732578"/>
                <a:gd name="connsiteY9" fmla="*/ 4894570 h 5726046"/>
                <a:gd name="connsiteX10" fmla="*/ 5671915 w 5732578"/>
                <a:gd name="connsiteY10" fmla="*/ 4223305 h 5726046"/>
                <a:gd name="connsiteX11" fmla="*/ 5677201 w 5732578"/>
                <a:gd name="connsiteY11" fmla="*/ 3393474 h 5726046"/>
                <a:gd name="connsiteX12" fmla="*/ 5153932 w 5732578"/>
                <a:gd name="connsiteY12" fmla="*/ 1998089 h 5726046"/>
                <a:gd name="connsiteX13" fmla="*/ 4437951 w 5732578"/>
                <a:gd name="connsiteY13" fmla="*/ 1019437 h 5726046"/>
                <a:gd name="connsiteX14" fmla="*/ 3786602 w 5732578"/>
                <a:gd name="connsiteY14" fmla="*/ 435998 h 5726046"/>
                <a:gd name="connsiteX0" fmla="*/ 3786602 w 5732578"/>
                <a:gd name="connsiteY0" fmla="*/ 435998 h 5726046"/>
                <a:gd name="connsiteX1" fmla="*/ 2542870 w 5732578"/>
                <a:gd name="connsiteY1" fmla="*/ 151 h 5726046"/>
                <a:gd name="connsiteX2" fmla="*/ 1401192 w 5732578"/>
                <a:gd name="connsiteY2" fmla="*/ 481136 h 5726046"/>
                <a:gd name="connsiteX3" fmla="*/ 402223 w 5732578"/>
                <a:gd name="connsiteY3" fmla="*/ 1950519 h 5726046"/>
                <a:gd name="connsiteX4" fmla="*/ 521 w 5732578"/>
                <a:gd name="connsiteY4" fmla="*/ 3795175 h 5726046"/>
                <a:gd name="connsiteX5" fmla="*/ 338796 w 5732578"/>
                <a:gd name="connsiteY5" fmla="*/ 4968567 h 5726046"/>
                <a:gd name="connsiteX6" fmla="*/ 1184484 w 5732578"/>
                <a:gd name="connsiteY6" fmla="*/ 5544692 h 5726046"/>
                <a:gd name="connsiteX7" fmla="*/ 2442445 w 5732578"/>
                <a:gd name="connsiteY7" fmla="*/ 5724401 h 5726046"/>
                <a:gd name="connsiteX8" fmla="*/ 4287102 w 5732578"/>
                <a:gd name="connsiteY8" fmla="*/ 5465409 h 5726046"/>
                <a:gd name="connsiteX9" fmla="*/ 5275499 w 5732578"/>
                <a:gd name="connsiteY9" fmla="*/ 4894570 h 5726046"/>
                <a:gd name="connsiteX10" fmla="*/ 5671915 w 5732578"/>
                <a:gd name="connsiteY10" fmla="*/ 4223305 h 5726046"/>
                <a:gd name="connsiteX11" fmla="*/ 5677201 w 5732578"/>
                <a:gd name="connsiteY11" fmla="*/ 3393474 h 5726046"/>
                <a:gd name="connsiteX12" fmla="*/ 5153932 w 5732578"/>
                <a:gd name="connsiteY12" fmla="*/ 1998089 h 5726046"/>
                <a:gd name="connsiteX13" fmla="*/ 4437951 w 5732578"/>
                <a:gd name="connsiteY13" fmla="*/ 1019437 h 5726046"/>
                <a:gd name="connsiteX14" fmla="*/ 3786602 w 5732578"/>
                <a:gd name="connsiteY14" fmla="*/ 435998 h 5726046"/>
                <a:gd name="connsiteX0" fmla="*/ 3786602 w 5732578"/>
                <a:gd name="connsiteY0" fmla="*/ 436029 h 5726077"/>
                <a:gd name="connsiteX1" fmla="*/ 2542870 w 5732578"/>
                <a:gd name="connsiteY1" fmla="*/ 182 h 5726077"/>
                <a:gd name="connsiteX2" fmla="*/ 1401192 w 5732578"/>
                <a:gd name="connsiteY2" fmla="*/ 481167 h 5726077"/>
                <a:gd name="connsiteX3" fmla="*/ 402223 w 5732578"/>
                <a:gd name="connsiteY3" fmla="*/ 1950550 h 5726077"/>
                <a:gd name="connsiteX4" fmla="*/ 521 w 5732578"/>
                <a:gd name="connsiteY4" fmla="*/ 3795206 h 5726077"/>
                <a:gd name="connsiteX5" fmla="*/ 338796 w 5732578"/>
                <a:gd name="connsiteY5" fmla="*/ 4968598 h 5726077"/>
                <a:gd name="connsiteX6" fmla="*/ 1184484 w 5732578"/>
                <a:gd name="connsiteY6" fmla="*/ 5544723 h 5726077"/>
                <a:gd name="connsiteX7" fmla="*/ 2442445 w 5732578"/>
                <a:gd name="connsiteY7" fmla="*/ 5724432 h 5726077"/>
                <a:gd name="connsiteX8" fmla="*/ 4287102 w 5732578"/>
                <a:gd name="connsiteY8" fmla="*/ 5465440 h 5726077"/>
                <a:gd name="connsiteX9" fmla="*/ 5275499 w 5732578"/>
                <a:gd name="connsiteY9" fmla="*/ 4894601 h 5726077"/>
                <a:gd name="connsiteX10" fmla="*/ 5671915 w 5732578"/>
                <a:gd name="connsiteY10" fmla="*/ 4223336 h 5726077"/>
                <a:gd name="connsiteX11" fmla="*/ 5677201 w 5732578"/>
                <a:gd name="connsiteY11" fmla="*/ 3393505 h 5726077"/>
                <a:gd name="connsiteX12" fmla="*/ 5153932 w 5732578"/>
                <a:gd name="connsiteY12" fmla="*/ 1998120 h 5726077"/>
                <a:gd name="connsiteX13" fmla="*/ 4437951 w 5732578"/>
                <a:gd name="connsiteY13" fmla="*/ 1019468 h 5726077"/>
                <a:gd name="connsiteX14" fmla="*/ 3786602 w 5732578"/>
                <a:gd name="connsiteY14" fmla="*/ 436029 h 5726077"/>
                <a:gd name="connsiteX0" fmla="*/ 3786602 w 5733076"/>
                <a:gd name="connsiteY0" fmla="*/ 436029 h 5726077"/>
                <a:gd name="connsiteX1" fmla="*/ 2542870 w 5733076"/>
                <a:gd name="connsiteY1" fmla="*/ 182 h 5726077"/>
                <a:gd name="connsiteX2" fmla="*/ 1401192 w 5733076"/>
                <a:gd name="connsiteY2" fmla="*/ 481167 h 5726077"/>
                <a:gd name="connsiteX3" fmla="*/ 402223 w 5733076"/>
                <a:gd name="connsiteY3" fmla="*/ 1950550 h 5726077"/>
                <a:gd name="connsiteX4" fmla="*/ 521 w 5733076"/>
                <a:gd name="connsiteY4" fmla="*/ 3795206 h 5726077"/>
                <a:gd name="connsiteX5" fmla="*/ 338796 w 5733076"/>
                <a:gd name="connsiteY5" fmla="*/ 4968598 h 5726077"/>
                <a:gd name="connsiteX6" fmla="*/ 1184484 w 5733076"/>
                <a:gd name="connsiteY6" fmla="*/ 5544723 h 5726077"/>
                <a:gd name="connsiteX7" fmla="*/ 2442445 w 5733076"/>
                <a:gd name="connsiteY7" fmla="*/ 5724432 h 5726077"/>
                <a:gd name="connsiteX8" fmla="*/ 4287102 w 5733076"/>
                <a:gd name="connsiteY8" fmla="*/ 5465440 h 5726077"/>
                <a:gd name="connsiteX9" fmla="*/ 5275499 w 5733076"/>
                <a:gd name="connsiteY9" fmla="*/ 4894601 h 5726077"/>
                <a:gd name="connsiteX10" fmla="*/ 5671915 w 5733076"/>
                <a:gd name="connsiteY10" fmla="*/ 4223336 h 5726077"/>
                <a:gd name="connsiteX11" fmla="*/ 5677201 w 5733076"/>
                <a:gd name="connsiteY11" fmla="*/ 3393505 h 5726077"/>
                <a:gd name="connsiteX12" fmla="*/ 5146617 w 5733076"/>
                <a:gd name="connsiteY12" fmla="*/ 2031039 h 5726077"/>
                <a:gd name="connsiteX13" fmla="*/ 4437951 w 5733076"/>
                <a:gd name="connsiteY13" fmla="*/ 1019468 h 5726077"/>
                <a:gd name="connsiteX14" fmla="*/ 3786602 w 5733076"/>
                <a:gd name="connsiteY14" fmla="*/ 436029 h 5726077"/>
                <a:gd name="connsiteX0" fmla="*/ 3786602 w 5722211"/>
                <a:gd name="connsiteY0" fmla="*/ 436029 h 5726077"/>
                <a:gd name="connsiteX1" fmla="*/ 2542870 w 5722211"/>
                <a:gd name="connsiteY1" fmla="*/ 182 h 5726077"/>
                <a:gd name="connsiteX2" fmla="*/ 1401192 w 5722211"/>
                <a:gd name="connsiteY2" fmla="*/ 481167 h 5726077"/>
                <a:gd name="connsiteX3" fmla="*/ 402223 w 5722211"/>
                <a:gd name="connsiteY3" fmla="*/ 1950550 h 5726077"/>
                <a:gd name="connsiteX4" fmla="*/ 521 w 5722211"/>
                <a:gd name="connsiteY4" fmla="*/ 3795206 h 5726077"/>
                <a:gd name="connsiteX5" fmla="*/ 338796 w 5722211"/>
                <a:gd name="connsiteY5" fmla="*/ 4968598 h 5726077"/>
                <a:gd name="connsiteX6" fmla="*/ 1184484 w 5722211"/>
                <a:gd name="connsiteY6" fmla="*/ 5544723 h 5726077"/>
                <a:gd name="connsiteX7" fmla="*/ 2442445 w 5722211"/>
                <a:gd name="connsiteY7" fmla="*/ 5724432 h 5726077"/>
                <a:gd name="connsiteX8" fmla="*/ 4287102 w 5722211"/>
                <a:gd name="connsiteY8" fmla="*/ 5465440 h 5726077"/>
                <a:gd name="connsiteX9" fmla="*/ 5275499 w 5722211"/>
                <a:gd name="connsiteY9" fmla="*/ 4894601 h 5726077"/>
                <a:gd name="connsiteX10" fmla="*/ 5671915 w 5722211"/>
                <a:gd name="connsiteY10" fmla="*/ 4223336 h 5726077"/>
                <a:gd name="connsiteX11" fmla="*/ 5658913 w 5722211"/>
                <a:gd name="connsiteY11" fmla="*/ 3393505 h 5726077"/>
                <a:gd name="connsiteX12" fmla="*/ 5146617 w 5722211"/>
                <a:gd name="connsiteY12" fmla="*/ 2031039 h 5726077"/>
                <a:gd name="connsiteX13" fmla="*/ 4437951 w 5722211"/>
                <a:gd name="connsiteY13" fmla="*/ 1019468 h 5726077"/>
                <a:gd name="connsiteX14" fmla="*/ 3786602 w 5722211"/>
                <a:gd name="connsiteY14" fmla="*/ 436029 h 5726077"/>
                <a:gd name="connsiteX0" fmla="*/ 3786602 w 5722211"/>
                <a:gd name="connsiteY0" fmla="*/ 436029 h 5726077"/>
                <a:gd name="connsiteX1" fmla="*/ 2542870 w 5722211"/>
                <a:gd name="connsiteY1" fmla="*/ 182 h 5726077"/>
                <a:gd name="connsiteX2" fmla="*/ 1401192 w 5722211"/>
                <a:gd name="connsiteY2" fmla="*/ 481167 h 5726077"/>
                <a:gd name="connsiteX3" fmla="*/ 402223 w 5722211"/>
                <a:gd name="connsiteY3" fmla="*/ 1950550 h 5726077"/>
                <a:gd name="connsiteX4" fmla="*/ 521 w 5722211"/>
                <a:gd name="connsiteY4" fmla="*/ 3795206 h 5726077"/>
                <a:gd name="connsiteX5" fmla="*/ 338796 w 5722211"/>
                <a:gd name="connsiteY5" fmla="*/ 4968598 h 5726077"/>
                <a:gd name="connsiteX6" fmla="*/ 1184484 w 5722211"/>
                <a:gd name="connsiteY6" fmla="*/ 5544723 h 5726077"/>
                <a:gd name="connsiteX7" fmla="*/ 2442445 w 5722211"/>
                <a:gd name="connsiteY7" fmla="*/ 5724432 h 5726077"/>
                <a:gd name="connsiteX8" fmla="*/ 4287102 w 5722211"/>
                <a:gd name="connsiteY8" fmla="*/ 5465440 h 5726077"/>
                <a:gd name="connsiteX9" fmla="*/ 5275499 w 5722211"/>
                <a:gd name="connsiteY9" fmla="*/ 4894601 h 5726077"/>
                <a:gd name="connsiteX10" fmla="*/ 5671915 w 5722211"/>
                <a:gd name="connsiteY10" fmla="*/ 4223336 h 5726077"/>
                <a:gd name="connsiteX11" fmla="*/ 5658913 w 5722211"/>
                <a:gd name="connsiteY11" fmla="*/ 3393505 h 5726077"/>
                <a:gd name="connsiteX12" fmla="*/ 5146617 w 5722211"/>
                <a:gd name="connsiteY12" fmla="*/ 2031039 h 5726077"/>
                <a:gd name="connsiteX13" fmla="*/ 4437951 w 5722211"/>
                <a:gd name="connsiteY13" fmla="*/ 1019468 h 5726077"/>
                <a:gd name="connsiteX14" fmla="*/ 3786602 w 5722211"/>
                <a:gd name="connsiteY14" fmla="*/ 436029 h 5726077"/>
                <a:gd name="connsiteX0" fmla="*/ 3786602 w 5714404"/>
                <a:gd name="connsiteY0" fmla="*/ 436029 h 5726077"/>
                <a:gd name="connsiteX1" fmla="*/ 2542870 w 5714404"/>
                <a:gd name="connsiteY1" fmla="*/ 182 h 5726077"/>
                <a:gd name="connsiteX2" fmla="*/ 1401192 w 5714404"/>
                <a:gd name="connsiteY2" fmla="*/ 481167 h 5726077"/>
                <a:gd name="connsiteX3" fmla="*/ 402223 w 5714404"/>
                <a:gd name="connsiteY3" fmla="*/ 1950550 h 5726077"/>
                <a:gd name="connsiteX4" fmla="*/ 521 w 5714404"/>
                <a:gd name="connsiteY4" fmla="*/ 3795206 h 5726077"/>
                <a:gd name="connsiteX5" fmla="*/ 338796 w 5714404"/>
                <a:gd name="connsiteY5" fmla="*/ 4968598 h 5726077"/>
                <a:gd name="connsiteX6" fmla="*/ 1184484 w 5714404"/>
                <a:gd name="connsiteY6" fmla="*/ 5544723 h 5726077"/>
                <a:gd name="connsiteX7" fmla="*/ 2442445 w 5714404"/>
                <a:gd name="connsiteY7" fmla="*/ 5724432 h 5726077"/>
                <a:gd name="connsiteX8" fmla="*/ 4287102 w 5714404"/>
                <a:gd name="connsiteY8" fmla="*/ 5465440 h 5726077"/>
                <a:gd name="connsiteX9" fmla="*/ 5275499 w 5714404"/>
                <a:gd name="connsiteY9" fmla="*/ 4894601 h 5726077"/>
                <a:gd name="connsiteX10" fmla="*/ 5671915 w 5714404"/>
                <a:gd name="connsiteY10" fmla="*/ 4223336 h 5726077"/>
                <a:gd name="connsiteX11" fmla="*/ 5658913 w 5714404"/>
                <a:gd name="connsiteY11" fmla="*/ 3393505 h 5726077"/>
                <a:gd name="connsiteX12" fmla="*/ 5146617 w 5714404"/>
                <a:gd name="connsiteY12" fmla="*/ 2031039 h 5726077"/>
                <a:gd name="connsiteX13" fmla="*/ 4437951 w 5714404"/>
                <a:gd name="connsiteY13" fmla="*/ 1019468 h 5726077"/>
                <a:gd name="connsiteX14" fmla="*/ 3786602 w 5714404"/>
                <a:gd name="connsiteY14" fmla="*/ 436029 h 5726077"/>
                <a:gd name="connsiteX0" fmla="*/ 3786602 w 5718911"/>
                <a:gd name="connsiteY0" fmla="*/ 436029 h 5726077"/>
                <a:gd name="connsiteX1" fmla="*/ 2542870 w 5718911"/>
                <a:gd name="connsiteY1" fmla="*/ 182 h 5726077"/>
                <a:gd name="connsiteX2" fmla="*/ 1401192 w 5718911"/>
                <a:gd name="connsiteY2" fmla="*/ 481167 h 5726077"/>
                <a:gd name="connsiteX3" fmla="*/ 402223 w 5718911"/>
                <a:gd name="connsiteY3" fmla="*/ 1950550 h 5726077"/>
                <a:gd name="connsiteX4" fmla="*/ 521 w 5718911"/>
                <a:gd name="connsiteY4" fmla="*/ 3795206 h 5726077"/>
                <a:gd name="connsiteX5" fmla="*/ 338796 w 5718911"/>
                <a:gd name="connsiteY5" fmla="*/ 4968598 h 5726077"/>
                <a:gd name="connsiteX6" fmla="*/ 1184484 w 5718911"/>
                <a:gd name="connsiteY6" fmla="*/ 5544723 h 5726077"/>
                <a:gd name="connsiteX7" fmla="*/ 2442445 w 5718911"/>
                <a:gd name="connsiteY7" fmla="*/ 5724432 h 5726077"/>
                <a:gd name="connsiteX8" fmla="*/ 4287102 w 5718911"/>
                <a:gd name="connsiteY8" fmla="*/ 5465440 h 5726077"/>
                <a:gd name="connsiteX9" fmla="*/ 5275499 w 5718911"/>
                <a:gd name="connsiteY9" fmla="*/ 4894601 h 5726077"/>
                <a:gd name="connsiteX10" fmla="*/ 5671915 w 5718911"/>
                <a:gd name="connsiteY10" fmla="*/ 4223336 h 5726077"/>
                <a:gd name="connsiteX11" fmla="*/ 5658913 w 5718911"/>
                <a:gd name="connsiteY11" fmla="*/ 3393505 h 5726077"/>
                <a:gd name="connsiteX12" fmla="*/ 5146617 w 5718911"/>
                <a:gd name="connsiteY12" fmla="*/ 2031039 h 5726077"/>
                <a:gd name="connsiteX13" fmla="*/ 4437951 w 5718911"/>
                <a:gd name="connsiteY13" fmla="*/ 1019468 h 5726077"/>
                <a:gd name="connsiteX14" fmla="*/ 3786602 w 5718911"/>
                <a:gd name="connsiteY14" fmla="*/ 436029 h 5726077"/>
                <a:gd name="connsiteX0" fmla="*/ 3786602 w 5722208"/>
                <a:gd name="connsiteY0" fmla="*/ 436029 h 5726077"/>
                <a:gd name="connsiteX1" fmla="*/ 2542870 w 5722208"/>
                <a:gd name="connsiteY1" fmla="*/ 182 h 5726077"/>
                <a:gd name="connsiteX2" fmla="*/ 1401192 w 5722208"/>
                <a:gd name="connsiteY2" fmla="*/ 481167 h 5726077"/>
                <a:gd name="connsiteX3" fmla="*/ 402223 w 5722208"/>
                <a:gd name="connsiteY3" fmla="*/ 1950550 h 5726077"/>
                <a:gd name="connsiteX4" fmla="*/ 521 w 5722208"/>
                <a:gd name="connsiteY4" fmla="*/ 3795206 h 5726077"/>
                <a:gd name="connsiteX5" fmla="*/ 338796 w 5722208"/>
                <a:gd name="connsiteY5" fmla="*/ 4968598 h 5726077"/>
                <a:gd name="connsiteX6" fmla="*/ 1184484 w 5722208"/>
                <a:gd name="connsiteY6" fmla="*/ 5544723 h 5726077"/>
                <a:gd name="connsiteX7" fmla="*/ 2442445 w 5722208"/>
                <a:gd name="connsiteY7" fmla="*/ 5724432 h 5726077"/>
                <a:gd name="connsiteX8" fmla="*/ 4287102 w 5722208"/>
                <a:gd name="connsiteY8" fmla="*/ 5465440 h 5726077"/>
                <a:gd name="connsiteX9" fmla="*/ 5275499 w 5722208"/>
                <a:gd name="connsiteY9" fmla="*/ 4894601 h 5726077"/>
                <a:gd name="connsiteX10" fmla="*/ 5664600 w 5722208"/>
                <a:gd name="connsiteY10" fmla="*/ 4263569 h 5726077"/>
                <a:gd name="connsiteX11" fmla="*/ 5658913 w 5722208"/>
                <a:gd name="connsiteY11" fmla="*/ 3393505 h 5726077"/>
                <a:gd name="connsiteX12" fmla="*/ 5146617 w 5722208"/>
                <a:gd name="connsiteY12" fmla="*/ 2031039 h 5726077"/>
                <a:gd name="connsiteX13" fmla="*/ 4437951 w 5722208"/>
                <a:gd name="connsiteY13" fmla="*/ 1019468 h 5726077"/>
                <a:gd name="connsiteX14" fmla="*/ 3786602 w 5722208"/>
                <a:gd name="connsiteY14" fmla="*/ 436029 h 5726077"/>
                <a:gd name="connsiteX0" fmla="*/ 3786602 w 5716275"/>
                <a:gd name="connsiteY0" fmla="*/ 436029 h 5726077"/>
                <a:gd name="connsiteX1" fmla="*/ 2542870 w 5716275"/>
                <a:gd name="connsiteY1" fmla="*/ 182 h 5726077"/>
                <a:gd name="connsiteX2" fmla="*/ 1401192 w 5716275"/>
                <a:gd name="connsiteY2" fmla="*/ 481167 h 5726077"/>
                <a:gd name="connsiteX3" fmla="*/ 402223 w 5716275"/>
                <a:gd name="connsiteY3" fmla="*/ 1950550 h 5726077"/>
                <a:gd name="connsiteX4" fmla="*/ 521 w 5716275"/>
                <a:gd name="connsiteY4" fmla="*/ 3795206 h 5726077"/>
                <a:gd name="connsiteX5" fmla="*/ 338796 w 5716275"/>
                <a:gd name="connsiteY5" fmla="*/ 4968598 h 5726077"/>
                <a:gd name="connsiteX6" fmla="*/ 1184484 w 5716275"/>
                <a:gd name="connsiteY6" fmla="*/ 5544723 h 5726077"/>
                <a:gd name="connsiteX7" fmla="*/ 2442445 w 5716275"/>
                <a:gd name="connsiteY7" fmla="*/ 5724432 h 5726077"/>
                <a:gd name="connsiteX8" fmla="*/ 4287102 w 5716275"/>
                <a:gd name="connsiteY8" fmla="*/ 5465440 h 5726077"/>
                <a:gd name="connsiteX9" fmla="*/ 5275499 w 5716275"/>
                <a:gd name="connsiteY9" fmla="*/ 4894601 h 5726077"/>
                <a:gd name="connsiteX10" fmla="*/ 5653627 w 5716275"/>
                <a:gd name="connsiteY10" fmla="*/ 4263569 h 5726077"/>
                <a:gd name="connsiteX11" fmla="*/ 5658913 w 5716275"/>
                <a:gd name="connsiteY11" fmla="*/ 3393505 h 5726077"/>
                <a:gd name="connsiteX12" fmla="*/ 5146617 w 5716275"/>
                <a:gd name="connsiteY12" fmla="*/ 2031039 h 5726077"/>
                <a:gd name="connsiteX13" fmla="*/ 4437951 w 5716275"/>
                <a:gd name="connsiteY13" fmla="*/ 1019468 h 5726077"/>
                <a:gd name="connsiteX14" fmla="*/ 3786602 w 5716275"/>
                <a:gd name="connsiteY14" fmla="*/ 436029 h 5726077"/>
                <a:gd name="connsiteX0" fmla="*/ 3786602 w 5706729"/>
                <a:gd name="connsiteY0" fmla="*/ 436029 h 5726077"/>
                <a:gd name="connsiteX1" fmla="*/ 2542870 w 5706729"/>
                <a:gd name="connsiteY1" fmla="*/ 182 h 5726077"/>
                <a:gd name="connsiteX2" fmla="*/ 1401192 w 5706729"/>
                <a:gd name="connsiteY2" fmla="*/ 481167 h 5726077"/>
                <a:gd name="connsiteX3" fmla="*/ 402223 w 5706729"/>
                <a:gd name="connsiteY3" fmla="*/ 1950550 h 5726077"/>
                <a:gd name="connsiteX4" fmla="*/ 521 w 5706729"/>
                <a:gd name="connsiteY4" fmla="*/ 3795206 h 5726077"/>
                <a:gd name="connsiteX5" fmla="*/ 338796 w 5706729"/>
                <a:gd name="connsiteY5" fmla="*/ 4968598 h 5726077"/>
                <a:gd name="connsiteX6" fmla="*/ 1184484 w 5706729"/>
                <a:gd name="connsiteY6" fmla="*/ 5544723 h 5726077"/>
                <a:gd name="connsiteX7" fmla="*/ 2442445 w 5706729"/>
                <a:gd name="connsiteY7" fmla="*/ 5724432 h 5726077"/>
                <a:gd name="connsiteX8" fmla="*/ 4287102 w 5706729"/>
                <a:gd name="connsiteY8" fmla="*/ 5465440 h 5726077"/>
                <a:gd name="connsiteX9" fmla="*/ 5275499 w 5706729"/>
                <a:gd name="connsiteY9" fmla="*/ 4894601 h 5726077"/>
                <a:gd name="connsiteX10" fmla="*/ 5653627 w 5706729"/>
                <a:gd name="connsiteY10" fmla="*/ 4263569 h 5726077"/>
                <a:gd name="connsiteX11" fmla="*/ 5658913 w 5706729"/>
                <a:gd name="connsiteY11" fmla="*/ 3393505 h 5726077"/>
                <a:gd name="connsiteX12" fmla="*/ 5146617 w 5706729"/>
                <a:gd name="connsiteY12" fmla="*/ 2031039 h 5726077"/>
                <a:gd name="connsiteX13" fmla="*/ 4437951 w 5706729"/>
                <a:gd name="connsiteY13" fmla="*/ 1019468 h 5726077"/>
                <a:gd name="connsiteX14" fmla="*/ 3786602 w 5706729"/>
                <a:gd name="connsiteY14" fmla="*/ 436029 h 5726077"/>
                <a:gd name="connsiteX0" fmla="*/ 3786602 w 5706729"/>
                <a:gd name="connsiteY0" fmla="*/ 436029 h 5740496"/>
                <a:gd name="connsiteX1" fmla="*/ 2542870 w 5706729"/>
                <a:gd name="connsiteY1" fmla="*/ 182 h 5740496"/>
                <a:gd name="connsiteX2" fmla="*/ 1401192 w 5706729"/>
                <a:gd name="connsiteY2" fmla="*/ 481167 h 5740496"/>
                <a:gd name="connsiteX3" fmla="*/ 402223 w 5706729"/>
                <a:gd name="connsiteY3" fmla="*/ 1950550 h 5740496"/>
                <a:gd name="connsiteX4" fmla="*/ 521 w 5706729"/>
                <a:gd name="connsiteY4" fmla="*/ 3795206 h 5740496"/>
                <a:gd name="connsiteX5" fmla="*/ 338796 w 5706729"/>
                <a:gd name="connsiteY5" fmla="*/ 4968598 h 5740496"/>
                <a:gd name="connsiteX6" fmla="*/ 1184484 w 5706729"/>
                <a:gd name="connsiteY6" fmla="*/ 5544723 h 5740496"/>
                <a:gd name="connsiteX7" fmla="*/ 2669217 w 5706729"/>
                <a:gd name="connsiteY7" fmla="*/ 5739062 h 5740496"/>
                <a:gd name="connsiteX8" fmla="*/ 4287102 w 5706729"/>
                <a:gd name="connsiteY8" fmla="*/ 5465440 h 5740496"/>
                <a:gd name="connsiteX9" fmla="*/ 5275499 w 5706729"/>
                <a:gd name="connsiteY9" fmla="*/ 4894601 h 5740496"/>
                <a:gd name="connsiteX10" fmla="*/ 5653627 w 5706729"/>
                <a:gd name="connsiteY10" fmla="*/ 4263569 h 5740496"/>
                <a:gd name="connsiteX11" fmla="*/ 5658913 w 5706729"/>
                <a:gd name="connsiteY11" fmla="*/ 3393505 h 5740496"/>
                <a:gd name="connsiteX12" fmla="*/ 5146617 w 5706729"/>
                <a:gd name="connsiteY12" fmla="*/ 2031039 h 5740496"/>
                <a:gd name="connsiteX13" fmla="*/ 4437951 w 5706729"/>
                <a:gd name="connsiteY13" fmla="*/ 1019468 h 5740496"/>
                <a:gd name="connsiteX14" fmla="*/ 3786602 w 5706729"/>
                <a:gd name="connsiteY14" fmla="*/ 436029 h 5740496"/>
                <a:gd name="connsiteX0" fmla="*/ 3786602 w 5706729"/>
                <a:gd name="connsiteY0" fmla="*/ 436029 h 5758583"/>
                <a:gd name="connsiteX1" fmla="*/ 2542870 w 5706729"/>
                <a:gd name="connsiteY1" fmla="*/ 182 h 5758583"/>
                <a:gd name="connsiteX2" fmla="*/ 1401192 w 5706729"/>
                <a:gd name="connsiteY2" fmla="*/ 481167 h 5758583"/>
                <a:gd name="connsiteX3" fmla="*/ 402223 w 5706729"/>
                <a:gd name="connsiteY3" fmla="*/ 1950550 h 5758583"/>
                <a:gd name="connsiteX4" fmla="*/ 521 w 5706729"/>
                <a:gd name="connsiteY4" fmla="*/ 3795206 h 5758583"/>
                <a:gd name="connsiteX5" fmla="*/ 338796 w 5706729"/>
                <a:gd name="connsiteY5" fmla="*/ 4968598 h 5758583"/>
                <a:gd name="connsiteX6" fmla="*/ 1184484 w 5706729"/>
                <a:gd name="connsiteY6" fmla="*/ 5544723 h 5758583"/>
                <a:gd name="connsiteX7" fmla="*/ 2669217 w 5706729"/>
                <a:gd name="connsiteY7" fmla="*/ 5757350 h 5758583"/>
                <a:gd name="connsiteX8" fmla="*/ 4287102 w 5706729"/>
                <a:gd name="connsiteY8" fmla="*/ 5465440 h 5758583"/>
                <a:gd name="connsiteX9" fmla="*/ 5275499 w 5706729"/>
                <a:gd name="connsiteY9" fmla="*/ 4894601 h 5758583"/>
                <a:gd name="connsiteX10" fmla="*/ 5653627 w 5706729"/>
                <a:gd name="connsiteY10" fmla="*/ 4263569 h 5758583"/>
                <a:gd name="connsiteX11" fmla="*/ 5658913 w 5706729"/>
                <a:gd name="connsiteY11" fmla="*/ 3393505 h 5758583"/>
                <a:gd name="connsiteX12" fmla="*/ 5146617 w 5706729"/>
                <a:gd name="connsiteY12" fmla="*/ 2031039 h 5758583"/>
                <a:gd name="connsiteX13" fmla="*/ 4437951 w 5706729"/>
                <a:gd name="connsiteY13" fmla="*/ 1019468 h 5758583"/>
                <a:gd name="connsiteX14" fmla="*/ 3786602 w 5706729"/>
                <a:gd name="connsiteY14" fmla="*/ 436029 h 5758583"/>
                <a:gd name="connsiteX0" fmla="*/ 3787120 w 5707247"/>
                <a:gd name="connsiteY0" fmla="*/ 436029 h 5758564"/>
                <a:gd name="connsiteX1" fmla="*/ 2543388 w 5707247"/>
                <a:gd name="connsiteY1" fmla="*/ 182 h 5758564"/>
                <a:gd name="connsiteX2" fmla="*/ 1401710 w 5707247"/>
                <a:gd name="connsiteY2" fmla="*/ 481167 h 5758564"/>
                <a:gd name="connsiteX3" fmla="*/ 402741 w 5707247"/>
                <a:gd name="connsiteY3" fmla="*/ 1950550 h 5758564"/>
                <a:gd name="connsiteX4" fmla="*/ 1039 w 5707247"/>
                <a:gd name="connsiteY4" fmla="*/ 3795206 h 5758564"/>
                <a:gd name="connsiteX5" fmla="*/ 317369 w 5707247"/>
                <a:gd name="connsiteY5" fmla="*/ 4979571 h 5758564"/>
                <a:gd name="connsiteX6" fmla="*/ 1185002 w 5707247"/>
                <a:gd name="connsiteY6" fmla="*/ 5544723 h 5758564"/>
                <a:gd name="connsiteX7" fmla="*/ 2669735 w 5707247"/>
                <a:gd name="connsiteY7" fmla="*/ 5757350 h 5758564"/>
                <a:gd name="connsiteX8" fmla="*/ 4287620 w 5707247"/>
                <a:gd name="connsiteY8" fmla="*/ 5465440 h 5758564"/>
                <a:gd name="connsiteX9" fmla="*/ 5276017 w 5707247"/>
                <a:gd name="connsiteY9" fmla="*/ 4894601 h 5758564"/>
                <a:gd name="connsiteX10" fmla="*/ 5654145 w 5707247"/>
                <a:gd name="connsiteY10" fmla="*/ 4263569 h 5758564"/>
                <a:gd name="connsiteX11" fmla="*/ 5659431 w 5707247"/>
                <a:gd name="connsiteY11" fmla="*/ 3393505 h 5758564"/>
                <a:gd name="connsiteX12" fmla="*/ 5147135 w 5707247"/>
                <a:gd name="connsiteY12" fmla="*/ 2031039 h 5758564"/>
                <a:gd name="connsiteX13" fmla="*/ 4438469 w 5707247"/>
                <a:gd name="connsiteY13" fmla="*/ 1019468 h 5758564"/>
                <a:gd name="connsiteX14" fmla="*/ 3787120 w 5707247"/>
                <a:gd name="connsiteY14" fmla="*/ 436029 h 5758564"/>
                <a:gd name="connsiteX0" fmla="*/ 3805311 w 5725438"/>
                <a:gd name="connsiteY0" fmla="*/ 436029 h 5758564"/>
                <a:gd name="connsiteX1" fmla="*/ 2561579 w 5725438"/>
                <a:gd name="connsiteY1" fmla="*/ 182 h 5758564"/>
                <a:gd name="connsiteX2" fmla="*/ 1419901 w 5725438"/>
                <a:gd name="connsiteY2" fmla="*/ 481167 h 5758564"/>
                <a:gd name="connsiteX3" fmla="*/ 420932 w 5725438"/>
                <a:gd name="connsiteY3" fmla="*/ 1950550 h 5758564"/>
                <a:gd name="connsiteX4" fmla="*/ 942 w 5725438"/>
                <a:gd name="connsiteY4" fmla="*/ 3795206 h 5758564"/>
                <a:gd name="connsiteX5" fmla="*/ 335560 w 5725438"/>
                <a:gd name="connsiteY5" fmla="*/ 4979571 h 5758564"/>
                <a:gd name="connsiteX6" fmla="*/ 1203193 w 5725438"/>
                <a:gd name="connsiteY6" fmla="*/ 5544723 h 5758564"/>
                <a:gd name="connsiteX7" fmla="*/ 2687926 w 5725438"/>
                <a:gd name="connsiteY7" fmla="*/ 5757350 h 5758564"/>
                <a:gd name="connsiteX8" fmla="*/ 4305811 w 5725438"/>
                <a:gd name="connsiteY8" fmla="*/ 5465440 h 5758564"/>
                <a:gd name="connsiteX9" fmla="*/ 5294208 w 5725438"/>
                <a:gd name="connsiteY9" fmla="*/ 4894601 h 5758564"/>
                <a:gd name="connsiteX10" fmla="*/ 5672336 w 5725438"/>
                <a:gd name="connsiteY10" fmla="*/ 4263569 h 5758564"/>
                <a:gd name="connsiteX11" fmla="*/ 5677622 w 5725438"/>
                <a:gd name="connsiteY11" fmla="*/ 3393505 h 5758564"/>
                <a:gd name="connsiteX12" fmla="*/ 5165326 w 5725438"/>
                <a:gd name="connsiteY12" fmla="*/ 2031039 h 5758564"/>
                <a:gd name="connsiteX13" fmla="*/ 4456660 w 5725438"/>
                <a:gd name="connsiteY13" fmla="*/ 1019468 h 5758564"/>
                <a:gd name="connsiteX14" fmla="*/ 3805311 w 5725438"/>
                <a:gd name="connsiteY14" fmla="*/ 436029 h 5758564"/>
                <a:gd name="connsiteX0" fmla="*/ 3805311 w 5725438"/>
                <a:gd name="connsiteY0" fmla="*/ 436029 h 5759220"/>
                <a:gd name="connsiteX1" fmla="*/ 2561579 w 5725438"/>
                <a:gd name="connsiteY1" fmla="*/ 182 h 5759220"/>
                <a:gd name="connsiteX2" fmla="*/ 1419901 w 5725438"/>
                <a:gd name="connsiteY2" fmla="*/ 481167 h 5759220"/>
                <a:gd name="connsiteX3" fmla="*/ 420932 w 5725438"/>
                <a:gd name="connsiteY3" fmla="*/ 1950550 h 5759220"/>
                <a:gd name="connsiteX4" fmla="*/ 942 w 5725438"/>
                <a:gd name="connsiteY4" fmla="*/ 3795206 h 5759220"/>
                <a:gd name="connsiteX5" fmla="*/ 335560 w 5725438"/>
                <a:gd name="connsiteY5" fmla="*/ 4979571 h 5759220"/>
                <a:gd name="connsiteX6" fmla="*/ 1203193 w 5725438"/>
                <a:gd name="connsiteY6" fmla="*/ 5559354 h 5759220"/>
                <a:gd name="connsiteX7" fmla="*/ 2687926 w 5725438"/>
                <a:gd name="connsiteY7" fmla="*/ 5757350 h 5759220"/>
                <a:gd name="connsiteX8" fmla="*/ 4305811 w 5725438"/>
                <a:gd name="connsiteY8" fmla="*/ 5465440 h 5759220"/>
                <a:gd name="connsiteX9" fmla="*/ 5294208 w 5725438"/>
                <a:gd name="connsiteY9" fmla="*/ 4894601 h 5759220"/>
                <a:gd name="connsiteX10" fmla="*/ 5672336 w 5725438"/>
                <a:gd name="connsiteY10" fmla="*/ 4263569 h 5759220"/>
                <a:gd name="connsiteX11" fmla="*/ 5677622 w 5725438"/>
                <a:gd name="connsiteY11" fmla="*/ 3393505 h 5759220"/>
                <a:gd name="connsiteX12" fmla="*/ 5165326 w 5725438"/>
                <a:gd name="connsiteY12" fmla="*/ 2031039 h 5759220"/>
                <a:gd name="connsiteX13" fmla="*/ 4456660 w 5725438"/>
                <a:gd name="connsiteY13" fmla="*/ 1019468 h 5759220"/>
                <a:gd name="connsiteX14" fmla="*/ 3805311 w 5725438"/>
                <a:gd name="connsiteY14" fmla="*/ 436029 h 5759220"/>
                <a:gd name="connsiteX0" fmla="*/ 3805311 w 5725438"/>
                <a:gd name="connsiteY0" fmla="*/ 436029 h 5758768"/>
                <a:gd name="connsiteX1" fmla="*/ 2561579 w 5725438"/>
                <a:gd name="connsiteY1" fmla="*/ 182 h 5758768"/>
                <a:gd name="connsiteX2" fmla="*/ 1419901 w 5725438"/>
                <a:gd name="connsiteY2" fmla="*/ 481167 h 5758768"/>
                <a:gd name="connsiteX3" fmla="*/ 420932 w 5725438"/>
                <a:gd name="connsiteY3" fmla="*/ 1950550 h 5758768"/>
                <a:gd name="connsiteX4" fmla="*/ 942 w 5725438"/>
                <a:gd name="connsiteY4" fmla="*/ 3795206 h 5758768"/>
                <a:gd name="connsiteX5" fmla="*/ 335560 w 5725438"/>
                <a:gd name="connsiteY5" fmla="*/ 4979571 h 5758768"/>
                <a:gd name="connsiteX6" fmla="*/ 1203193 w 5725438"/>
                <a:gd name="connsiteY6" fmla="*/ 5559354 h 5758768"/>
                <a:gd name="connsiteX7" fmla="*/ 2687926 w 5725438"/>
                <a:gd name="connsiteY7" fmla="*/ 5757350 h 5758768"/>
                <a:gd name="connsiteX8" fmla="*/ 4305811 w 5725438"/>
                <a:gd name="connsiteY8" fmla="*/ 5465440 h 5758768"/>
                <a:gd name="connsiteX9" fmla="*/ 5294208 w 5725438"/>
                <a:gd name="connsiteY9" fmla="*/ 4894601 h 5758768"/>
                <a:gd name="connsiteX10" fmla="*/ 5672336 w 5725438"/>
                <a:gd name="connsiteY10" fmla="*/ 4263569 h 5758768"/>
                <a:gd name="connsiteX11" fmla="*/ 5677622 w 5725438"/>
                <a:gd name="connsiteY11" fmla="*/ 3393505 h 5758768"/>
                <a:gd name="connsiteX12" fmla="*/ 5165326 w 5725438"/>
                <a:gd name="connsiteY12" fmla="*/ 2031039 h 5758768"/>
                <a:gd name="connsiteX13" fmla="*/ 4456660 w 5725438"/>
                <a:gd name="connsiteY13" fmla="*/ 1019468 h 5758768"/>
                <a:gd name="connsiteX14" fmla="*/ 3805311 w 5725438"/>
                <a:gd name="connsiteY14" fmla="*/ 436029 h 5758768"/>
                <a:gd name="connsiteX0" fmla="*/ 3805311 w 5725438"/>
                <a:gd name="connsiteY0" fmla="*/ 436029 h 5758990"/>
                <a:gd name="connsiteX1" fmla="*/ 2561579 w 5725438"/>
                <a:gd name="connsiteY1" fmla="*/ 182 h 5758990"/>
                <a:gd name="connsiteX2" fmla="*/ 1419901 w 5725438"/>
                <a:gd name="connsiteY2" fmla="*/ 481167 h 5758990"/>
                <a:gd name="connsiteX3" fmla="*/ 420932 w 5725438"/>
                <a:gd name="connsiteY3" fmla="*/ 1950550 h 5758990"/>
                <a:gd name="connsiteX4" fmla="*/ 942 w 5725438"/>
                <a:gd name="connsiteY4" fmla="*/ 3795206 h 5758990"/>
                <a:gd name="connsiteX5" fmla="*/ 335560 w 5725438"/>
                <a:gd name="connsiteY5" fmla="*/ 4979571 h 5758990"/>
                <a:gd name="connsiteX6" fmla="*/ 1203193 w 5725438"/>
                <a:gd name="connsiteY6" fmla="*/ 5559354 h 5758990"/>
                <a:gd name="connsiteX7" fmla="*/ 2687926 w 5725438"/>
                <a:gd name="connsiteY7" fmla="*/ 5757350 h 5758990"/>
                <a:gd name="connsiteX8" fmla="*/ 4305811 w 5725438"/>
                <a:gd name="connsiteY8" fmla="*/ 5465440 h 5758990"/>
                <a:gd name="connsiteX9" fmla="*/ 5294208 w 5725438"/>
                <a:gd name="connsiteY9" fmla="*/ 4894601 h 5758990"/>
                <a:gd name="connsiteX10" fmla="*/ 5672336 w 5725438"/>
                <a:gd name="connsiteY10" fmla="*/ 4263569 h 5758990"/>
                <a:gd name="connsiteX11" fmla="*/ 5677622 w 5725438"/>
                <a:gd name="connsiteY11" fmla="*/ 3393505 h 5758990"/>
                <a:gd name="connsiteX12" fmla="*/ 5165326 w 5725438"/>
                <a:gd name="connsiteY12" fmla="*/ 2031039 h 5758990"/>
                <a:gd name="connsiteX13" fmla="*/ 4456660 w 5725438"/>
                <a:gd name="connsiteY13" fmla="*/ 1019468 h 5758990"/>
                <a:gd name="connsiteX14" fmla="*/ 3805311 w 5725438"/>
                <a:gd name="connsiteY14" fmla="*/ 436029 h 5758990"/>
                <a:gd name="connsiteX0" fmla="*/ 3805377 w 5725504"/>
                <a:gd name="connsiteY0" fmla="*/ 436029 h 5758990"/>
                <a:gd name="connsiteX1" fmla="*/ 2561645 w 5725504"/>
                <a:gd name="connsiteY1" fmla="*/ 182 h 5758990"/>
                <a:gd name="connsiteX2" fmla="*/ 1419967 w 5725504"/>
                <a:gd name="connsiteY2" fmla="*/ 481167 h 5758990"/>
                <a:gd name="connsiteX3" fmla="*/ 420998 w 5725504"/>
                <a:gd name="connsiteY3" fmla="*/ 1950550 h 5758990"/>
                <a:gd name="connsiteX4" fmla="*/ 1008 w 5725504"/>
                <a:gd name="connsiteY4" fmla="*/ 3795206 h 5758990"/>
                <a:gd name="connsiteX5" fmla="*/ 335626 w 5725504"/>
                <a:gd name="connsiteY5" fmla="*/ 4979571 h 5758990"/>
                <a:gd name="connsiteX6" fmla="*/ 1203259 w 5725504"/>
                <a:gd name="connsiteY6" fmla="*/ 5559354 h 5758990"/>
                <a:gd name="connsiteX7" fmla="*/ 2687992 w 5725504"/>
                <a:gd name="connsiteY7" fmla="*/ 5757350 h 5758990"/>
                <a:gd name="connsiteX8" fmla="*/ 4305877 w 5725504"/>
                <a:gd name="connsiteY8" fmla="*/ 5465440 h 5758990"/>
                <a:gd name="connsiteX9" fmla="*/ 5294274 w 5725504"/>
                <a:gd name="connsiteY9" fmla="*/ 4894601 h 5758990"/>
                <a:gd name="connsiteX10" fmla="*/ 5672402 w 5725504"/>
                <a:gd name="connsiteY10" fmla="*/ 4263569 h 5758990"/>
                <a:gd name="connsiteX11" fmla="*/ 5677688 w 5725504"/>
                <a:gd name="connsiteY11" fmla="*/ 3393505 h 5758990"/>
                <a:gd name="connsiteX12" fmla="*/ 5165392 w 5725504"/>
                <a:gd name="connsiteY12" fmla="*/ 2031039 h 5758990"/>
                <a:gd name="connsiteX13" fmla="*/ 4456726 w 5725504"/>
                <a:gd name="connsiteY13" fmla="*/ 1019468 h 5758990"/>
                <a:gd name="connsiteX14" fmla="*/ 3805377 w 5725504"/>
                <a:gd name="connsiteY14" fmla="*/ 436029 h 5758990"/>
                <a:gd name="connsiteX0" fmla="*/ 3805377 w 5725504"/>
                <a:gd name="connsiteY0" fmla="*/ 454501 h 5777462"/>
                <a:gd name="connsiteX1" fmla="*/ 2580154 w 5725504"/>
                <a:gd name="connsiteY1" fmla="*/ 144 h 5777462"/>
                <a:gd name="connsiteX2" fmla="*/ 1419967 w 5725504"/>
                <a:gd name="connsiteY2" fmla="*/ 499639 h 5777462"/>
                <a:gd name="connsiteX3" fmla="*/ 420998 w 5725504"/>
                <a:gd name="connsiteY3" fmla="*/ 1969022 h 5777462"/>
                <a:gd name="connsiteX4" fmla="*/ 1008 w 5725504"/>
                <a:gd name="connsiteY4" fmla="*/ 3813678 h 5777462"/>
                <a:gd name="connsiteX5" fmla="*/ 335626 w 5725504"/>
                <a:gd name="connsiteY5" fmla="*/ 4998043 h 5777462"/>
                <a:gd name="connsiteX6" fmla="*/ 1203259 w 5725504"/>
                <a:gd name="connsiteY6" fmla="*/ 5577826 h 5777462"/>
                <a:gd name="connsiteX7" fmla="*/ 2687992 w 5725504"/>
                <a:gd name="connsiteY7" fmla="*/ 5775822 h 5777462"/>
                <a:gd name="connsiteX8" fmla="*/ 4305877 w 5725504"/>
                <a:gd name="connsiteY8" fmla="*/ 5483912 h 5777462"/>
                <a:gd name="connsiteX9" fmla="*/ 5294274 w 5725504"/>
                <a:gd name="connsiteY9" fmla="*/ 4913073 h 5777462"/>
                <a:gd name="connsiteX10" fmla="*/ 5672402 w 5725504"/>
                <a:gd name="connsiteY10" fmla="*/ 4282041 h 5777462"/>
                <a:gd name="connsiteX11" fmla="*/ 5677688 w 5725504"/>
                <a:gd name="connsiteY11" fmla="*/ 3411977 h 5777462"/>
                <a:gd name="connsiteX12" fmla="*/ 5165392 w 5725504"/>
                <a:gd name="connsiteY12" fmla="*/ 2049511 h 5777462"/>
                <a:gd name="connsiteX13" fmla="*/ 4456726 w 5725504"/>
                <a:gd name="connsiteY13" fmla="*/ 1037940 h 5777462"/>
                <a:gd name="connsiteX14" fmla="*/ 3805377 w 5725504"/>
                <a:gd name="connsiteY14" fmla="*/ 454501 h 5777462"/>
                <a:gd name="connsiteX0" fmla="*/ 3805377 w 5725504"/>
                <a:gd name="connsiteY0" fmla="*/ 454541 h 5777502"/>
                <a:gd name="connsiteX1" fmla="*/ 2580154 w 5725504"/>
                <a:gd name="connsiteY1" fmla="*/ 184 h 5777502"/>
                <a:gd name="connsiteX2" fmla="*/ 1419967 w 5725504"/>
                <a:gd name="connsiteY2" fmla="*/ 499679 h 5777502"/>
                <a:gd name="connsiteX3" fmla="*/ 420998 w 5725504"/>
                <a:gd name="connsiteY3" fmla="*/ 1969062 h 5777502"/>
                <a:gd name="connsiteX4" fmla="*/ 1008 w 5725504"/>
                <a:gd name="connsiteY4" fmla="*/ 3813718 h 5777502"/>
                <a:gd name="connsiteX5" fmla="*/ 335626 w 5725504"/>
                <a:gd name="connsiteY5" fmla="*/ 4998083 h 5777502"/>
                <a:gd name="connsiteX6" fmla="*/ 1203259 w 5725504"/>
                <a:gd name="connsiteY6" fmla="*/ 5577866 h 5777502"/>
                <a:gd name="connsiteX7" fmla="*/ 2687992 w 5725504"/>
                <a:gd name="connsiteY7" fmla="*/ 5775862 h 5777502"/>
                <a:gd name="connsiteX8" fmla="*/ 4305877 w 5725504"/>
                <a:gd name="connsiteY8" fmla="*/ 5483952 h 5777502"/>
                <a:gd name="connsiteX9" fmla="*/ 5294274 w 5725504"/>
                <a:gd name="connsiteY9" fmla="*/ 4913113 h 5777502"/>
                <a:gd name="connsiteX10" fmla="*/ 5672402 w 5725504"/>
                <a:gd name="connsiteY10" fmla="*/ 4282081 h 5777502"/>
                <a:gd name="connsiteX11" fmla="*/ 5677688 w 5725504"/>
                <a:gd name="connsiteY11" fmla="*/ 3412017 h 5777502"/>
                <a:gd name="connsiteX12" fmla="*/ 5165392 w 5725504"/>
                <a:gd name="connsiteY12" fmla="*/ 2049551 h 5777502"/>
                <a:gd name="connsiteX13" fmla="*/ 4456726 w 5725504"/>
                <a:gd name="connsiteY13" fmla="*/ 1037980 h 5777502"/>
                <a:gd name="connsiteX14" fmla="*/ 3805377 w 5725504"/>
                <a:gd name="connsiteY14" fmla="*/ 454541 h 5777502"/>
                <a:gd name="connsiteX0" fmla="*/ 3805377 w 5725504"/>
                <a:gd name="connsiteY0" fmla="*/ 455068 h 5778029"/>
                <a:gd name="connsiteX1" fmla="*/ 2580154 w 5725504"/>
                <a:gd name="connsiteY1" fmla="*/ 711 h 5778029"/>
                <a:gd name="connsiteX2" fmla="*/ 1355185 w 5725504"/>
                <a:gd name="connsiteY2" fmla="*/ 546479 h 5778029"/>
                <a:gd name="connsiteX3" fmla="*/ 420998 w 5725504"/>
                <a:gd name="connsiteY3" fmla="*/ 1969589 h 5778029"/>
                <a:gd name="connsiteX4" fmla="*/ 1008 w 5725504"/>
                <a:gd name="connsiteY4" fmla="*/ 3814245 h 5778029"/>
                <a:gd name="connsiteX5" fmla="*/ 335626 w 5725504"/>
                <a:gd name="connsiteY5" fmla="*/ 4998610 h 5778029"/>
                <a:gd name="connsiteX6" fmla="*/ 1203259 w 5725504"/>
                <a:gd name="connsiteY6" fmla="*/ 5578393 h 5778029"/>
                <a:gd name="connsiteX7" fmla="*/ 2687992 w 5725504"/>
                <a:gd name="connsiteY7" fmla="*/ 5776389 h 5778029"/>
                <a:gd name="connsiteX8" fmla="*/ 4305877 w 5725504"/>
                <a:gd name="connsiteY8" fmla="*/ 5484479 h 5778029"/>
                <a:gd name="connsiteX9" fmla="*/ 5294274 w 5725504"/>
                <a:gd name="connsiteY9" fmla="*/ 4913640 h 5778029"/>
                <a:gd name="connsiteX10" fmla="*/ 5672402 w 5725504"/>
                <a:gd name="connsiteY10" fmla="*/ 4282608 h 5778029"/>
                <a:gd name="connsiteX11" fmla="*/ 5677688 w 5725504"/>
                <a:gd name="connsiteY11" fmla="*/ 3412544 h 5778029"/>
                <a:gd name="connsiteX12" fmla="*/ 5165392 w 5725504"/>
                <a:gd name="connsiteY12" fmla="*/ 2050078 h 5778029"/>
                <a:gd name="connsiteX13" fmla="*/ 4456726 w 5725504"/>
                <a:gd name="connsiteY13" fmla="*/ 1038507 h 5778029"/>
                <a:gd name="connsiteX14" fmla="*/ 3805377 w 5725504"/>
                <a:gd name="connsiteY14" fmla="*/ 455068 h 5778029"/>
                <a:gd name="connsiteX0" fmla="*/ 3805377 w 5725504"/>
                <a:gd name="connsiteY0" fmla="*/ 455068 h 5778029"/>
                <a:gd name="connsiteX1" fmla="*/ 2580154 w 5725504"/>
                <a:gd name="connsiteY1" fmla="*/ 711 h 5778029"/>
                <a:gd name="connsiteX2" fmla="*/ 1355185 w 5725504"/>
                <a:gd name="connsiteY2" fmla="*/ 546479 h 5778029"/>
                <a:gd name="connsiteX3" fmla="*/ 420998 w 5725504"/>
                <a:gd name="connsiteY3" fmla="*/ 1969589 h 5778029"/>
                <a:gd name="connsiteX4" fmla="*/ 1008 w 5725504"/>
                <a:gd name="connsiteY4" fmla="*/ 3814245 h 5778029"/>
                <a:gd name="connsiteX5" fmla="*/ 335626 w 5725504"/>
                <a:gd name="connsiteY5" fmla="*/ 4998610 h 5778029"/>
                <a:gd name="connsiteX6" fmla="*/ 1203259 w 5725504"/>
                <a:gd name="connsiteY6" fmla="*/ 5578393 h 5778029"/>
                <a:gd name="connsiteX7" fmla="*/ 2687992 w 5725504"/>
                <a:gd name="connsiteY7" fmla="*/ 5776389 h 5778029"/>
                <a:gd name="connsiteX8" fmla="*/ 4305877 w 5725504"/>
                <a:gd name="connsiteY8" fmla="*/ 5484479 h 5778029"/>
                <a:gd name="connsiteX9" fmla="*/ 5294274 w 5725504"/>
                <a:gd name="connsiteY9" fmla="*/ 4913640 h 5778029"/>
                <a:gd name="connsiteX10" fmla="*/ 5672402 w 5725504"/>
                <a:gd name="connsiteY10" fmla="*/ 4282608 h 5778029"/>
                <a:gd name="connsiteX11" fmla="*/ 5677688 w 5725504"/>
                <a:gd name="connsiteY11" fmla="*/ 3412544 h 5778029"/>
                <a:gd name="connsiteX12" fmla="*/ 5165392 w 5725504"/>
                <a:gd name="connsiteY12" fmla="*/ 2050078 h 5778029"/>
                <a:gd name="connsiteX13" fmla="*/ 4456726 w 5725504"/>
                <a:gd name="connsiteY13" fmla="*/ 1038507 h 5778029"/>
                <a:gd name="connsiteX14" fmla="*/ 3805377 w 5725504"/>
                <a:gd name="connsiteY14" fmla="*/ 455068 h 5778029"/>
                <a:gd name="connsiteX0" fmla="*/ 3804857 w 5724984"/>
                <a:gd name="connsiteY0" fmla="*/ 455068 h 5778029"/>
                <a:gd name="connsiteX1" fmla="*/ 2579634 w 5724984"/>
                <a:gd name="connsiteY1" fmla="*/ 711 h 5778029"/>
                <a:gd name="connsiteX2" fmla="*/ 1354665 w 5724984"/>
                <a:gd name="connsiteY2" fmla="*/ 546479 h 5778029"/>
                <a:gd name="connsiteX3" fmla="*/ 392714 w 5724984"/>
                <a:gd name="connsiteY3" fmla="*/ 2015862 h 5778029"/>
                <a:gd name="connsiteX4" fmla="*/ 488 w 5724984"/>
                <a:gd name="connsiteY4" fmla="*/ 3814245 h 5778029"/>
                <a:gd name="connsiteX5" fmla="*/ 335106 w 5724984"/>
                <a:gd name="connsiteY5" fmla="*/ 4998610 h 5778029"/>
                <a:gd name="connsiteX6" fmla="*/ 1202739 w 5724984"/>
                <a:gd name="connsiteY6" fmla="*/ 5578393 h 5778029"/>
                <a:gd name="connsiteX7" fmla="*/ 2687472 w 5724984"/>
                <a:gd name="connsiteY7" fmla="*/ 5776389 h 5778029"/>
                <a:gd name="connsiteX8" fmla="*/ 4305357 w 5724984"/>
                <a:gd name="connsiteY8" fmla="*/ 5484479 h 5778029"/>
                <a:gd name="connsiteX9" fmla="*/ 5293754 w 5724984"/>
                <a:gd name="connsiteY9" fmla="*/ 4913640 h 5778029"/>
                <a:gd name="connsiteX10" fmla="*/ 5671882 w 5724984"/>
                <a:gd name="connsiteY10" fmla="*/ 4282608 h 5778029"/>
                <a:gd name="connsiteX11" fmla="*/ 5677168 w 5724984"/>
                <a:gd name="connsiteY11" fmla="*/ 3412544 h 5778029"/>
                <a:gd name="connsiteX12" fmla="*/ 5164872 w 5724984"/>
                <a:gd name="connsiteY12" fmla="*/ 2050078 h 5778029"/>
                <a:gd name="connsiteX13" fmla="*/ 4456206 w 5724984"/>
                <a:gd name="connsiteY13" fmla="*/ 1038507 h 5778029"/>
                <a:gd name="connsiteX14" fmla="*/ 3804857 w 5724984"/>
                <a:gd name="connsiteY14" fmla="*/ 455068 h 5778029"/>
                <a:gd name="connsiteX0" fmla="*/ 3804857 w 5724984"/>
                <a:gd name="connsiteY0" fmla="*/ 455068 h 5776712"/>
                <a:gd name="connsiteX1" fmla="*/ 2579634 w 5724984"/>
                <a:gd name="connsiteY1" fmla="*/ 711 h 5776712"/>
                <a:gd name="connsiteX2" fmla="*/ 1354665 w 5724984"/>
                <a:gd name="connsiteY2" fmla="*/ 546479 h 5776712"/>
                <a:gd name="connsiteX3" fmla="*/ 392714 w 5724984"/>
                <a:gd name="connsiteY3" fmla="*/ 2015862 h 5776712"/>
                <a:gd name="connsiteX4" fmla="*/ 488 w 5724984"/>
                <a:gd name="connsiteY4" fmla="*/ 3814245 h 5776712"/>
                <a:gd name="connsiteX5" fmla="*/ 335106 w 5724984"/>
                <a:gd name="connsiteY5" fmla="*/ 4998610 h 5776712"/>
                <a:gd name="connsiteX6" fmla="*/ 1202739 w 5724984"/>
                <a:gd name="connsiteY6" fmla="*/ 5578393 h 5776712"/>
                <a:gd name="connsiteX7" fmla="*/ 2687472 w 5724984"/>
                <a:gd name="connsiteY7" fmla="*/ 5776389 h 5776712"/>
                <a:gd name="connsiteX8" fmla="*/ 4305357 w 5724984"/>
                <a:gd name="connsiteY8" fmla="*/ 5484479 h 5776712"/>
                <a:gd name="connsiteX9" fmla="*/ 5293754 w 5724984"/>
                <a:gd name="connsiteY9" fmla="*/ 4913640 h 5776712"/>
                <a:gd name="connsiteX10" fmla="*/ 5671882 w 5724984"/>
                <a:gd name="connsiteY10" fmla="*/ 4282608 h 5776712"/>
                <a:gd name="connsiteX11" fmla="*/ 5677168 w 5724984"/>
                <a:gd name="connsiteY11" fmla="*/ 3412544 h 5776712"/>
                <a:gd name="connsiteX12" fmla="*/ 5164872 w 5724984"/>
                <a:gd name="connsiteY12" fmla="*/ 2050078 h 5776712"/>
                <a:gd name="connsiteX13" fmla="*/ 4456206 w 5724984"/>
                <a:gd name="connsiteY13" fmla="*/ 1038507 h 5776712"/>
                <a:gd name="connsiteX14" fmla="*/ 3804857 w 5724984"/>
                <a:gd name="connsiteY14" fmla="*/ 455068 h 5776712"/>
                <a:gd name="connsiteX0" fmla="*/ 3804857 w 5733896"/>
                <a:gd name="connsiteY0" fmla="*/ 455068 h 5776712"/>
                <a:gd name="connsiteX1" fmla="*/ 2579634 w 5733896"/>
                <a:gd name="connsiteY1" fmla="*/ 711 h 5776712"/>
                <a:gd name="connsiteX2" fmla="*/ 1354665 w 5733896"/>
                <a:gd name="connsiteY2" fmla="*/ 546479 h 5776712"/>
                <a:gd name="connsiteX3" fmla="*/ 392714 w 5733896"/>
                <a:gd name="connsiteY3" fmla="*/ 2015862 h 5776712"/>
                <a:gd name="connsiteX4" fmla="*/ 488 w 5733896"/>
                <a:gd name="connsiteY4" fmla="*/ 3814245 h 5776712"/>
                <a:gd name="connsiteX5" fmla="*/ 335106 w 5733896"/>
                <a:gd name="connsiteY5" fmla="*/ 4998610 h 5776712"/>
                <a:gd name="connsiteX6" fmla="*/ 1202739 w 5733896"/>
                <a:gd name="connsiteY6" fmla="*/ 5578393 h 5776712"/>
                <a:gd name="connsiteX7" fmla="*/ 2687472 w 5733896"/>
                <a:gd name="connsiteY7" fmla="*/ 5776389 h 5776712"/>
                <a:gd name="connsiteX8" fmla="*/ 4305357 w 5733896"/>
                <a:gd name="connsiteY8" fmla="*/ 5484479 h 5776712"/>
                <a:gd name="connsiteX9" fmla="*/ 5293754 w 5733896"/>
                <a:gd name="connsiteY9" fmla="*/ 4913640 h 5776712"/>
                <a:gd name="connsiteX10" fmla="*/ 5690391 w 5733896"/>
                <a:gd name="connsiteY10" fmla="*/ 4301117 h 5776712"/>
                <a:gd name="connsiteX11" fmla="*/ 5677168 w 5733896"/>
                <a:gd name="connsiteY11" fmla="*/ 3412544 h 5776712"/>
                <a:gd name="connsiteX12" fmla="*/ 5164872 w 5733896"/>
                <a:gd name="connsiteY12" fmla="*/ 2050078 h 5776712"/>
                <a:gd name="connsiteX13" fmla="*/ 4456206 w 5733896"/>
                <a:gd name="connsiteY13" fmla="*/ 1038507 h 5776712"/>
                <a:gd name="connsiteX14" fmla="*/ 3804857 w 5733896"/>
                <a:gd name="connsiteY14" fmla="*/ 455068 h 5776712"/>
                <a:gd name="connsiteX0" fmla="*/ 3804857 w 5729250"/>
                <a:gd name="connsiteY0" fmla="*/ 455068 h 5776712"/>
                <a:gd name="connsiteX1" fmla="*/ 2579634 w 5729250"/>
                <a:gd name="connsiteY1" fmla="*/ 711 h 5776712"/>
                <a:gd name="connsiteX2" fmla="*/ 1354665 w 5729250"/>
                <a:gd name="connsiteY2" fmla="*/ 546479 h 5776712"/>
                <a:gd name="connsiteX3" fmla="*/ 392714 w 5729250"/>
                <a:gd name="connsiteY3" fmla="*/ 2015862 h 5776712"/>
                <a:gd name="connsiteX4" fmla="*/ 488 w 5729250"/>
                <a:gd name="connsiteY4" fmla="*/ 3814245 h 5776712"/>
                <a:gd name="connsiteX5" fmla="*/ 335106 w 5729250"/>
                <a:gd name="connsiteY5" fmla="*/ 4998610 h 5776712"/>
                <a:gd name="connsiteX6" fmla="*/ 1202739 w 5729250"/>
                <a:gd name="connsiteY6" fmla="*/ 5578393 h 5776712"/>
                <a:gd name="connsiteX7" fmla="*/ 2687472 w 5729250"/>
                <a:gd name="connsiteY7" fmla="*/ 5776389 h 5776712"/>
                <a:gd name="connsiteX8" fmla="*/ 4305357 w 5729250"/>
                <a:gd name="connsiteY8" fmla="*/ 5484479 h 5776712"/>
                <a:gd name="connsiteX9" fmla="*/ 5293754 w 5729250"/>
                <a:gd name="connsiteY9" fmla="*/ 4913640 h 5776712"/>
                <a:gd name="connsiteX10" fmla="*/ 5681136 w 5729250"/>
                <a:gd name="connsiteY10" fmla="*/ 4301117 h 5776712"/>
                <a:gd name="connsiteX11" fmla="*/ 5677168 w 5729250"/>
                <a:gd name="connsiteY11" fmla="*/ 3412544 h 5776712"/>
                <a:gd name="connsiteX12" fmla="*/ 5164872 w 5729250"/>
                <a:gd name="connsiteY12" fmla="*/ 2050078 h 5776712"/>
                <a:gd name="connsiteX13" fmla="*/ 4456206 w 5729250"/>
                <a:gd name="connsiteY13" fmla="*/ 1038507 h 5776712"/>
                <a:gd name="connsiteX14" fmla="*/ 3804857 w 5729250"/>
                <a:gd name="connsiteY14" fmla="*/ 455068 h 5776712"/>
                <a:gd name="connsiteX0" fmla="*/ 3804857 w 5733101"/>
                <a:gd name="connsiteY0" fmla="*/ 455068 h 5776712"/>
                <a:gd name="connsiteX1" fmla="*/ 2579634 w 5733101"/>
                <a:gd name="connsiteY1" fmla="*/ 711 h 5776712"/>
                <a:gd name="connsiteX2" fmla="*/ 1354665 w 5733101"/>
                <a:gd name="connsiteY2" fmla="*/ 546479 h 5776712"/>
                <a:gd name="connsiteX3" fmla="*/ 392714 w 5733101"/>
                <a:gd name="connsiteY3" fmla="*/ 2015862 h 5776712"/>
                <a:gd name="connsiteX4" fmla="*/ 488 w 5733101"/>
                <a:gd name="connsiteY4" fmla="*/ 3814245 h 5776712"/>
                <a:gd name="connsiteX5" fmla="*/ 335106 w 5733101"/>
                <a:gd name="connsiteY5" fmla="*/ 4998610 h 5776712"/>
                <a:gd name="connsiteX6" fmla="*/ 1202739 w 5733101"/>
                <a:gd name="connsiteY6" fmla="*/ 5578393 h 5776712"/>
                <a:gd name="connsiteX7" fmla="*/ 2687472 w 5733101"/>
                <a:gd name="connsiteY7" fmla="*/ 5776389 h 5776712"/>
                <a:gd name="connsiteX8" fmla="*/ 4305357 w 5733101"/>
                <a:gd name="connsiteY8" fmla="*/ 5484479 h 5776712"/>
                <a:gd name="connsiteX9" fmla="*/ 5293754 w 5733101"/>
                <a:gd name="connsiteY9" fmla="*/ 4913640 h 5776712"/>
                <a:gd name="connsiteX10" fmla="*/ 5681136 w 5733101"/>
                <a:gd name="connsiteY10" fmla="*/ 4301117 h 5776712"/>
                <a:gd name="connsiteX11" fmla="*/ 5677168 w 5733101"/>
                <a:gd name="connsiteY11" fmla="*/ 3412544 h 5776712"/>
                <a:gd name="connsiteX12" fmla="*/ 5164872 w 5733101"/>
                <a:gd name="connsiteY12" fmla="*/ 2050078 h 5776712"/>
                <a:gd name="connsiteX13" fmla="*/ 4456206 w 5733101"/>
                <a:gd name="connsiteY13" fmla="*/ 1038507 h 5776712"/>
                <a:gd name="connsiteX14" fmla="*/ 3804857 w 5733101"/>
                <a:gd name="connsiteY14" fmla="*/ 455068 h 5776712"/>
                <a:gd name="connsiteX0" fmla="*/ 3804857 w 5723695"/>
                <a:gd name="connsiteY0" fmla="*/ 455068 h 5776712"/>
                <a:gd name="connsiteX1" fmla="*/ 2579634 w 5723695"/>
                <a:gd name="connsiteY1" fmla="*/ 711 h 5776712"/>
                <a:gd name="connsiteX2" fmla="*/ 1354665 w 5723695"/>
                <a:gd name="connsiteY2" fmla="*/ 546479 h 5776712"/>
                <a:gd name="connsiteX3" fmla="*/ 392714 w 5723695"/>
                <a:gd name="connsiteY3" fmla="*/ 2015862 h 5776712"/>
                <a:gd name="connsiteX4" fmla="*/ 488 w 5723695"/>
                <a:gd name="connsiteY4" fmla="*/ 3814245 h 5776712"/>
                <a:gd name="connsiteX5" fmla="*/ 335106 w 5723695"/>
                <a:gd name="connsiteY5" fmla="*/ 4998610 h 5776712"/>
                <a:gd name="connsiteX6" fmla="*/ 1202739 w 5723695"/>
                <a:gd name="connsiteY6" fmla="*/ 5578393 h 5776712"/>
                <a:gd name="connsiteX7" fmla="*/ 2687472 w 5723695"/>
                <a:gd name="connsiteY7" fmla="*/ 5776389 h 5776712"/>
                <a:gd name="connsiteX8" fmla="*/ 4305357 w 5723695"/>
                <a:gd name="connsiteY8" fmla="*/ 5484479 h 5776712"/>
                <a:gd name="connsiteX9" fmla="*/ 5293754 w 5723695"/>
                <a:gd name="connsiteY9" fmla="*/ 4913640 h 5776712"/>
                <a:gd name="connsiteX10" fmla="*/ 5681136 w 5723695"/>
                <a:gd name="connsiteY10" fmla="*/ 4301117 h 5776712"/>
                <a:gd name="connsiteX11" fmla="*/ 5649404 w 5723695"/>
                <a:gd name="connsiteY11" fmla="*/ 3282980 h 5776712"/>
                <a:gd name="connsiteX12" fmla="*/ 5164872 w 5723695"/>
                <a:gd name="connsiteY12" fmla="*/ 2050078 h 5776712"/>
                <a:gd name="connsiteX13" fmla="*/ 4456206 w 5723695"/>
                <a:gd name="connsiteY13" fmla="*/ 1038507 h 5776712"/>
                <a:gd name="connsiteX14" fmla="*/ 3804857 w 5723695"/>
                <a:gd name="connsiteY14" fmla="*/ 455068 h 5776712"/>
                <a:gd name="connsiteX0" fmla="*/ 3804857 w 5720637"/>
                <a:gd name="connsiteY0" fmla="*/ 455068 h 5776712"/>
                <a:gd name="connsiteX1" fmla="*/ 2579634 w 5720637"/>
                <a:gd name="connsiteY1" fmla="*/ 711 h 5776712"/>
                <a:gd name="connsiteX2" fmla="*/ 1354665 w 5720637"/>
                <a:gd name="connsiteY2" fmla="*/ 546479 h 5776712"/>
                <a:gd name="connsiteX3" fmla="*/ 392714 w 5720637"/>
                <a:gd name="connsiteY3" fmla="*/ 2015862 h 5776712"/>
                <a:gd name="connsiteX4" fmla="*/ 488 w 5720637"/>
                <a:gd name="connsiteY4" fmla="*/ 3814245 h 5776712"/>
                <a:gd name="connsiteX5" fmla="*/ 335106 w 5720637"/>
                <a:gd name="connsiteY5" fmla="*/ 4998610 h 5776712"/>
                <a:gd name="connsiteX6" fmla="*/ 1202739 w 5720637"/>
                <a:gd name="connsiteY6" fmla="*/ 5578393 h 5776712"/>
                <a:gd name="connsiteX7" fmla="*/ 2687472 w 5720637"/>
                <a:gd name="connsiteY7" fmla="*/ 5776389 h 5776712"/>
                <a:gd name="connsiteX8" fmla="*/ 4305357 w 5720637"/>
                <a:gd name="connsiteY8" fmla="*/ 5484479 h 5776712"/>
                <a:gd name="connsiteX9" fmla="*/ 5293754 w 5720637"/>
                <a:gd name="connsiteY9" fmla="*/ 4913640 h 5776712"/>
                <a:gd name="connsiteX10" fmla="*/ 5681136 w 5720637"/>
                <a:gd name="connsiteY10" fmla="*/ 4301117 h 5776712"/>
                <a:gd name="connsiteX11" fmla="*/ 5649404 w 5720637"/>
                <a:gd name="connsiteY11" fmla="*/ 3282980 h 5776712"/>
                <a:gd name="connsiteX12" fmla="*/ 5164872 w 5720637"/>
                <a:gd name="connsiteY12" fmla="*/ 2050078 h 5776712"/>
                <a:gd name="connsiteX13" fmla="*/ 4456206 w 5720637"/>
                <a:gd name="connsiteY13" fmla="*/ 1038507 h 5776712"/>
                <a:gd name="connsiteX14" fmla="*/ 3804857 w 5720637"/>
                <a:gd name="connsiteY14" fmla="*/ 455068 h 5776712"/>
                <a:gd name="connsiteX0" fmla="*/ 3786348 w 5720637"/>
                <a:gd name="connsiteY0" fmla="*/ 436933 h 5777086"/>
                <a:gd name="connsiteX1" fmla="*/ 2579634 w 5720637"/>
                <a:gd name="connsiteY1" fmla="*/ 1085 h 5777086"/>
                <a:gd name="connsiteX2" fmla="*/ 1354665 w 5720637"/>
                <a:gd name="connsiteY2" fmla="*/ 546853 h 5777086"/>
                <a:gd name="connsiteX3" fmla="*/ 392714 w 5720637"/>
                <a:gd name="connsiteY3" fmla="*/ 2016236 h 5777086"/>
                <a:gd name="connsiteX4" fmla="*/ 488 w 5720637"/>
                <a:gd name="connsiteY4" fmla="*/ 3814619 h 5777086"/>
                <a:gd name="connsiteX5" fmla="*/ 335106 w 5720637"/>
                <a:gd name="connsiteY5" fmla="*/ 4998984 h 5777086"/>
                <a:gd name="connsiteX6" fmla="*/ 1202739 w 5720637"/>
                <a:gd name="connsiteY6" fmla="*/ 5578767 h 5777086"/>
                <a:gd name="connsiteX7" fmla="*/ 2687472 w 5720637"/>
                <a:gd name="connsiteY7" fmla="*/ 5776763 h 5777086"/>
                <a:gd name="connsiteX8" fmla="*/ 4305357 w 5720637"/>
                <a:gd name="connsiteY8" fmla="*/ 5484853 h 5777086"/>
                <a:gd name="connsiteX9" fmla="*/ 5293754 w 5720637"/>
                <a:gd name="connsiteY9" fmla="*/ 4914014 h 5777086"/>
                <a:gd name="connsiteX10" fmla="*/ 5681136 w 5720637"/>
                <a:gd name="connsiteY10" fmla="*/ 4301491 h 5777086"/>
                <a:gd name="connsiteX11" fmla="*/ 5649404 w 5720637"/>
                <a:gd name="connsiteY11" fmla="*/ 3283354 h 5777086"/>
                <a:gd name="connsiteX12" fmla="*/ 5164872 w 5720637"/>
                <a:gd name="connsiteY12" fmla="*/ 2050452 h 5777086"/>
                <a:gd name="connsiteX13" fmla="*/ 4456206 w 5720637"/>
                <a:gd name="connsiteY13" fmla="*/ 1038881 h 5777086"/>
                <a:gd name="connsiteX14" fmla="*/ 3786348 w 5720637"/>
                <a:gd name="connsiteY14" fmla="*/ 436933 h 5777086"/>
                <a:gd name="connsiteX0" fmla="*/ 3786348 w 5720637"/>
                <a:gd name="connsiteY0" fmla="*/ 436933 h 5777086"/>
                <a:gd name="connsiteX1" fmla="*/ 2579634 w 5720637"/>
                <a:gd name="connsiteY1" fmla="*/ 1085 h 5777086"/>
                <a:gd name="connsiteX2" fmla="*/ 1354665 w 5720637"/>
                <a:gd name="connsiteY2" fmla="*/ 546853 h 5777086"/>
                <a:gd name="connsiteX3" fmla="*/ 392714 w 5720637"/>
                <a:gd name="connsiteY3" fmla="*/ 2016236 h 5777086"/>
                <a:gd name="connsiteX4" fmla="*/ 488 w 5720637"/>
                <a:gd name="connsiteY4" fmla="*/ 3814619 h 5777086"/>
                <a:gd name="connsiteX5" fmla="*/ 335106 w 5720637"/>
                <a:gd name="connsiteY5" fmla="*/ 4998984 h 5777086"/>
                <a:gd name="connsiteX6" fmla="*/ 1202739 w 5720637"/>
                <a:gd name="connsiteY6" fmla="*/ 5578767 h 5777086"/>
                <a:gd name="connsiteX7" fmla="*/ 2687472 w 5720637"/>
                <a:gd name="connsiteY7" fmla="*/ 5776763 h 5777086"/>
                <a:gd name="connsiteX8" fmla="*/ 4305357 w 5720637"/>
                <a:gd name="connsiteY8" fmla="*/ 5484853 h 5777086"/>
                <a:gd name="connsiteX9" fmla="*/ 5293754 w 5720637"/>
                <a:gd name="connsiteY9" fmla="*/ 4914014 h 5777086"/>
                <a:gd name="connsiteX10" fmla="*/ 5681136 w 5720637"/>
                <a:gd name="connsiteY10" fmla="*/ 4301491 h 5777086"/>
                <a:gd name="connsiteX11" fmla="*/ 5649404 w 5720637"/>
                <a:gd name="connsiteY11" fmla="*/ 3283354 h 5777086"/>
                <a:gd name="connsiteX12" fmla="*/ 5164872 w 5720637"/>
                <a:gd name="connsiteY12" fmla="*/ 2050452 h 5777086"/>
                <a:gd name="connsiteX13" fmla="*/ 4456206 w 5720637"/>
                <a:gd name="connsiteY13" fmla="*/ 1038881 h 5777086"/>
                <a:gd name="connsiteX14" fmla="*/ 3786348 w 5720637"/>
                <a:gd name="connsiteY14" fmla="*/ 436933 h 5777086"/>
                <a:gd name="connsiteX0" fmla="*/ 3786348 w 5726811"/>
                <a:gd name="connsiteY0" fmla="*/ 436933 h 5777086"/>
                <a:gd name="connsiteX1" fmla="*/ 2579634 w 5726811"/>
                <a:gd name="connsiteY1" fmla="*/ 1085 h 5777086"/>
                <a:gd name="connsiteX2" fmla="*/ 1354665 w 5726811"/>
                <a:gd name="connsiteY2" fmla="*/ 546853 h 5777086"/>
                <a:gd name="connsiteX3" fmla="*/ 392714 w 5726811"/>
                <a:gd name="connsiteY3" fmla="*/ 2016236 h 5777086"/>
                <a:gd name="connsiteX4" fmla="*/ 488 w 5726811"/>
                <a:gd name="connsiteY4" fmla="*/ 3814619 h 5777086"/>
                <a:gd name="connsiteX5" fmla="*/ 335106 w 5726811"/>
                <a:gd name="connsiteY5" fmla="*/ 4998984 h 5777086"/>
                <a:gd name="connsiteX6" fmla="*/ 1202739 w 5726811"/>
                <a:gd name="connsiteY6" fmla="*/ 5578767 h 5777086"/>
                <a:gd name="connsiteX7" fmla="*/ 2687472 w 5726811"/>
                <a:gd name="connsiteY7" fmla="*/ 5776763 h 5777086"/>
                <a:gd name="connsiteX8" fmla="*/ 4305357 w 5726811"/>
                <a:gd name="connsiteY8" fmla="*/ 5484853 h 5777086"/>
                <a:gd name="connsiteX9" fmla="*/ 5293754 w 5726811"/>
                <a:gd name="connsiteY9" fmla="*/ 4914014 h 5777086"/>
                <a:gd name="connsiteX10" fmla="*/ 5690392 w 5726811"/>
                <a:gd name="connsiteY10" fmla="*/ 4255218 h 5777086"/>
                <a:gd name="connsiteX11" fmla="*/ 5649404 w 5726811"/>
                <a:gd name="connsiteY11" fmla="*/ 3283354 h 5777086"/>
                <a:gd name="connsiteX12" fmla="*/ 5164872 w 5726811"/>
                <a:gd name="connsiteY12" fmla="*/ 2050452 h 5777086"/>
                <a:gd name="connsiteX13" fmla="*/ 4456206 w 5726811"/>
                <a:gd name="connsiteY13" fmla="*/ 1038881 h 5777086"/>
                <a:gd name="connsiteX14" fmla="*/ 3786348 w 5726811"/>
                <a:gd name="connsiteY14" fmla="*/ 436933 h 5777086"/>
                <a:gd name="connsiteX0" fmla="*/ 3786348 w 5726811"/>
                <a:gd name="connsiteY0" fmla="*/ 436933 h 5777086"/>
                <a:gd name="connsiteX1" fmla="*/ 2579634 w 5726811"/>
                <a:gd name="connsiteY1" fmla="*/ 1085 h 5777086"/>
                <a:gd name="connsiteX2" fmla="*/ 1354665 w 5726811"/>
                <a:gd name="connsiteY2" fmla="*/ 546853 h 5777086"/>
                <a:gd name="connsiteX3" fmla="*/ 392714 w 5726811"/>
                <a:gd name="connsiteY3" fmla="*/ 2016236 h 5777086"/>
                <a:gd name="connsiteX4" fmla="*/ 488 w 5726811"/>
                <a:gd name="connsiteY4" fmla="*/ 3814619 h 5777086"/>
                <a:gd name="connsiteX5" fmla="*/ 335106 w 5726811"/>
                <a:gd name="connsiteY5" fmla="*/ 4998984 h 5777086"/>
                <a:gd name="connsiteX6" fmla="*/ 1202739 w 5726811"/>
                <a:gd name="connsiteY6" fmla="*/ 5578767 h 5777086"/>
                <a:gd name="connsiteX7" fmla="*/ 2687472 w 5726811"/>
                <a:gd name="connsiteY7" fmla="*/ 5776763 h 5777086"/>
                <a:gd name="connsiteX8" fmla="*/ 4305357 w 5726811"/>
                <a:gd name="connsiteY8" fmla="*/ 5484853 h 5777086"/>
                <a:gd name="connsiteX9" fmla="*/ 5293754 w 5726811"/>
                <a:gd name="connsiteY9" fmla="*/ 4914014 h 5777086"/>
                <a:gd name="connsiteX10" fmla="*/ 5690392 w 5726811"/>
                <a:gd name="connsiteY10" fmla="*/ 4255218 h 5777086"/>
                <a:gd name="connsiteX11" fmla="*/ 5649404 w 5726811"/>
                <a:gd name="connsiteY11" fmla="*/ 3283354 h 5777086"/>
                <a:gd name="connsiteX12" fmla="*/ 5164872 w 5726811"/>
                <a:gd name="connsiteY12" fmla="*/ 2050452 h 5777086"/>
                <a:gd name="connsiteX13" fmla="*/ 4456206 w 5726811"/>
                <a:gd name="connsiteY13" fmla="*/ 1038881 h 5777086"/>
                <a:gd name="connsiteX14" fmla="*/ 3786348 w 5726811"/>
                <a:gd name="connsiteY14" fmla="*/ 436933 h 5777086"/>
                <a:gd name="connsiteX0" fmla="*/ 3786348 w 5728799"/>
                <a:gd name="connsiteY0" fmla="*/ 436933 h 5777086"/>
                <a:gd name="connsiteX1" fmla="*/ 2579634 w 5728799"/>
                <a:gd name="connsiteY1" fmla="*/ 1085 h 5777086"/>
                <a:gd name="connsiteX2" fmla="*/ 1354665 w 5728799"/>
                <a:gd name="connsiteY2" fmla="*/ 546853 h 5777086"/>
                <a:gd name="connsiteX3" fmla="*/ 392714 w 5728799"/>
                <a:gd name="connsiteY3" fmla="*/ 2016236 h 5777086"/>
                <a:gd name="connsiteX4" fmla="*/ 488 w 5728799"/>
                <a:gd name="connsiteY4" fmla="*/ 3814619 h 5777086"/>
                <a:gd name="connsiteX5" fmla="*/ 335106 w 5728799"/>
                <a:gd name="connsiteY5" fmla="*/ 4998984 h 5777086"/>
                <a:gd name="connsiteX6" fmla="*/ 1202739 w 5728799"/>
                <a:gd name="connsiteY6" fmla="*/ 5578767 h 5777086"/>
                <a:gd name="connsiteX7" fmla="*/ 2687472 w 5728799"/>
                <a:gd name="connsiteY7" fmla="*/ 5776763 h 5777086"/>
                <a:gd name="connsiteX8" fmla="*/ 4305357 w 5728799"/>
                <a:gd name="connsiteY8" fmla="*/ 5484853 h 5777086"/>
                <a:gd name="connsiteX9" fmla="*/ 5265991 w 5728799"/>
                <a:gd name="connsiteY9" fmla="*/ 4923269 h 5777086"/>
                <a:gd name="connsiteX10" fmla="*/ 5690392 w 5728799"/>
                <a:gd name="connsiteY10" fmla="*/ 4255218 h 5777086"/>
                <a:gd name="connsiteX11" fmla="*/ 5649404 w 5728799"/>
                <a:gd name="connsiteY11" fmla="*/ 3283354 h 5777086"/>
                <a:gd name="connsiteX12" fmla="*/ 5164872 w 5728799"/>
                <a:gd name="connsiteY12" fmla="*/ 2050452 h 5777086"/>
                <a:gd name="connsiteX13" fmla="*/ 4456206 w 5728799"/>
                <a:gd name="connsiteY13" fmla="*/ 1038881 h 5777086"/>
                <a:gd name="connsiteX14" fmla="*/ 3786348 w 5728799"/>
                <a:gd name="connsiteY14" fmla="*/ 436933 h 5777086"/>
                <a:gd name="connsiteX0" fmla="*/ 3786348 w 5728799"/>
                <a:gd name="connsiteY0" fmla="*/ 436933 h 5777086"/>
                <a:gd name="connsiteX1" fmla="*/ 2579634 w 5728799"/>
                <a:gd name="connsiteY1" fmla="*/ 1085 h 5777086"/>
                <a:gd name="connsiteX2" fmla="*/ 1354665 w 5728799"/>
                <a:gd name="connsiteY2" fmla="*/ 546853 h 5777086"/>
                <a:gd name="connsiteX3" fmla="*/ 392714 w 5728799"/>
                <a:gd name="connsiteY3" fmla="*/ 2016236 h 5777086"/>
                <a:gd name="connsiteX4" fmla="*/ 488 w 5728799"/>
                <a:gd name="connsiteY4" fmla="*/ 3814619 h 5777086"/>
                <a:gd name="connsiteX5" fmla="*/ 335106 w 5728799"/>
                <a:gd name="connsiteY5" fmla="*/ 4998984 h 5777086"/>
                <a:gd name="connsiteX6" fmla="*/ 1202739 w 5728799"/>
                <a:gd name="connsiteY6" fmla="*/ 5578767 h 5777086"/>
                <a:gd name="connsiteX7" fmla="*/ 2687472 w 5728799"/>
                <a:gd name="connsiteY7" fmla="*/ 5776763 h 5777086"/>
                <a:gd name="connsiteX8" fmla="*/ 4305357 w 5728799"/>
                <a:gd name="connsiteY8" fmla="*/ 5484853 h 5777086"/>
                <a:gd name="connsiteX9" fmla="*/ 5265991 w 5728799"/>
                <a:gd name="connsiteY9" fmla="*/ 4932523 h 5777086"/>
                <a:gd name="connsiteX10" fmla="*/ 5690392 w 5728799"/>
                <a:gd name="connsiteY10" fmla="*/ 4255218 h 5777086"/>
                <a:gd name="connsiteX11" fmla="*/ 5649404 w 5728799"/>
                <a:gd name="connsiteY11" fmla="*/ 3283354 h 5777086"/>
                <a:gd name="connsiteX12" fmla="*/ 5164872 w 5728799"/>
                <a:gd name="connsiteY12" fmla="*/ 2050452 h 5777086"/>
                <a:gd name="connsiteX13" fmla="*/ 4456206 w 5728799"/>
                <a:gd name="connsiteY13" fmla="*/ 1038881 h 5777086"/>
                <a:gd name="connsiteX14" fmla="*/ 3786348 w 5728799"/>
                <a:gd name="connsiteY14" fmla="*/ 436933 h 5777086"/>
                <a:gd name="connsiteX0" fmla="*/ 3786348 w 5728799"/>
                <a:gd name="connsiteY0" fmla="*/ 436933 h 5777086"/>
                <a:gd name="connsiteX1" fmla="*/ 2579634 w 5728799"/>
                <a:gd name="connsiteY1" fmla="*/ 1085 h 5777086"/>
                <a:gd name="connsiteX2" fmla="*/ 1354665 w 5728799"/>
                <a:gd name="connsiteY2" fmla="*/ 546853 h 5777086"/>
                <a:gd name="connsiteX3" fmla="*/ 392714 w 5728799"/>
                <a:gd name="connsiteY3" fmla="*/ 2016236 h 5777086"/>
                <a:gd name="connsiteX4" fmla="*/ 488 w 5728799"/>
                <a:gd name="connsiteY4" fmla="*/ 3814619 h 5777086"/>
                <a:gd name="connsiteX5" fmla="*/ 335106 w 5728799"/>
                <a:gd name="connsiteY5" fmla="*/ 4998984 h 5777086"/>
                <a:gd name="connsiteX6" fmla="*/ 1202739 w 5728799"/>
                <a:gd name="connsiteY6" fmla="*/ 5578767 h 5777086"/>
                <a:gd name="connsiteX7" fmla="*/ 2687472 w 5728799"/>
                <a:gd name="connsiteY7" fmla="*/ 5776763 h 5777086"/>
                <a:gd name="connsiteX8" fmla="*/ 4305357 w 5728799"/>
                <a:gd name="connsiteY8" fmla="*/ 5484853 h 5777086"/>
                <a:gd name="connsiteX9" fmla="*/ 5265991 w 5728799"/>
                <a:gd name="connsiteY9" fmla="*/ 4941777 h 5777086"/>
                <a:gd name="connsiteX10" fmla="*/ 5690392 w 5728799"/>
                <a:gd name="connsiteY10" fmla="*/ 4255218 h 5777086"/>
                <a:gd name="connsiteX11" fmla="*/ 5649404 w 5728799"/>
                <a:gd name="connsiteY11" fmla="*/ 3283354 h 5777086"/>
                <a:gd name="connsiteX12" fmla="*/ 5164872 w 5728799"/>
                <a:gd name="connsiteY12" fmla="*/ 2050452 h 5777086"/>
                <a:gd name="connsiteX13" fmla="*/ 4456206 w 5728799"/>
                <a:gd name="connsiteY13" fmla="*/ 1038881 h 5777086"/>
                <a:gd name="connsiteX14" fmla="*/ 3786348 w 5728799"/>
                <a:gd name="connsiteY14" fmla="*/ 436933 h 5777086"/>
                <a:gd name="connsiteX0" fmla="*/ 3786348 w 5716670"/>
                <a:gd name="connsiteY0" fmla="*/ 436933 h 5777086"/>
                <a:gd name="connsiteX1" fmla="*/ 2579634 w 5716670"/>
                <a:gd name="connsiteY1" fmla="*/ 1085 h 5777086"/>
                <a:gd name="connsiteX2" fmla="*/ 1354665 w 5716670"/>
                <a:gd name="connsiteY2" fmla="*/ 546853 h 5777086"/>
                <a:gd name="connsiteX3" fmla="*/ 392714 w 5716670"/>
                <a:gd name="connsiteY3" fmla="*/ 2016236 h 5777086"/>
                <a:gd name="connsiteX4" fmla="*/ 488 w 5716670"/>
                <a:gd name="connsiteY4" fmla="*/ 3814619 h 5777086"/>
                <a:gd name="connsiteX5" fmla="*/ 335106 w 5716670"/>
                <a:gd name="connsiteY5" fmla="*/ 4998984 h 5777086"/>
                <a:gd name="connsiteX6" fmla="*/ 1202739 w 5716670"/>
                <a:gd name="connsiteY6" fmla="*/ 5578767 h 5777086"/>
                <a:gd name="connsiteX7" fmla="*/ 2687472 w 5716670"/>
                <a:gd name="connsiteY7" fmla="*/ 5776763 h 5777086"/>
                <a:gd name="connsiteX8" fmla="*/ 4305357 w 5716670"/>
                <a:gd name="connsiteY8" fmla="*/ 5484853 h 5777086"/>
                <a:gd name="connsiteX9" fmla="*/ 5265991 w 5716670"/>
                <a:gd name="connsiteY9" fmla="*/ 4941777 h 5777086"/>
                <a:gd name="connsiteX10" fmla="*/ 5671883 w 5716670"/>
                <a:gd name="connsiteY10" fmla="*/ 4292236 h 5777086"/>
                <a:gd name="connsiteX11" fmla="*/ 5649404 w 5716670"/>
                <a:gd name="connsiteY11" fmla="*/ 3283354 h 5777086"/>
                <a:gd name="connsiteX12" fmla="*/ 5164872 w 5716670"/>
                <a:gd name="connsiteY12" fmla="*/ 2050452 h 5777086"/>
                <a:gd name="connsiteX13" fmla="*/ 4456206 w 5716670"/>
                <a:gd name="connsiteY13" fmla="*/ 1038881 h 5777086"/>
                <a:gd name="connsiteX14" fmla="*/ 3786348 w 5716670"/>
                <a:gd name="connsiteY14" fmla="*/ 436933 h 5777086"/>
                <a:gd name="connsiteX0" fmla="*/ 3786348 w 5720435"/>
                <a:gd name="connsiteY0" fmla="*/ 436933 h 5777086"/>
                <a:gd name="connsiteX1" fmla="*/ 2579634 w 5720435"/>
                <a:gd name="connsiteY1" fmla="*/ 1085 h 5777086"/>
                <a:gd name="connsiteX2" fmla="*/ 1354665 w 5720435"/>
                <a:gd name="connsiteY2" fmla="*/ 546853 h 5777086"/>
                <a:gd name="connsiteX3" fmla="*/ 392714 w 5720435"/>
                <a:gd name="connsiteY3" fmla="*/ 2016236 h 5777086"/>
                <a:gd name="connsiteX4" fmla="*/ 488 w 5720435"/>
                <a:gd name="connsiteY4" fmla="*/ 3814619 h 5777086"/>
                <a:gd name="connsiteX5" fmla="*/ 335106 w 5720435"/>
                <a:gd name="connsiteY5" fmla="*/ 4998984 h 5777086"/>
                <a:gd name="connsiteX6" fmla="*/ 1202739 w 5720435"/>
                <a:gd name="connsiteY6" fmla="*/ 5578767 h 5777086"/>
                <a:gd name="connsiteX7" fmla="*/ 2687472 w 5720435"/>
                <a:gd name="connsiteY7" fmla="*/ 5776763 h 5777086"/>
                <a:gd name="connsiteX8" fmla="*/ 4305357 w 5720435"/>
                <a:gd name="connsiteY8" fmla="*/ 5484853 h 5777086"/>
                <a:gd name="connsiteX9" fmla="*/ 5265991 w 5720435"/>
                <a:gd name="connsiteY9" fmla="*/ 4941777 h 5777086"/>
                <a:gd name="connsiteX10" fmla="*/ 5671883 w 5720435"/>
                <a:gd name="connsiteY10" fmla="*/ 4292236 h 5777086"/>
                <a:gd name="connsiteX11" fmla="*/ 5649404 w 5720435"/>
                <a:gd name="connsiteY11" fmla="*/ 3283354 h 5777086"/>
                <a:gd name="connsiteX12" fmla="*/ 5164872 w 5720435"/>
                <a:gd name="connsiteY12" fmla="*/ 2050452 h 5777086"/>
                <a:gd name="connsiteX13" fmla="*/ 4456206 w 5720435"/>
                <a:gd name="connsiteY13" fmla="*/ 1038881 h 5777086"/>
                <a:gd name="connsiteX14" fmla="*/ 3786348 w 5720435"/>
                <a:gd name="connsiteY14" fmla="*/ 436933 h 5777086"/>
                <a:gd name="connsiteX0" fmla="*/ 3786348 w 5728126"/>
                <a:gd name="connsiteY0" fmla="*/ 436933 h 5777086"/>
                <a:gd name="connsiteX1" fmla="*/ 2579634 w 5728126"/>
                <a:gd name="connsiteY1" fmla="*/ 1085 h 5777086"/>
                <a:gd name="connsiteX2" fmla="*/ 1354665 w 5728126"/>
                <a:gd name="connsiteY2" fmla="*/ 546853 h 5777086"/>
                <a:gd name="connsiteX3" fmla="*/ 392714 w 5728126"/>
                <a:gd name="connsiteY3" fmla="*/ 2016236 h 5777086"/>
                <a:gd name="connsiteX4" fmla="*/ 488 w 5728126"/>
                <a:gd name="connsiteY4" fmla="*/ 3814619 h 5777086"/>
                <a:gd name="connsiteX5" fmla="*/ 335106 w 5728126"/>
                <a:gd name="connsiteY5" fmla="*/ 4998984 h 5777086"/>
                <a:gd name="connsiteX6" fmla="*/ 1202739 w 5728126"/>
                <a:gd name="connsiteY6" fmla="*/ 5578767 h 5777086"/>
                <a:gd name="connsiteX7" fmla="*/ 2687472 w 5728126"/>
                <a:gd name="connsiteY7" fmla="*/ 5776763 h 5777086"/>
                <a:gd name="connsiteX8" fmla="*/ 4305357 w 5728126"/>
                <a:gd name="connsiteY8" fmla="*/ 5484853 h 5777086"/>
                <a:gd name="connsiteX9" fmla="*/ 5265991 w 5728126"/>
                <a:gd name="connsiteY9" fmla="*/ 4941777 h 5777086"/>
                <a:gd name="connsiteX10" fmla="*/ 5671883 w 5728126"/>
                <a:gd name="connsiteY10" fmla="*/ 4292236 h 5777086"/>
                <a:gd name="connsiteX11" fmla="*/ 5649404 w 5728126"/>
                <a:gd name="connsiteY11" fmla="*/ 3283354 h 5777086"/>
                <a:gd name="connsiteX12" fmla="*/ 5164872 w 5728126"/>
                <a:gd name="connsiteY12" fmla="*/ 2050452 h 5777086"/>
                <a:gd name="connsiteX13" fmla="*/ 4456206 w 5728126"/>
                <a:gd name="connsiteY13" fmla="*/ 1038881 h 5777086"/>
                <a:gd name="connsiteX14" fmla="*/ 3786348 w 5728126"/>
                <a:gd name="connsiteY14" fmla="*/ 436933 h 5777086"/>
                <a:gd name="connsiteX0" fmla="*/ 3786348 w 5728126"/>
                <a:gd name="connsiteY0" fmla="*/ 436933 h 5777086"/>
                <a:gd name="connsiteX1" fmla="*/ 2579634 w 5728126"/>
                <a:gd name="connsiteY1" fmla="*/ 1085 h 5777086"/>
                <a:gd name="connsiteX2" fmla="*/ 1354665 w 5728126"/>
                <a:gd name="connsiteY2" fmla="*/ 546853 h 5777086"/>
                <a:gd name="connsiteX3" fmla="*/ 392714 w 5728126"/>
                <a:gd name="connsiteY3" fmla="*/ 2016236 h 5777086"/>
                <a:gd name="connsiteX4" fmla="*/ 488 w 5728126"/>
                <a:gd name="connsiteY4" fmla="*/ 3814619 h 5777086"/>
                <a:gd name="connsiteX5" fmla="*/ 335106 w 5728126"/>
                <a:gd name="connsiteY5" fmla="*/ 4998984 h 5777086"/>
                <a:gd name="connsiteX6" fmla="*/ 1202739 w 5728126"/>
                <a:gd name="connsiteY6" fmla="*/ 5578767 h 5777086"/>
                <a:gd name="connsiteX7" fmla="*/ 2687472 w 5728126"/>
                <a:gd name="connsiteY7" fmla="*/ 5776763 h 5777086"/>
                <a:gd name="connsiteX8" fmla="*/ 4305357 w 5728126"/>
                <a:gd name="connsiteY8" fmla="*/ 5484853 h 5777086"/>
                <a:gd name="connsiteX9" fmla="*/ 5265991 w 5728126"/>
                <a:gd name="connsiteY9" fmla="*/ 4941777 h 5777086"/>
                <a:gd name="connsiteX10" fmla="*/ 5671883 w 5728126"/>
                <a:gd name="connsiteY10" fmla="*/ 4292236 h 5777086"/>
                <a:gd name="connsiteX11" fmla="*/ 5649404 w 5728126"/>
                <a:gd name="connsiteY11" fmla="*/ 3283354 h 5777086"/>
                <a:gd name="connsiteX12" fmla="*/ 5164872 w 5728126"/>
                <a:gd name="connsiteY12" fmla="*/ 2050452 h 5777086"/>
                <a:gd name="connsiteX13" fmla="*/ 4456206 w 5728126"/>
                <a:gd name="connsiteY13" fmla="*/ 1038881 h 5777086"/>
                <a:gd name="connsiteX14" fmla="*/ 3786348 w 5728126"/>
                <a:gd name="connsiteY14" fmla="*/ 436933 h 5777086"/>
                <a:gd name="connsiteX0" fmla="*/ 3786348 w 5728126"/>
                <a:gd name="connsiteY0" fmla="*/ 436933 h 5777086"/>
                <a:gd name="connsiteX1" fmla="*/ 2579634 w 5728126"/>
                <a:gd name="connsiteY1" fmla="*/ 1085 h 5777086"/>
                <a:gd name="connsiteX2" fmla="*/ 1354665 w 5728126"/>
                <a:gd name="connsiteY2" fmla="*/ 546853 h 5777086"/>
                <a:gd name="connsiteX3" fmla="*/ 392714 w 5728126"/>
                <a:gd name="connsiteY3" fmla="*/ 2016236 h 5777086"/>
                <a:gd name="connsiteX4" fmla="*/ 488 w 5728126"/>
                <a:gd name="connsiteY4" fmla="*/ 3814619 h 5777086"/>
                <a:gd name="connsiteX5" fmla="*/ 335106 w 5728126"/>
                <a:gd name="connsiteY5" fmla="*/ 4998984 h 5777086"/>
                <a:gd name="connsiteX6" fmla="*/ 1202739 w 5728126"/>
                <a:gd name="connsiteY6" fmla="*/ 5578767 h 5777086"/>
                <a:gd name="connsiteX7" fmla="*/ 2687472 w 5728126"/>
                <a:gd name="connsiteY7" fmla="*/ 5776763 h 5777086"/>
                <a:gd name="connsiteX8" fmla="*/ 4305357 w 5728126"/>
                <a:gd name="connsiteY8" fmla="*/ 5484853 h 5777086"/>
                <a:gd name="connsiteX9" fmla="*/ 5265991 w 5728126"/>
                <a:gd name="connsiteY9" fmla="*/ 4941777 h 5777086"/>
                <a:gd name="connsiteX10" fmla="*/ 5671883 w 5728126"/>
                <a:gd name="connsiteY10" fmla="*/ 4292236 h 5777086"/>
                <a:gd name="connsiteX11" fmla="*/ 5649404 w 5728126"/>
                <a:gd name="connsiteY11" fmla="*/ 3283354 h 5777086"/>
                <a:gd name="connsiteX12" fmla="*/ 5164872 w 5728126"/>
                <a:gd name="connsiteY12" fmla="*/ 2050452 h 5777086"/>
                <a:gd name="connsiteX13" fmla="*/ 4456206 w 5728126"/>
                <a:gd name="connsiteY13" fmla="*/ 1038881 h 5777086"/>
                <a:gd name="connsiteX14" fmla="*/ 3786348 w 5728126"/>
                <a:gd name="connsiteY14" fmla="*/ 436933 h 5777086"/>
                <a:gd name="connsiteX0" fmla="*/ 3786348 w 5712979"/>
                <a:gd name="connsiteY0" fmla="*/ 436933 h 5777086"/>
                <a:gd name="connsiteX1" fmla="*/ 2579634 w 5712979"/>
                <a:gd name="connsiteY1" fmla="*/ 1085 h 5777086"/>
                <a:gd name="connsiteX2" fmla="*/ 1354665 w 5712979"/>
                <a:gd name="connsiteY2" fmla="*/ 546853 h 5777086"/>
                <a:gd name="connsiteX3" fmla="*/ 392714 w 5712979"/>
                <a:gd name="connsiteY3" fmla="*/ 2016236 h 5777086"/>
                <a:gd name="connsiteX4" fmla="*/ 488 w 5712979"/>
                <a:gd name="connsiteY4" fmla="*/ 3814619 h 5777086"/>
                <a:gd name="connsiteX5" fmla="*/ 335106 w 5712979"/>
                <a:gd name="connsiteY5" fmla="*/ 4998984 h 5777086"/>
                <a:gd name="connsiteX6" fmla="*/ 1202739 w 5712979"/>
                <a:gd name="connsiteY6" fmla="*/ 5578767 h 5777086"/>
                <a:gd name="connsiteX7" fmla="*/ 2687472 w 5712979"/>
                <a:gd name="connsiteY7" fmla="*/ 5776763 h 5777086"/>
                <a:gd name="connsiteX8" fmla="*/ 4305357 w 5712979"/>
                <a:gd name="connsiteY8" fmla="*/ 5484853 h 5777086"/>
                <a:gd name="connsiteX9" fmla="*/ 5265991 w 5712979"/>
                <a:gd name="connsiteY9" fmla="*/ 4941777 h 5777086"/>
                <a:gd name="connsiteX10" fmla="*/ 5671883 w 5712979"/>
                <a:gd name="connsiteY10" fmla="*/ 4292236 h 5777086"/>
                <a:gd name="connsiteX11" fmla="*/ 5649404 w 5712979"/>
                <a:gd name="connsiteY11" fmla="*/ 3283354 h 5777086"/>
                <a:gd name="connsiteX12" fmla="*/ 5164872 w 5712979"/>
                <a:gd name="connsiteY12" fmla="*/ 2050452 h 5777086"/>
                <a:gd name="connsiteX13" fmla="*/ 4456206 w 5712979"/>
                <a:gd name="connsiteY13" fmla="*/ 1038881 h 5777086"/>
                <a:gd name="connsiteX14" fmla="*/ 3786348 w 5712979"/>
                <a:gd name="connsiteY14" fmla="*/ 436933 h 5777086"/>
                <a:gd name="connsiteX0" fmla="*/ 3786348 w 5718721"/>
                <a:gd name="connsiteY0" fmla="*/ 436933 h 5777086"/>
                <a:gd name="connsiteX1" fmla="*/ 2579634 w 5718721"/>
                <a:gd name="connsiteY1" fmla="*/ 1085 h 5777086"/>
                <a:gd name="connsiteX2" fmla="*/ 1354665 w 5718721"/>
                <a:gd name="connsiteY2" fmla="*/ 546853 h 5777086"/>
                <a:gd name="connsiteX3" fmla="*/ 392714 w 5718721"/>
                <a:gd name="connsiteY3" fmla="*/ 2016236 h 5777086"/>
                <a:gd name="connsiteX4" fmla="*/ 488 w 5718721"/>
                <a:gd name="connsiteY4" fmla="*/ 3814619 h 5777086"/>
                <a:gd name="connsiteX5" fmla="*/ 335106 w 5718721"/>
                <a:gd name="connsiteY5" fmla="*/ 4998984 h 5777086"/>
                <a:gd name="connsiteX6" fmla="*/ 1202739 w 5718721"/>
                <a:gd name="connsiteY6" fmla="*/ 5578767 h 5777086"/>
                <a:gd name="connsiteX7" fmla="*/ 2687472 w 5718721"/>
                <a:gd name="connsiteY7" fmla="*/ 5776763 h 5777086"/>
                <a:gd name="connsiteX8" fmla="*/ 4305357 w 5718721"/>
                <a:gd name="connsiteY8" fmla="*/ 5484853 h 5777086"/>
                <a:gd name="connsiteX9" fmla="*/ 5265991 w 5718721"/>
                <a:gd name="connsiteY9" fmla="*/ 4941777 h 5777086"/>
                <a:gd name="connsiteX10" fmla="*/ 5681138 w 5718721"/>
                <a:gd name="connsiteY10" fmla="*/ 4264473 h 5777086"/>
                <a:gd name="connsiteX11" fmla="*/ 5649404 w 5718721"/>
                <a:gd name="connsiteY11" fmla="*/ 3283354 h 5777086"/>
                <a:gd name="connsiteX12" fmla="*/ 5164872 w 5718721"/>
                <a:gd name="connsiteY12" fmla="*/ 2050452 h 5777086"/>
                <a:gd name="connsiteX13" fmla="*/ 4456206 w 5718721"/>
                <a:gd name="connsiteY13" fmla="*/ 1038881 h 5777086"/>
                <a:gd name="connsiteX14" fmla="*/ 3786348 w 5718721"/>
                <a:gd name="connsiteY14" fmla="*/ 436933 h 5777086"/>
                <a:gd name="connsiteX0" fmla="*/ 3786348 w 5724833"/>
                <a:gd name="connsiteY0" fmla="*/ 436933 h 5777086"/>
                <a:gd name="connsiteX1" fmla="*/ 2579634 w 5724833"/>
                <a:gd name="connsiteY1" fmla="*/ 1085 h 5777086"/>
                <a:gd name="connsiteX2" fmla="*/ 1354665 w 5724833"/>
                <a:gd name="connsiteY2" fmla="*/ 546853 h 5777086"/>
                <a:gd name="connsiteX3" fmla="*/ 392714 w 5724833"/>
                <a:gd name="connsiteY3" fmla="*/ 2016236 h 5777086"/>
                <a:gd name="connsiteX4" fmla="*/ 488 w 5724833"/>
                <a:gd name="connsiteY4" fmla="*/ 3814619 h 5777086"/>
                <a:gd name="connsiteX5" fmla="*/ 335106 w 5724833"/>
                <a:gd name="connsiteY5" fmla="*/ 4998984 h 5777086"/>
                <a:gd name="connsiteX6" fmla="*/ 1202739 w 5724833"/>
                <a:gd name="connsiteY6" fmla="*/ 5578767 h 5777086"/>
                <a:gd name="connsiteX7" fmla="*/ 2687472 w 5724833"/>
                <a:gd name="connsiteY7" fmla="*/ 5776763 h 5777086"/>
                <a:gd name="connsiteX8" fmla="*/ 4305357 w 5724833"/>
                <a:gd name="connsiteY8" fmla="*/ 5484853 h 5777086"/>
                <a:gd name="connsiteX9" fmla="*/ 5265991 w 5724833"/>
                <a:gd name="connsiteY9" fmla="*/ 4941777 h 5777086"/>
                <a:gd name="connsiteX10" fmla="*/ 5690394 w 5724833"/>
                <a:gd name="connsiteY10" fmla="*/ 4255218 h 5777086"/>
                <a:gd name="connsiteX11" fmla="*/ 5649404 w 5724833"/>
                <a:gd name="connsiteY11" fmla="*/ 3283354 h 5777086"/>
                <a:gd name="connsiteX12" fmla="*/ 5164872 w 5724833"/>
                <a:gd name="connsiteY12" fmla="*/ 2050452 h 5777086"/>
                <a:gd name="connsiteX13" fmla="*/ 4456206 w 5724833"/>
                <a:gd name="connsiteY13" fmla="*/ 1038881 h 5777086"/>
                <a:gd name="connsiteX14" fmla="*/ 3786348 w 5724833"/>
                <a:gd name="connsiteY14" fmla="*/ 436933 h 5777086"/>
                <a:gd name="connsiteX0" fmla="*/ 3786348 w 5720901"/>
                <a:gd name="connsiteY0" fmla="*/ 436933 h 5777086"/>
                <a:gd name="connsiteX1" fmla="*/ 2579634 w 5720901"/>
                <a:gd name="connsiteY1" fmla="*/ 1085 h 5777086"/>
                <a:gd name="connsiteX2" fmla="*/ 1354665 w 5720901"/>
                <a:gd name="connsiteY2" fmla="*/ 546853 h 5777086"/>
                <a:gd name="connsiteX3" fmla="*/ 392714 w 5720901"/>
                <a:gd name="connsiteY3" fmla="*/ 2016236 h 5777086"/>
                <a:gd name="connsiteX4" fmla="*/ 488 w 5720901"/>
                <a:gd name="connsiteY4" fmla="*/ 3814619 h 5777086"/>
                <a:gd name="connsiteX5" fmla="*/ 335106 w 5720901"/>
                <a:gd name="connsiteY5" fmla="*/ 4998984 h 5777086"/>
                <a:gd name="connsiteX6" fmla="*/ 1202739 w 5720901"/>
                <a:gd name="connsiteY6" fmla="*/ 5578767 h 5777086"/>
                <a:gd name="connsiteX7" fmla="*/ 2687472 w 5720901"/>
                <a:gd name="connsiteY7" fmla="*/ 5776763 h 5777086"/>
                <a:gd name="connsiteX8" fmla="*/ 4305357 w 5720901"/>
                <a:gd name="connsiteY8" fmla="*/ 5484853 h 5777086"/>
                <a:gd name="connsiteX9" fmla="*/ 5265991 w 5720901"/>
                <a:gd name="connsiteY9" fmla="*/ 4941777 h 5777086"/>
                <a:gd name="connsiteX10" fmla="*/ 5690394 w 5720901"/>
                <a:gd name="connsiteY10" fmla="*/ 4255218 h 5777086"/>
                <a:gd name="connsiteX11" fmla="*/ 5649404 w 5720901"/>
                <a:gd name="connsiteY11" fmla="*/ 3283354 h 5777086"/>
                <a:gd name="connsiteX12" fmla="*/ 5164872 w 5720901"/>
                <a:gd name="connsiteY12" fmla="*/ 2050452 h 5777086"/>
                <a:gd name="connsiteX13" fmla="*/ 4456206 w 5720901"/>
                <a:gd name="connsiteY13" fmla="*/ 1038881 h 5777086"/>
                <a:gd name="connsiteX14" fmla="*/ 3786348 w 5720901"/>
                <a:gd name="connsiteY14" fmla="*/ 436933 h 5777086"/>
                <a:gd name="connsiteX0" fmla="*/ 3786348 w 5720901"/>
                <a:gd name="connsiteY0" fmla="*/ 436933 h 5777086"/>
                <a:gd name="connsiteX1" fmla="*/ 2579634 w 5720901"/>
                <a:gd name="connsiteY1" fmla="*/ 1085 h 5777086"/>
                <a:gd name="connsiteX2" fmla="*/ 1354665 w 5720901"/>
                <a:gd name="connsiteY2" fmla="*/ 546853 h 5777086"/>
                <a:gd name="connsiteX3" fmla="*/ 392714 w 5720901"/>
                <a:gd name="connsiteY3" fmla="*/ 2016236 h 5777086"/>
                <a:gd name="connsiteX4" fmla="*/ 488 w 5720901"/>
                <a:gd name="connsiteY4" fmla="*/ 3814619 h 5777086"/>
                <a:gd name="connsiteX5" fmla="*/ 335106 w 5720901"/>
                <a:gd name="connsiteY5" fmla="*/ 4998984 h 5777086"/>
                <a:gd name="connsiteX6" fmla="*/ 1202739 w 5720901"/>
                <a:gd name="connsiteY6" fmla="*/ 5578767 h 5777086"/>
                <a:gd name="connsiteX7" fmla="*/ 2687472 w 5720901"/>
                <a:gd name="connsiteY7" fmla="*/ 5776763 h 5777086"/>
                <a:gd name="connsiteX8" fmla="*/ 4305357 w 5720901"/>
                <a:gd name="connsiteY8" fmla="*/ 5484853 h 5777086"/>
                <a:gd name="connsiteX9" fmla="*/ 5265991 w 5720901"/>
                <a:gd name="connsiteY9" fmla="*/ 4941777 h 5777086"/>
                <a:gd name="connsiteX10" fmla="*/ 5690394 w 5720901"/>
                <a:gd name="connsiteY10" fmla="*/ 4255218 h 5777086"/>
                <a:gd name="connsiteX11" fmla="*/ 5649404 w 5720901"/>
                <a:gd name="connsiteY11" fmla="*/ 3283354 h 5777086"/>
                <a:gd name="connsiteX12" fmla="*/ 5164872 w 5720901"/>
                <a:gd name="connsiteY12" fmla="*/ 2050452 h 5777086"/>
                <a:gd name="connsiteX13" fmla="*/ 4456206 w 5720901"/>
                <a:gd name="connsiteY13" fmla="*/ 1038881 h 5777086"/>
                <a:gd name="connsiteX14" fmla="*/ 3786348 w 5720901"/>
                <a:gd name="connsiteY14" fmla="*/ 436933 h 5777086"/>
                <a:gd name="connsiteX0" fmla="*/ 3795603 w 5720901"/>
                <a:gd name="connsiteY0" fmla="*/ 436933 h 5777086"/>
                <a:gd name="connsiteX1" fmla="*/ 2579634 w 5720901"/>
                <a:gd name="connsiteY1" fmla="*/ 1085 h 5777086"/>
                <a:gd name="connsiteX2" fmla="*/ 1354665 w 5720901"/>
                <a:gd name="connsiteY2" fmla="*/ 546853 h 5777086"/>
                <a:gd name="connsiteX3" fmla="*/ 392714 w 5720901"/>
                <a:gd name="connsiteY3" fmla="*/ 2016236 h 5777086"/>
                <a:gd name="connsiteX4" fmla="*/ 488 w 5720901"/>
                <a:gd name="connsiteY4" fmla="*/ 3814619 h 5777086"/>
                <a:gd name="connsiteX5" fmla="*/ 335106 w 5720901"/>
                <a:gd name="connsiteY5" fmla="*/ 4998984 h 5777086"/>
                <a:gd name="connsiteX6" fmla="*/ 1202739 w 5720901"/>
                <a:gd name="connsiteY6" fmla="*/ 5578767 h 5777086"/>
                <a:gd name="connsiteX7" fmla="*/ 2687472 w 5720901"/>
                <a:gd name="connsiteY7" fmla="*/ 5776763 h 5777086"/>
                <a:gd name="connsiteX8" fmla="*/ 4305357 w 5720901"/>
                <a:gd name="connsiteY8" fmla="*/ 5484853 h 5777086"/>
                <a:gd name="connsiteX9" fmla="*/ 5265991 w 5720901"/>
                <a:gd name="connsiteY9" fmla="*/ 4941777 h 5777086"/>
                <a:gd name="connsiteX10" fmla="*/ 5690394 w 5720901"/>
                <a:gd name="connsiteY10" fmla="*/ 4255218 h 5777086"/>
                <a:gd name="connsiteX11" fmla="*/ 5649404 w 5720901"/>
                <a:gd name="connsiteY11" fmla="*/ 3283354 h 5777086"/>
                <a:gd name="connsiteX12" fmla="*/ 5164872 w 5720901"/>
                <a:gd name="connsiteY12" fmla="*/ 2050452 h 5777086"/>
                <a:gd name="connsiteX13" fmla="*/ 4456206 w 5720901"/>
                <a:gd name="connsiteY13" fmla="*/ 1038881 h 5777086"/>
                <a:gd name="connsiteX14" fmla="*/ 3795603 w 5720901"/>
                <a:gd name="connsiteY14" fmla="*/ 436933 h 577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20901" h="5777086">
                  <a:moveTo>
                    <a:pt x="3795603" y="436933"/>
                  </a:moveTo>
                  <a:cubicBezTo>
                    <a:pt x="3482841" y="199185"/>
                    <a:pt x="2986457" y="-17235"/>
                    <a:pt x="2579634" y="1085"/>
                  </a:cubicBezTo>
                  <a:cubicBezTo>
                    <a:pt x="2172811" y="19405"/>
                    <a:pt x="1719152" y="210995"/>
                    <a:pt x="1354665" y="546853"/>
                  </a:cubicBezTo>
                  <a:cubicBezTo>
                    <a:pt x="990178" y="882712"/>
                    <a:pt x="618410" y="1471608"/>
                    <a:pt x="392714" y="2016236"/>
                  </a:cubicBezTo>
                  <a:cubicBezTo>
                    <a:pt x="167018" y="2560864"/>
                    <a:pt x="10089" y="3317494"/>
                    <a:pt x="488" y="3814619"/>
                  </a:cubicBezTo>
                  <a:cubicBezTo>
                    <a:pt x="-9113" y="4311744"/>
                    <a:pt x="123758" y="4730562"/>
                    <a:pt x="335106" y="4998984"/>
                  </a:cubicBezTo>
                  <a:cubicBezTo>
                    <a:pt x="546454" y="5267406"/>
                    <a:pt x="887488" y="5463768"/>
                    <a:pt x="1202739" y="5578767"/>
                  </a:cubicBezTo>
                  <a:cubicBezTo>
                    <a:pt x="1517990" y="5693766"/>
                    <a:pt x="2068567" y="5783160"/>
                    <a:pt x="2687472" y="5776763"/>
                  </a:cubicBezTo>
                  <a:cubicBezTo>
                    <a:pt x="3306377" y="5770366"/>
                    <a:pt x="3866350" y="5642525"/>
                    <a:pt x="4305357" y="5484853"/>
                  </a:cubicBezTo>
                  <a:cubicBezTo>
                    <a:pt x="4744364" y="5327181"/>
                    <a:pt x="5035151" y="5146716"/>
                    <a:pt x="5265991" y="4941777"/>
                  </a:cubicBezTo>
                  <a:cubicBezTo>
                    <a:pt x="5496831" y="4736838"/>
                    <a:pt x="5645001" y="4494603"/>
                    <a:pt x="5690394" y="4255218"/>
                  </a:cubicBezTo>
                  <a:cubicBezTo>
                    <a:pt x="5735787" y="4015833"/>
                    <a:pt x="5736991" y="3650815"/>
                    <a:pt x="5649404" y="3283354"/>
                  </a:cubicBezTo>
                  <a:cubicBezTo>
                    <a:pt x="5561817" y="2915893"/>
                    <a:pt x="5451658" y="2607721"/>
                    <a:pt x="5164872" y="2050452"/>
                  </a:cubicBezTo>
                  <a:cubicBezTo>
                    <a:pt x="4961378" y="1650512"/>
                    <a:pt x="4684418" y="1307801"/>
                    <a:pt x="4456206" y="1038881"/>
                  </a:cubicBezTo>
                  <a:cubicBezTo>
                    <a:pt x="4227995" y="769961"/>
                    <a:pt x="4108365" y="674681"/>
                    <a:pt x="3795603" y="436933"/>
                  </a:cubicBezTo>
                  <a:close/>
                </a:path>
              </a:pathLst>
            </a:custGeom>
            <a:grpFill/>
            <a:ln w="12700">
              <a:noFill/>
            </a:ln>
            <a:effectLst>
              <a:outerShdw blurRad="127000" dist="38100" dir="2700000" algn="ctr">
                <a:srgbClr val="000000">
                  <a:alpha val="45000"/>
                </a:srgbClr>
              </a:outerShdw>
            </a:effectLst>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p>
          </p:txBody>
        </p:sp>
        <p:sp>
          <p:nvSpPr>
            <p:cNvPr id="41" name="Freihandform 9">
              <a:extLst>
                <a:ext uri="{FF2B5EF4-FFF2-40B4-BE49-F238E27FC236}">
                  <a16:creationId xmlns:a16="http://schemas.microsoft.com/office/drawing/2014/main" id="{DFDD9CBF-BDD5-6565-5062-1B1A766DDD09}"/>
                </a:ext>
              </a:extLst>
            </p:cNvPr>
            <p:cNvSpPr>
              <a:spLocks noChangeAspect="1"/>
            </p:cNvSpPr>
            <p:nvPr/>
          </p:nvSpPr>
          <p:spPr>
            <a:xfrm rot="4752609">
              <a:off x="4653726" y="1258630"/>
              <a:ext cx="3192260" cy="3223612"/>
            </a:xfrm>
            <a:custGeom>
              <a:avLst/>
              <a:gdLst>
                <a:gd name="connsiteX0" fmla="*/ 3790260 w 5732578"/>
                <a:gd name="connsiteY0" fmla="*/ 417868 h 5726204"/>
                <a:gd name="connsiteX1" fmla="*/ 2542870 w 5732578"/>
                <a:gd name="connsiteY1" fmla="*/ 309 h 5726204"/>
                <a:gd name="connsiteX2" fmla="*/ 1401192 w 5732578"/>
                <a:gd name="connsiteY2" fmla="*/ 481294 h 5726204"/>
                <a:gd name="connsiteX3" fmla="*/ 402223 w 5732578"/>
                <a:gd name="connsiteY3" fmla="*/ 1950677 h 5726204"/>
                <a:gd name="connsiteX4" fmla="*/ 521 w 5732578"/>
                <a:gd name="connsiteY4" fmla="*/ 3795333 h 5726204"/>
                <a:gd name="connsiteX5" fmla="*/ 338796 w 5732578"/>
                <a:gd name="connsiteY5" fmla="*/ 4968725 h 5726204"/>
                <a:gd name="connsiteX6" fmla="*/ 1184484 w 5732578"/>
                <a:gd name="connsiteY6" fmla="*/ 5544850 h 5726204"/>
                <a:gd name="connsiteX7" fmla="*/ 2442445 w 5732578"/>
                <a:gd name="connsiteY7" fmla="*/ 5724559 h 5726204"/>
                <a:gd name="connsiteX8" fmla="*/ 4287102 w 5732578"/>
                <a:gd name="connsiteY8" fmla="*/ 5465567 h 5726204"/>
                <a:gd name="connsiteX9" fmla="*/ 5275499 w 5732578"/>
                <a:gd name="connsiteY9" fmla="*/ 4894728 h 5726204"/>
                <a:gd name="connsiteX10" fmla="*/ 5671915 w 5732578"/>
                <a:gd name="connsiteY10" fmla="*/ 4223463 h 5726204"/>
                <a:gd name="connsiteX11" fmla="*/ 5677201 w 5732578"/>
                <a:gd name="connsiteY11" fmla="*/ 3393632 h 5726204"/>
                <a:gd name="connsiteX12" fmla="*/ 5153932 w 5732578"/>
                <a:gd name="connsiteY12" fmla="*/ 1998247 h 5726204"/>
                <a:gd name="connsiteX13" fmla="*/ 4456239 w 5732578"/>
                <a:gd name="connsiteY13" fmla="*/ 993992 h 5726204"/>
                <a:gd name="connsiteX14" fmla="*/ 3790260 w 5732578"/>
                <a:gd name="connsiteY14" fmla="*/ 417868 h 5726204"/>
                <a:gd name="connsiteX0" fmla="*/ 3786602 w 5732578"/>
                <a:gd name="connsiteY0" fmla="*/ 435997 h 5726045"/>
                <a:gd name="connsiteX1" fmla="*/ 2542870 w 5732578"/>
                <a:gd name="connsiteY1" fmla="*/ 150 h 5726045"/>
                <a:gd name="connsiteX2" fmla="*/ 1401192 w 5732578"/>
                <a:gd name="connsiteY2" fmla="*/ 481135 h 5726045"/>
                <a:gd name="connsiteX3" fmla="*/ 402223 w 5732578"/>
                <a:gd name="connsiteY3" fmla="*/ 1950518 h 5726045"/>
                <a:gd name="connsiteX4" fmla="*/ 521 w 5732578"/>
                <a:gd name="connsiteY4" fmla="*/ 3795174 h 5726045"/>
                <a:gd name="connsiteX5" fmla="*/ 338796 w 5732578"/>
                <a:gd name="connsiteY5" fmla="*/ 4968566 h 5726045"/>
                <a:gd name="connsiteX6" fmla="*/ 1184484 w 5732578"/>
                <a:gd name="connsiteY6" fmla="*/ 5544691 h 5726045"/>
                <a:gd name="connsiteX7" fmla="*/ 2442445 w 5732578"/>
                <a:gd name="connsiteY7" fmla="*/ 5724400 h 5726045"/>
                <a:gd name="connsiteX8" fmla="*/ 4287102 w 5732578"/>
                <a:gd name="connsiteY8" fmla="*/ 5465408 h 5726045"/>
                <a:gd name="connsiteX9" fmla="*/ 5275499 w 5732578"/>
                <a:gd name="connsiteY9" fmla="*/ 4894569 h 5726045"/>
                <a:gd name="connsiteX10" fmla="*/ 5671915 w 5732578"/>
                <a:gd name="connsiteY10" fmla="*/ 4223304 h 5726045"/>
                <a:gd name="connsiteX11" fmla="*/ 5677201 w 5732578"/>
                <a:gd name="connsiteY11" fmla="*/ 3393473 h 5726045"/>
                <a:gd name="connsiteX12" fmla="*/ 5153932 w 5732578"/>
                <a:gd name="connsiteY12" fmla="*/ 1998088 h 5726045"/>
                <a:gd name="connsiteX13" fmla="*/ 4456239 w 5732578"/>
                <a:gd name="connsiteY13" fmla="*/ 993833 h 5726045"/>
                <a:gd name="connsiteX14" fmla="*/ 3786602 w 5732578"/>
                <a:gd name="connsiteY14" fmla="*/ 435997 h 5726045"/>
                <a:gd name="connsiteX0" fmla="*/ 3786602 w 5732578"/>
                <a:gd name="connsiteY0" fmla="*/ 435993 h 5726041"/>
                <a:gd name="connsiteX1" fmla="*/ 2542870 w 5732578"/>
                <a:gd name="connsiteY1" fmla="*/ 146 h 5726041"/>
                <a:gd name="connsiteX2" fmla="*/ 1401192 w 5732578"/>
                <a:gd name="connsiteY2" fmla="*/ 481131 h 5726041"/>
                <a:gd name="connsiteX3" fmla="*/ 402223 w 5732578"/>
                <a:gd name="connsiteY3" fmla="*/ 1950514 h 5726041"/>
                <a:gd name="connsiteX4" fmla="*/ 521 w 5732578"/>
                <a:gd name="connsiteY4" fmla="*/ 3795170 h 5726041"/>
                <a:gd name="connsiteX5" fmla="*/ 338796 w 5732578"/>
                <a:gd name="connsiteY5" fmla="*/ 4968562 h 5726041"/>
                <a:gd name="connsiteX6" fmla="*/ 1184484 w 5732578"/>
                <a:gd name="connsiteY6" fmla="*/ 5544687 h 5726041"/>
                <a:gd name="connsiteX7" fmla="*/ 2442445 w 5732578"/>
                <a:gd name="connsiteY7" fmla="*/ 5724396 h 5726041"/>
                <a:gd name="connsiteX8" fmla="*/ 4287102 w 5732578"/>
                <a:gd name="connsiteY8" fmla="*/ 5465404 h 5726041"/>
                <a:gd name="connsiteX9" fmla="*/ 5275499 w 5732578"/>
                <a:gd name="connsiteY9" fmla="*/ 4894565 h 5726041"/>
                <a:gd name="connsiteX10" fmla="*/ 5671915 w 5732578"/>
                <a:gd name="connsiteY10" fmla="*/ 4223300 h 5726041"/>
                <a:gd name="connsiteX11" fmla="*/ 5677201 w 5732578"/>
                <a:gd name="connsiteY11" fmla="*/ 3393469 h 5726041"/>
                <a:gd name="connsiteX12" fmla="*/ 5153932 w 5732578"/>
                <a:gd name="connsiteY12" fmla="*/ 1998084 h 5726041"/>
                <a:gd name="connsiteX13" fmla="*/ 4456239 w 5732578"/>
                <a:gd name="connsiteY13" fmla="*/ 993829 h 5726041"/>
                <a:gd name="connsiteX14" fmla="*/ 3786602 w 5732578"/>
                <a:gd name="connsiteY14" fmla="*/ 435993 h 5726041"/>
                <a:gd name="connsiteX0" fmla="*/ 3786602 w 5732578"/>
                <a:gd name="connsiteY0" fmla="*/ 435998 h 5726046"/>
                <a:gd name="connsiteX1" fmla="*/ 2542870 w 5732578"/>
                <a:gd name="connsiteY1" fmla="*/ 151 h 5726046"/>
                <a:gd name="connsiteX2" fmla="*/ 1401192 w 5732578"/>
                <a:gd name="connsiteY2" fmla="*/ 481136 h 5726046"/>
                <a:gd name="connsiteX3" fmla="*/ 402223 w 5732578"/>
                <a:gd name="connsiteY3" fmla="*/ 1950519 h 5726046"/>
                <a:gd name="connsiteX4" fmla="*/ 521 w 5732578"/>
                <a:gd name="connsiteY4" fmla="*/ 3795175 h 5726046"/>
                <a:gd name="connsiteX5" fmla="*/ 338796 w 5732578"/>
                <a:gd name="connsiteY5" fmla="*/ 4968567 h 5726046"/>
                <a:gd name="connsiteX6" fmla="*/ 1184484 w 5732578"/>
                <a:gd name="connsiteY6" fmla="*/ 5544692 h 5726046"/>
                <a:gd name="connsiteX7" fmla="*/ 2442445 w 5732578"/>
                <a:gd name="connsiteY7" fmla="*/ 5724401 h 5726046"/>
                <a:gd name="connsiteX8" fmla="*/ 4287102 w 5732578"/>
                <a:gd name="connsiteY8" fmla="*/ 5465409 h 5726046"/>
                <a:gd name="connsiteX9" fmla="*/ 5275499 w 5732578"/>
                <a:gd name="connsiteY9" fmla="*/ 4894570 h 5726046"/>
                <a:gd name="connsiteX10" fmla="*/ 5671915 w 5732578"/>
                <a:gd name="connsiteY10" fmla="*/ 4223305 h 5726046"/>
                <a:gd name="connsiteX11" fmla="*/ 5677201 w 5732578"/>
                <a:gd name="connsiteY11" fmla="*/ 3393474 h 5726046"/>
                <a:gd name="connsiteX12" fmla="*/ 5153932 w 5732578"/>
                <a:gd name="connsiteY12" fmla="*/ 1998089 h 5726046"/>
                <a:gd name="connsiteX13" fmla="*/ 4437951 w 5732578"/>
                <a:gd name="connsiteY13" fmla="*/ 1019437 h 5726046"/>
                <a:gd name="connsiteX14" fmla="*/ 3786602 w 5732578"/>
                <a:gd name="connsiteY14" fmla="*/ 435998 h 5726046"/>
                <a:gd name="connsiteX0" fmla="*/ 3786602 w 5732578"/>
                <a:gd name="connsiteY0" fmla="*/ 435998 h 5726046"/>
                <a:gd name="connsiteX1" fmla="*/ 2542870 w 5732578"/>
                <a:gd name="connsiteY1" fmla="*/ 151 h 5726046"/>
                <a:gd name="connsiteX2" fmla="*/ 1401192 w 5732578"/>
                <a:gd name="connsiteY2" fmla="*/ 481136 h 5726046"/>
                <a:gd name="connsiteX3" fmla="*/ 402223 w 5732578"/>
                <a:gd name="connsiteY3" fmla="*/ 1950519 h 5726046"/>
                <a:gd name="connsiteX4" fmla="*/ 521 w 5732578"/>
                <a:gd name="connsiteY4" fmla="*/ 3795175 h 5726046"/>
                <a:gd name="connsiteX5" fmla="*/ 338796 w 5732578"/>
                <a:gd name="connsiteY5" fmla="*/ 4968567 h 5726046"/>
                <a:gd name="connsiteX6" fmla="*/ 1184484 w 5732578"/>
                <a:gd name="connsiteY6" fmla="*/ 5544692 h 5726046"/>
                <a:gd name="connsiteX7" fmla="*/ 2442445 w 5732578"/>
                <a:gd name="connsiteY7" fmla="*/ 5724401 h 5726046"/>
                <a:gd name="connsiteX8" fmla="*/ 4287102 w 5732578"/>
                <a:gd name="connsiteY8" fmla="*/ 5465409 h 5726046"/>
                <a:gd name="connsiteX9" fmla="*/ 5275499 w 5732578"/>
                <a:gd name="connsiteY9" fmla="*/ 4894570 h 5726046"/>
                <a:gd name="connsiteX10" fmla="*/ 5671915 w 5732578"/>
                <a:gd name="connsiteY10" fmla="*/ 4223305 h 5726046"/>
                <a:gd name="connsiteX11" fmla="*/ 5677201 w 5732578"/>
                <a:gd name="connsiteY11" fmla="*/ 3393474 h 5726046"/>
                <a:gd name="connsiteX12" fmla="*/ 5153932 w 5732578"/>
                <a:gd name="connsiteY12" fmla="*/ 1998089 h 5726046"/>
                <a:gd name="connsiteX13" fmla="*/ 4437951 w 5732578"/>
                <a:gd name="connsiteY13" fmla="*/ 1019437 h 5726046"/>
                <a:gd name="connsiteX14" fmla="*/ 3786602 w 5732578"/>
                <a:gd name="connsiteY14" fmla="*/ 435998 h 5726046"/>
                <a:gd name="connsiteX0" fmla="*/ 3786602 w 5732578"/>
                <a:gd name="connsiteY0" fmla="*/ 436029 h 5726077"/>
                <a:gd name="connsiteX1" fmla="*/ 2542870 w 5732578"/>
                <a:gd name="connsiteY1" fmla="*/ 182 h 5726077"/>
                <a:gd name="connsiteX2" fmla="*/ 1401192 w 5732578"/>
                <a:gd name="connsiteY2" fmla="*/ 481167 h 5726077"/>
                <a:gd name="connsiteX3" fmla="*/ 402223 w 5732578"/>
                <a:gd name="connsiteY3" fmla="*/ 1950550 h 5726077"/>
                <a:gd name="connsiteX4" fmla="*/ 521 w 5732578"/>
                <a:gd name="connsiteY4" fmla="*/ 3795206 h 5726077"/>
                <a:gd name="connsiteX5" fmla="*/ 338796 w 5732578"/>
                <a:gd name="connsiteY5" fmla="*/ 4968598 h 5726077"/>
                <a:gd name="connsiteX6" fmla="*/ 1184484 w 5732578"/>
                <a:gd name="connsiteY6" fmla="*/ 5544723 h 5726077"/>
                <a:gd name="connsiteX7" fmla="*/ 2442445 w 5732578"/>
                <a:gd name="connsiteY7" fmla="*/ 5724432 h 5726077"/>
                <a:gd name="connsiteX8" fmla="*/ 4287102 w 5732578"/>
                <a:gd name="connsiteY8" fmla="*/ 5465440 h 5726077"/>
                <a:gd name="connsiteX9" fmla="*/ 5275499 w 5732578"/>
                <a:gd name="connsiteY9" fmla="*/ 4894601 h 5726077"/>
                <a:gd name="connsiteX10" fmla="*/ 5671915 w 5732578"/>
                <a:gd name="connsiteY10" fmla="*/ 4223336 h 5726077"/>
                <a:gd name="connsiteX11" fmla="*/ 5677201 w 5732578"/>
                <a:gd name="connsiteY11" fmla="*/ 3393505 h 5726077"/>
                <a:gd name="connsiteX12" fmla="*/ 5153932 w 5732578"/>
                <a:gd name="connsiteY12" fmla="*/ 1998120 h 5726077"/>
                <a:gd name="connsiteX13" fmla="*/ 4437951 w 5732578"/>
                <a:gd name="connsiteY13" fmla="*/ 1019468 h 5726077"/>
                <a:gd name="connsiteX14" fmla="*/ 3786602 w 5732578"/>
                <a:gd name="connsiteY14" fmla="*/ 436029 h 5726077"/>
                <a:gd name="connsiteX0" fmla="*/ 3786602 w 5733076"/>
                <a:gd name="connsiteY0" fmla="*/ 436029 h 5726077"/>
                <a:gd name="connsiteX1" fmla="*/ 2542870 w 5733076"/>
                <a:gd name="connsiteY1" fmla="*/ 182 h 5726077"/>
                <a:gd name="connsiteX2" fmla="*/ 1401192 w 5733076"/>
                <a:gd name="connsiteY2" fmla="*/ 481167 h 5726077"/>
                <a:gd name="connsiteX3" fmla="*/ 402223 w 5733076"/>
                <a:gd name="connsiteY3" fmla="*/ 1950550 h 5726077"/>
                <a:gd name="connsiteX4" fmla="*/ 521 w 5733076"/>
                <a:gd name="connsiteY4" fmla="*/ 3795206 h 5726077"/>
                <a:gd name="connsiteX5" fmla="*/ 338796 w 5733076"/>
                <a:gd name="connsiteY5" fmla="*/ 4968598 h 5726077"/>
                <a:gd name="connsiteX6" fmla="*/ 1184484 w 5733076"/>
                <a:gd name="connsiteY6" fmla="*/ 5544723 h 5726077"/>
                <a:gd name="connsiteX7" fmla="*/ 2442445 w 5733076"/>
                <a:gd name="connsiteY7" fmla="*/ 5724432 h 5726077"/>
                <a:gd name="connsiteX8" fmla="*/ 4287102 w 5733076"/>
                <a:gd name="connsiteY8" fmla="*/ 5465440 h 5726077"/>
                <a:gd name="connsiteX9" fmla="*/ 5275499 w 5733076"/>
                <a:gd name="connsiteY9" fmla="*/ 4894601 h 5726077"/>
                <a:gd name="connsiteX10" fmla="*/ 5671915 w 5733076"/>
                <a:gd name="connsiteY10" fmla="*/ 4223336 h 5726077"/>
                <a:gd name="connsiteX11" fmla="*/ 5677201 w 5733076"/>
                <a:gd name="connsiteY11" fmla="*/ 3393505 h 5726077"/>
                <a:gd name="connsiteX12" fmla="*/ 5146617 w 5733076"/>
                <a:gd name="connsiteY12" fmla="*/ 2031039 h 5726077"/>
                <a:gd name="connsiteX13" fmla="*/ 4437951 w 5733076"/>
                <a:gd name="connsiteY13" fmla="*/ 1019468 h 5726077"/>
                <a:gd name="connsiteX14" fmla="*/ 3786602 w 5733076"/>
                <a:gd name="connsiteY14" fmla="*/ 436029 h 5726077"/>
                <a:gd name="connsiteX0" fmla="*/ 3786602 w 5722211"/>
                <a:gd name="connsiteY0" fmla="*/ 436029 h 5726077"/>
                <a:gd name="connsiteX1" fmla="*/ 2542870 w 5722211"/>
                <a:gd name="connsiteY1" fmla="*/ 182 h 5726077"/>
                <a:gd name="connsiteX2" fmla="*/ 1401192 w 5722211"/>
                <a:gd name="connsiteY2" fmla="*/ 481167 h 5726077"/>
                <a:gd name="connsiteX3" fmla="*/ 402223 w 5722211"/>
                <a:gd name="connsiteY3" fmla="*/ 1950550 h 5726077"/>
                <a:gd name="connsiteX4" fmla="*/ 521 w 5722211"/>
                <a:gd name="connsiteY4" fmla="*/ 3795206 h 5726077"/>
                <a:gd name="connsiteX5" fmla="*/ 338796 w 5722211"/>
                <a:gd name="connsiteY5" fmla="*/ 4968598 h 5726077"/>
                <a:gd name="connsiteX6" fmla="*/ 1184484 w 5722211"/>
                <a:gd name="connsiteY6" fmla="*/ 5544723 h 5726077"/>
                <a:gd name="connsiteX7" fmla="*/ 2442445 w 5722211"/>
                <a:gd name="connsiteY7" fmla="*/ 5724432 h 5726077"/>
                <a:gd name="connsiteX8" fmla="*/ 4287102 w 5722211"/>
                <a:gd name="connsiteY8" fmla="*/ 5465440 h 5726077"/>
                <a:gd name="connsiteX9" fmla="*/ 5275499 w 5722211"/>
                <a:gd name="connsiteY9" fmla="*/ 4894601 h 5726077"/>
                <a:gd name="connsiteX10" fmla="*/ 5671915 w 5722211"/>
                <a:gd name="connsiteY10" fmla="*/ 4223336 h 5726077"/>
                <a:gd name="connsiteX11" fmla="*/ 5658913 w 5722211"/>
                <a:gd name="connsiteY11" fmla="*/ 3393505 h 5726077"/>
                <a:gd name="connsiteX12" fmla="*/ 5146617 w 5722211"/>
                <a:gd name="connsiteY12" fmla="*/ 2031039 h 5726077"/>
                <a:gd name="connsiteX13" fmla="*/ 4437951 w 5722211"/>
                <a:gd name="connsiteY13" fmla="*/ 1019468 h 5726077"/>
                <a:gd name="connsiteX14" fmla="*/ 3786602 w 5722211"/>
                <a:gd name="connsiteY14" fmla="*/ 436029 h 5726077"/>
                <a:gd name="connsiteX0" fmla="*/ 3786602 w 5722211"/>
                <a:gd name="connsiteY0" fmla="*/ 436029 h 5726077"/>
                <a:gd name="connsiteX1" fmla="*/ 2542870 w 5722211"/>
                <a:gd name="connsiteY1" fmla="*/ 182 h 5726077"/>
                <a:gd name="connsiteX2" fmla="*/ 1401192 w 5722211"/>
                <a:gd name="connsiteY2" fmla="*/ 481167 h 5726077"/>
                <a:gd name="connsiteX3" fmla="*/ 402223 w 5722211"/>
                <a:gd name="connsiteY3" fmla="*/ 1950550 h 5726077"/>
                <a:gd name="connsiteX4" fmla="*/ 521 w 5722211"/>
                <a:gd name="connsiteY4" fmla="*/ 3795206 h 5726077"/>
                <a:gd name="connsiteX5" fmla="*/ 338796 w 5722211"/>
                <a:gd name="connsiteY5" fmla="*/ 4968598 h 5726077"/>
                <a:gd name="connsiteX6" fmla="*/ 1184484 w 5722211"/>
                <a:gd name="connsiteY6" fmla="*/ 5544723 h 5726077"/>
                <a:gd name="connsiteX7" fmla="*/ 2442445 w 5722211"/>
                <a:gd name="connsiteY7" fmla="*/ 5724432 h 5726077"/>
                <a:gd name="connsiteX8" fmla="*/ 4287102 w 5722211"/>
                <a:gd name="connsiteY8" fmla="*/ 5465440 h 5726077"/>
                <a:gd name="connsiteX9" fmla="*/ 5275499 w 5722211"/>
                <a:gd name="connsiteY9" fmla="*/ 4894601 h 5726077"/>
                <a:gd name="connsiteX10" fmla="*/ 5671915 w 5722211"/>
                <a:gd name="connsiteY10" fmla="*/ 4223336 h 5726077"/>
                <a:gd name="connsiteX11" fmla="*/ 5658913 w 5722211"/>
                <a:gd name="connsiteY11" fmla="*/ 3393505 h 5726077"/>
                <a:gd name="connsiteX12" fmla="*/ 5146617 w 5722211"/>
                <a:gd name="connsiteY12" fmla="*/ 2031039 h 5726077"/>
                <a:gd name="connsiteX13" fmla="*/ 4437951 w 5722211"/>
                <a:gd name="connsiteY13" fmla="*/ 1019468 h 5726077"/>
                <a:gd name="connsiteX14" fmla="*/ 3786602 w 5722211"/>
                <a:gd name="connsiteY14" fmla="*/ 436029 h 5726077"/>
                <a:gd name="connsiteX0" fmla="*/ 3786602 w 5714404"/>
                <a:gd name="connsiteY0" fmla="*/ 436029 h 5726077"/>
                <a:gd name="connsiteX1" fmla="*/ 2542870 w 5714404"/>
                <a:gd name="connsiteY1" fmla="*/ 182 h 5726077"/>
                <a:gd name="connsiteX2" fmla="*/ 1401192 w 5714404"/>
                <a:gd name="connsiteY2" fmla="*/ 481167 h 5726077"/>
                <a:gd name="connsiteX3" fmla="*/ 402223 w 5714404"/>
                <a:gd name="connsiteY3" fmla="*/ 1950550 h 5726077"/>
                <a:gd name="connsiteX4" fmla="*/ 521 w 5714404"/>
                <a:gd name="connsiteY4" fmla="*/ 3795206 h 5726077"/>
                <a:gd name="connsiteX5" fmla="*/ 338796 w 5714404"/>
                <a:gd name="connsiteY5" fmla="*/ 4968598 h 5726077"/>
                <a:gd name="connsiteX6" fmla="*/ 1184484 w 5714404"/>
                <a:gd name="connsiteY6" fmla="*/ 5544723 h 5726077"/>
                <a:gd name="connsiteX7" fmla="*/ 2442445 w 5714404"/>
                <a:gd name="connsiteY7" fmla="*/ 5724432 h 5726077"/>
                <a:gd name="connsiteX8" fmla="*/ 4287102 w 5714404"/>
                <a:gd name="connsiteY8" fmla="*/ 5465440 h 5726077"/>
                <a:gd name="connsiteX9" fmla="*/ 5275499 w 5714404"/>
                <a:gd name="connsiteY9" fmla="*/ 4894601 h 5726077"/>
                <a:gd name="connsiteX10" fmla="*/ 5671915 w 5714404"/>
                <a:gd name="connsiteY10" fmla="*/ 4223336 h 5726077"/>
                <a:gd name="connsiteX11" fmla="*/ 5658913 w 5714404"/>
                <a:gd name="connsiteY11" fmla="*/ 3393505 h 5726077"/>
                <a:gd name="connsiteX12" fmla="*/ 5146617 w 5714404"/>
                <a:gd name="connsiteY12" fmla="*/ 2031039 h 5726077"/>
                <a:gd name="connsiteX13" fmla="*/ 4437951 w 5714404"/>
                <a:gd name="connsiteY13" fmla="*/ 1019468 h 5726077"/>
                <a:gd name="connsiteX14" fmla="*/ 3786602 w 5714404"/>
                <a:gd name="connsiteY14" fmla="*/ 436029 h 5726077"/>
                <a:gd name="connsiteX0" fmla="*/ 3786602 w 5718911"/>
                <a:gd name="connsiteY0" fmla="*/ 436029 h 5726077"/>
                <a:gd name="connsiteX1" fmla="*/ 2542870 w 5718911"/>
                <a:gd name="connsiteY1" fmla="*/ 182 h 5726077"/>
                <a:gd name="connsiteX2" fmla="*/ 1401192 w 5718911"/>
                <a:gd name="connsiteY2" fmla="*/ 481167 h 5726077"/>
                <a:gd name="connsiteX3" fmla="*/ 402223 w 5718911"/>
                <a:gd name="connsiteY3" fmla="*/ 1950550 h 5726077"/>
                <a:gd name="connsiteX4" fmla="*/ 521 w 5718911"/>
                <a:gd name="connsiteY4" fmla="*/ 3795206 h 5726077"/>
                <a:gd name="connsiteX5" fmla="*/ 338796 w 5718911"/>
                <a:gd name="connsiteY5" fmla="*/ 4968598 h 5726077"/>
                <a:gd name="connsiteX6" fmla="*/ 1184484 w 5718911"/>
                <a:gd name="connsiteY6" fmla="*/ 5544723 h 5726077"/>
                <a:gd name="connsiteX7" fmla="*/ 2442445 w 5718911"/>
                <a:gd name="connsiteY7" fmla="*/ 5724432 h 5726077"/>
                <a:gd name="connsiteX8" fmla="*/ 4287102 w 5718911"/>
                <a:gd name="connsiteY8" fmla="*/ 5465440 h 5726077"/>
                <a:gd name="connsiteX9" fmla="*/ 5275499 w 5718911"/>
                <a:gd name="connsiteY9" fmla="*/ 4894601 h 5726077"/>
                <a:gd name="connsiteX10" fmla="*/ 5671915 w 5718911"/>
                <a:gd name="connsiteY10" fmla="*/ 4223336 h 5726077"/>
                <a:gd name="connsiteX11" fmla="*/ 5658913 w 5718911"/>
                <a:gd name="connsiteY11" fmla="*/ 3393505 h 5726077"/>
                <a:gd name="connsiteX12" fmla="*/ 5146617 w 5718911"/>
                <a:gd name="connsiteY12" fmla="*/ 2031039 h 5726077"/>
                <a:gd name="connsiteX13" fmla="*/ 4437951 w 5718911"/>
                <a:gd name="connsiteY13" fmla="*/ 1019468 h 5726077"/>
                <a:gd name="connsiteX14" fmla="*/ 3786602 w 5718911"/>
                <a:gd name="connsiteY14" fmla="*/ 436029 h 5726077"/>
                <a:gd name="connsiteX0" fmla="*/ 3786602 w 5722208"/>
                <a:gd name="connsiteY0" fmla="*/ 436029 h 5726077"/>
                <a:gd name="connsiteX1" fmla="*/ 2542870 w 5722208"/>
                <a:gd name="connsiteY1" fmla="*/ 182 h 5726077"/>
                <a:gd name="connsiteX2" fmla="*/ 1401192 w 5722208"/>
                <a:gd name="connsiteY2" fmla="*/ 481167 h 5726077"/>
                <a:gd name="connsiteX3" fmla="*/ 402223 w 5722208"/>
                <a:gd name="connsiteY3" fmla="*/ 1950550 h 5726077"/>
                <a:gd name="connsiteX4" fmla="*/ 521 w 5722208"/>
                <a:gd name="connsiteY4" fmla="*/ 3795206 h 5726077"/>
                <a:gd name="connsiteX5" fmla="*/ 338796 w 5722208"/>
                <a:gd name="connsiteY5" fmla="*/ 4968598 h 5726077"/>
                <a:gd name="connsiteX6" fmla="*/ 1184484 w 5722208"/>
                <a:gd name="connsiteY6" fmla="*/ 5544723 h 5726077"/>
                <a:gd name="connsiteX7" fmla="*/ 2442445 w 5722208"/>
                <a:gd name="connsiteY7" fmla="*/ 5724432 h 5726077"/>
                <a:gd name="connsiteX8" fmla="*/ 4287102 w 5722208"/>
                <a:gd name="connsiteY8" fmla="*/ 5465440 h 5726077"/>
                <a:gd name="connsiteX9" fmla="*/ 5275499 w 5722208"/>
                <a:gd name="connsiteY9" fmla="*/ 4894601 h 5726077"/>
                <a:gd name="connsiteX10" fmla="*/ 5664600 w 5722208"/>
                <a:gd name="connsiteY10" fmla="*/ 4263569 h 5726077"/>
                <a:gd name="connsiteX11" fmla="*/ 5658913 w 5722208"/>
                <a:gd name="connsiteY11" fmla="*/ 3393505 h 5726077"/>
                <a:gd name="connsiteX12" fmla="*/ 5146617 w 5722208"/>
                <a:gd name="connsiteY12" fmla="*/ 2031039 h 5726077"/>
                <a:gd name="connsiteX13" fmla="*/ 4437951 w 5722208"/>
                <a:gd name="connsiteY13" fmla="*/ 1019468 h 5726077"/>
                <a:gd name="connsiteX14" fmla="*/ 3786602 w 5722208"/>
                <a:gd name="connsiteY14" fmla="*/ 436029 h 5726077"/>
                <a:gd name="connsiteX0" fmla="*/ 3786602 w 5716275"/>
                <a:gd name="connsiteY0" fmla="*/ 436029 h 5726077"/>
                <a:gd name="connsiteX1" fmla="*/ 2542870 w 5716275"/>
                <a:gd name="connsiteY1" fmla="*/ 182 h 5726077"/>
                <a:gd name="connsiteX2" fmla="*/ 1401192 w 5716275"/>
                <a:gd name="connsiteY2" fmla="*/ 481167 h 5726077"/>
                <a:gd name="connsiteX3" fmla="*/ 402223 w 5716275"/>
                <a:gd name="connsiteY3" fmla="*/ 1950550 h 5726077"/>
                <a:gd name="connsiteX4" fmla="*/ 521 w 5716275"/>
                <a:gd name="connsiteY4" fmla="*/ 3795206 h 5726077"/>
                <a:gd name="connsiteX5" fmla="*/ 338796 w 5716275"/>
                <a:gd name="connsiteY5" fmla="*/ 4968598 h 5726077"/>
                <a:gd name="connsiteX6" fmla="*/ 1184484 w 5716275"/>
                <a:gd name="connsiteY6" fmla="*/ 5544723 h 5726077"/>
                <a:gd name="connsiteX7" fmla="*/ 2442445 w 5716275"/>
                <a:gd name="connsiteY7" fmla="*/ 5724432 h 5726077"/>
                <a:gd name="connsiteX8" fmla="*/ 4287102 w 5716275"/>
                <a:gd name="connsiteY8" fmla="*/ 5465440 h 5726077"/>
                <a:gd name="connsiteX9" fmla="*/ 5275499 w 5716275"/>
                <a:gd name="connsiteY9" fmla="*/ 4894601 h 5726077"/>
                <a:gd name="connsiteX10" fmla="*/ 5653627 w 5716275"/>
                <a:gd name="connsiteY10" fmla="*/ 4263569 h 5726077"/>
                <a:gd name="connsiteX11" fmla="*/ 5658913 w 5716275"/>
                <a:gd name="connsiteY11" fmla="*/ 3393505 h 5726077"/>
                <a:gd name="connsiteX12" fmla="*/ 5146617 w 5716275"/>
                <a:gd name="connsiteY12" fmla="*/ 2031039 h 5726077"/>
                <a:gd name="connsiteX13" fmla="*/ 4437951 w 5716275"/>
                <a:gd name="connsiteY13" fmla="*/ 1019468 h 5726077"/>
                <a:gd name="connsiteX14" fmla="*/ 3786602 w 5716275"/>
                <a:gd name="connsiteY14" fmla="*/ 436029 h 5726077"/>
                <a:gd name="connsiteX0" fmla="*/ 3786602 w 5706729"/>
                <a:gd name="connsiteY0" fmla="*/ 436029 h 5726077"/>
                <a:gd name="connsiteX1" fmla="*/ 2542870 w 5706729"/>
                <a:gd name="connsiteY1" fmla="*/ 182 h 5726077"/>
                <a:gd name="connsiteX2" fmla="*/ 1401192 w 5706729"/>
                <a:gd name="connsiteY2" fmla="*/ 481167 h 5726077"/>
                <a:gd name="connsiteX3" fmla="*/ 402223 w 5706729"/>
                <a:gd name="connsiteY3" fmla="*/ 1950550 h 5726077"/>
                <a:gd name="connsiteX4" fmla="*/ 521 w 5706729"/>
                <a:gd name="connsiteY4" fmla="*/ 3795206 h 5726077"/>
                <a:gd name="connsiteX5" fmla="*/ 338796 w 5706729"/>
                <a:gd name="connsiteY5" fmla="*/ 4968598 h 5726077"/>
                <a:gd name="connsiteX6" fmla="*/ 1184484 w 5706729"/>
                <a:gd name="connsiteY6" fmla="*/ 5544723 h 5726077"/>
                <a:gd name="connsiteX7" fmla="*/ 2442445 w 5706729"/>
                <a:gd name="connsiteY7" fmla="*/ 5724432 h 5726077"/>
                <a:gd name="connsiteX8" fmla="*/ 4287102 w 5706729"/>
                <a:gd name="connsiteY8" fmla="*/ 5465440 h 5726077"/>
                <a:gd name="connsiteX9" fmla="*/ 5275499 w 5706729"/>
                <a:gd name="connsiteY9" fmla="*/ 4894601 h 5726077"/>
                <a:gd name="connsiteX10" fmla="*/ 5653627 w 5706729"/>
                <a:gd name="connsiteY10" fmla="*/ 4263569 h 5726077"/>
                <a:gd name="connsiteX11" fmla="*/ 5658913 w 5706729"/>
                <a:gd name="connsiteY11" fmla="*/ 3393505 h 5726077"/>
                <a:gd name="connsiteX12" fmla="*/ 5146617 w 5706729"/>
                <a:gd name="connsiteY12" fmla="*/ 2031039 h 5726077"/>
                <a:gd name="connsiteX13" fmla="*/ 4437951 w 5706729"/>
                <a:gd name="connsiteY13" fmla="*/ 1019468 h 5726077"/>
                <a:gd name="connsiteX14" fmla="*/ 3786602 w 5706729"/>
                <a:gd name="connsiteY14" fmla="*/ 436029 h 5726077"/>
                <a:gd name="connsiteX0" fmla="*/ 3786602 w 5706729"/>
                <a:gd name="connsiteY0" fmla="*/ 436029 h 5740496"/>
                <a:gd name="connsiteX1" fmla="*/ 2542870 w 5706729"/>
                <a:gd name="connsiteY1" fmla="*/ 182 h 5740496"/>
                <a:gd name="connsiteX2" fmla="*/ 1401192 w 5706729"/>
                <a:gd name="connsiteY2" fmla="*/ 481167 h 5740496"/>
                <a:gd name="connsiteX3" fmla="*/ 402223 w 5706729"/>
                <a:gd name="connsiteY3" fmla="*/ 1950550 h 5740496"/>
                <a:gd name="connsiteX4" fmla="*/ 521 w 5706729"/>
                <a:gd name="connsiteY4" fmla="*/ 3795206 h 5740496"/>
                <a:gd name="connsiteX5" fmla="*/ 338796 w 5706729"/>
                <a:gd name="connsiteY5" fmla="*/ 4968598 h 5740496"/>
                <a:gd name="connsiteX6" fmla="*/ 1184484 w 5706729"/>
                <a:gd name="connsiteY6" fmla="*/ 5544723 h 5740496"/>
                <a:gd name="connsiteX7" fmla="*/ 2669217 w 5706729"/>
                <a:gd name="connsiteY7" fmla="*/ 5739062 h 5740496"/>
                <a:gd name="connsiteX8" fmla="*/ 4287102 w 5706729"/>
                <a:gd name="connsiteY8" fmla="*/ 5465440 h 5740496"/>
                <a:gd name="connsiteX9" fmla="*/ 5275499 w 5706729"/>
                <a:gd name="connsiteY9" fmla="*/ 4894601 h 5740496"/>
                <a:gd name="connsiteX10" fmla="*/ 5653627 w 5706729"/>
                <a:gd name="connsiteY10" fmla="*/ 4263569 h 5740496"/>
                <a:gd name="connsiteX11" fmla="*/ 5658913 w 5706729"/>
                <a:gd name="connsiteY11" fmla="*/ 3393505 h 5740496"/>
                <a:gd name="connsiteX12" fmla="*/ 5146617 w 5706729"/>
                <a:gd name="connsiteY12" fmla="*/ 2031039 h 5740496"/>
                <a:gd name="connsiteX13" fmla="*/ 4437951 w 5706729"/>
                <a:gd name="connsiteY13" fmla="*/ 1019468 h 5740496"/>
                <a:gd name="connsiteX14" fmla="*/ 3786602 w 5706729"/>
                <a:gd name="connsiteY14" fmla="*/ 436029 h 5740496"/>
                <a:gd name="connsiteX0" fmla="*/ 3786602 w 5706729"/>
                <a:gd name="connsiteY0" fmla="*/ 436029 h 5758583"/>
                <a:gd name="connsiteX1" fmla="*/ 2542870 w 5706729"/>
                <a:gd name="connsiteY1" fmla="*/ 182 h 5758583"/>
                <a:gd name="connsiteX2" fmla="*/ 1401192 w 5706729"/>
                <a:gd name="connsiteY2" fmla="*/ 481167 h 5758583"/>
                <a:gd name="connsiteX3" fmla="*/ 402223 w 5706729"/>
                <a:gd name="connsiteY3" fmla="*/ 1950550 h 5758583"/>
                <a:gd name="connsiteX4" fmla="*/ 521 w 5706729"/>
                <a:gd name="connsiteY4" fmla="*/ 3795206 h 5758583"/>
                <a:gd name="connsiteX5" fmla="*/ 338796 w 5706729"/>
                <a:gd name="connsiteY5" fmla="*/ 4968598 h 5758583"/>
                <a:gd name="connsiteX6" fmla="*/ 1184484 w 5706729"/>
                <a:gd name="connsiteY6" fmla="*/ 5544723 h 5758583"/>
                <a:gd name="connsiteX7" fmla="*/ 2669217 w 5706729"/>
                <a:gd name="connsiteY7" fmla="*/ 5757350 h 5758583"/>
                <a:gd name="connsiteX8" fmla="*/ 4287102 w 5706729"/>
                <a:gd name="connsiteY8" fmla="*/ 5465440 h 5758583"/>
                <a:gd name="connsiteX9" fmla="*/ 5275499 w 5706729"/>
                <a:gd name="connsiteY9" fmla="*/ 4894601 h 5758583"/>
                <a:gd name="connsiteX10" fmla="*/ 5653627 w 5706729"/>
                <a:gd name="connsiteY10" fmla="*/ 4263569 h 5758583"/>
                <a:gd name="connsiteX11" fmla="*/ 5658913 w 5706729"/>
                <a:gd name="connsiteY11" fmla="*/ 3393505 h 5758583"/>
                <a:gd name="connsiteX12" fmla="*/ 5146617 w 5706729"/>
                <a:gd name="connsiteY12" fmla="*/ 2031039 h 5758583"/>
                <a:gd name="connsiteX13" fmla="*/ 4437951 w 5706729"/>
                <a:gd name="connsiteY13" fmla="*/ 1019468 h 5758583"/>
                <a:gd name="connsiteX14" fmla="*/ 3786602 w 5706729"/>
                <a:gd name="connsiteY14" fmla="*/ 436029 h 5758583"/>
                <a:gd name="connsiteX0" fmla="*/ 3787120 w 5707247"/>
                <a:gd name="connsiteY0" fmla="*/ 436029 h 5758564"/>
                <a:gd name="connsiteX1" fmla="*/ 2543388 w 5707247"/>
                <a:gd name="connsiteY1" fmla="*/ 182 h 5758564"/>
                <a:gd name="connsiteX2" fmla="*/ 1401710 w 5707247"/>
                <a:gd name="connsiteY2" fmla="*/ 481167 h 5758564"/>
                <a:gd name="connsiteX3" fmla="*/ 402741 w 5707247"/>
                <a:gd name="connsiteY3" fmla="*/ 1950550 h 5758564"/>
                <a:gd name="connsiteX4" fmla="*/ 1039 w 5707247"/>
                <a:gd name="connsiteY4" fmla="*/ 3795206 h 5758564"/>
                <a:gd name="connsiteX5" fmla="*/ 317369 w 5707247"/>
                <a:gd name="connsiteY5" fmla="*/ 4979571 h 5758564"/>
                <a:gd name="connsiteX6" fmla="*/ 1185002 w 5707247"/>
                <a:gd name="connsiteY6" fmla="*/ 5544723 h 5758564"/>
                <a:gd name="connsiteX7" fmla="*/ 2669735 w 5707247"/>
                <a:gd name="connsiteY7" fmla="*/ 5757350 h 5758564"/>
                <a:gd name="connsiteX8" fmla="*/ 4287620 w 5707247"/>
                <a:gd name="connsiteY8" fmla="*/ 5465440 h 5758564"/>
                <a:gd name="connsiteX9" fmla="*/ 5276017 w 5707247"/>
                <a:gd name="connsiteY9" fmla="*/ 4894601 h 5758564"/>
                <a:gd name="connsiteX10" fmla="*/ 5654145 w 5707247"/>
                <a:gd name="connsiteY10" fmla="*/ 4263569 h 5758564"/>
                <a:gd name="connsiteX11" fmla="*/ 5659431 w 5707247"/>
                <a:gd name="connsiteY11" fmla="*/ 3393505 h 5758564"/>
                <a:gd name="connsiteX12" fmla="*/ 5147135 w 5707247"/>
                <a:gd name="connsiteY12" fmla="*/ 2031039 h 5758564"/>
                <a:gd name="connsiteX13" fmla="*/ 4438469 w 5707247"/>
                <a:gd name="connsiteY13" fmla="*/ 1019468 h 5758564"/>
                <a:gd name="connsiteX14" fmla="*/ 3787120 w 5707247"/>
                <a:gd name="connsiteY14" fmla="*/ 436029 h 5758564"/>
                <a:gd name="connsiteX0" fmla="*/ 3805311 w 5725438"/>
                <a:gd name="connsiteY0" fmla="*/ 436029 h 5758564"/>
                <a:gd name="connsiteX1" fmla="*/ 2561579 w 5725438"/>
                <a:gd name="connsiteY1" fmla="*/ 182 h 5758564"/>
                <a:gd name="connsiteX2" fmla="*/ 1419901 w 5725438"/>
                <a:gd name="connsiteY2" fmla="*/ 481167 h 5758564"/>
                <a:gd name="connsiteX3" fmla="*/ 420932 w 5725438"/>
                <a:gd name="connsiteY3" fmla="*/ 1950550 h 5758564"/>
                <a:gd name="connsiteX4" fmla="*/ 942 w 5725438"/>
                <a:gd name="connsiteY4" fmla="*/ 3795206 h 5758564"/>
                <a:gd name="connsiteX5" fmla="*/ 335560 w 5725438"/>
                <a:gd name="connsiteY5" fmla="*/ 4979571 h 5758564"/>
                <a:gd name="connsiteX6" fmla="*/ 1203193 w 5725438"/>
                <a:gd name="connsiteY6" fmla="*/ 5544723 h 5758564"/>
                <a:gd name="connsiteX7" fmla="*/ 2687926 w 5725438"/>
                <a:gd name="connsiteY7" fmla="*/ 5757350 h 5758564"/>
                <a:gd name="connsiteX8" fmla="*/ 4305811 w 5725438"/>
                <a:gd name="connsiteY8" fmla="*/ 5465440 h 5758564"/>
                <a:gd name="connsiteX9" fmla="*/ 5294208 w 5725438"/>
                <a:gd name="connsiteY9" fmla="*/ 4894601 h 5758564"/>
                <a:gd name="connsiteX10" fmla="*/ 5672336 w 5725438"/>
                <a:gd name="connsiteY10" fmla="*/ 4263569 h 5758564"/>
                <a:gd name="connsiteX11" fmla="*/ 5677622 w 5725438"/>
                <a:gd name="connsiteY11" fmla="*/ 3393505 h 5758564"/>
                <a:gd name="connsiteX12" fmla="*/ 5165326 w 5725438"/>
                <a:gd name="connsiteY12" fmla="*/ 2031039 h 5758564"/>
                <a:gd name="connsiteX13" fmla="*/ 4456660 w 5725438"/>
                <a:gd name="connsiteY13" fmla="*/ 1019468 h 5758564"/>
                <a:gd name="connsiteX14" fmla="*/ 3805311 w 5725438"/>
                <a:gd name="connsiteY14" fmla="*/ 436029 h 5758564"/>
                <a:gd name="connsiteX0" fmla="*/ 3805311 w 5725438"/>
                <a:gd name="connsiteY0" fmla="*/ 436029 h 5759220"/>
                <a:gd name="connsiteX1" fmla="*/ 2561579 w 5725438"/>
                <a:gd name="connsiteY1" fmla="*/ 182 h 5759220"/>
                <a:gd name="connsiteX2" fmla="*/ 1419901 w 5725438"/>
                <a:gd name="connsiteY2" fmla="*/ 481167 h 5759220"/>
                <a:gd name="connsiteX3" fmla="*/ 420932 w 5725438"/>
                <a:gd name="connsiteY3" fmla="*/ 1950550 h 5759220"/>
                <a:gd name="connsiteX4" fmla="*/ 942 w 5725438"/>
                <a:gd name="connsiteY4" fmla="*/ 3795206 h 5759220"/>
                <a:gd name="connsiteX5" fmla="*/ 335560 w 5725438"/>
                <a:gd name="connsiteY5" fmla="*/ 4979571 h 5759220"/>
                <a:gd name="connsiteX6" fmla="*/ 1203193 w 5725438"/>
                <a:gd name="connsiteY6" fmla="*/ 5559354 h 5759220"/>
                <a:gd name="connsiteX7" fmla="*/ 2687926 w 5725438"/>
                <a:gd name="connsiteY7" fmla="*/ 5757350 h 5759220"/>
                <a:gd name="connsiteX8" fmla="*/ 4305811 w 5725438"/>
                <a:gd name="connsiteY8" fmla="*/ 5465440 h 5759220"/>
                <a:gd name="connsiteX9" fmla="*/ 5294208 w 5725438"/>
                <a:gd name="connsiteY9" fmla="*/ 4894601 h 5759220"/>
                <a:gd name="connsiteX10" fmla="*/ 5672336 w 5725438"/>
                <a:gd name="connsiteY10" fmla="*/ 4263569 h 5759220"/>
                <a:gd name="connsiteX11" fmla="*/ 5677622 w 5725438"/>
                <a:gd name="connsiteY11" fmla="*/ 3393505 h 5759220"/>
                <a:gd name="connsiteX12" fmla="*/ 5165326 w 5725438"/>
                <a:gd name="connsiteY12" fmla="*/ 2031039 h 5759220"/>
                <a:gd name="connsiteX13" fmla="*/ 4456660 w 5725438"/>
                <a:gd name="connsiteY13" fmla="*/ 1019468 h 5759220"/>
                <a:gd name="connsiteX14" fmla="*/ 3805311 w 5725438"/>
                <a:gd name="connsiteY14" fmla="*/ 436029 h 5759220"/>
                <a:gd name="connsiteX0" fmla="*/ 3805311 w 5725438"/>
                <a:gd name="connsiteY0" fmla="*/ 436029 h 5758768"/>
                <a:gd name="connsiteX1" fmla="*/ 2561579 w 5725438"/>
                <a:gd name="connsiteY1" fmla="*/ 182 h 5758768"/>
                <a:gd name="connsiteX2" fmla="*/ 1419901 w 5725438"/>
                <a:gd name="connsiteY2" fmla="*/ 481167 h 5758768"/>
                <a:gd name="connsiteX3" fmla="*/ 420932 w 5725438"/>
                <a:gd name="connsiteY3" fmla="*/ 1950550 h 5758768"/>
                <a:gd name="connsiteX4" fmla="*/ 942 w 5725438"/>
                <a:gd name="connsiteY4" fmla="*/ 3795206 h 5758768"/>
                <a:gd name="connsiteX5" fmla="*/ 335560 w 5725438"/>
                <a:gd name="connsiteY5" fmla="*/ 4979571 h 5758768"/>
                <a:gd name="connsiteX6" fmla="*/ 1203193 w 5725438"/>
                <a:gd name="connsiteY6" fmla="*/ 5559354 h 5758768"/>
                <a:gd name="connsiteX7" fmla="*/ 2687926 w 5725438"/>
                <a:gd name="connsiteY7" fmla="*/ 5757350 h 5758768"/>
                <a:gd name="connsiteX8" fmla="*/ 4305811 w 5725438"/>
                <a:gd name="connsiteY8" fmla="*/ 5465440 h 5758768"/>
                <a:gd name="connsiteX9" fmla="*/ 5294208 w 5725438"/>
                <a:gd name="connsiteY9" fmla="*/ 4894601 h 5758768"/>
                <a:gd name="connsiteX10" fmla="*/ 5672336 w 5725438"/>
                <a:gd name="connsiteY10" fmla="*/ 4263569 h 5758768"/>
                <a:gd name="connsiteX11" fmla="*/ 5677622 w 5725438"/>
                <a:gd name="connsiteY11" fmla="*/ 3393505 h 5758768"/>
                <a:gd name="connsiteX12" fmla="*/ 5165326 w 5725438"/>
                <a:gd name="connsiteY12" fmla="*/ 2031039 h 5758768"/>
                <a:gd name="connsiteX13" fmla="*/ 4456660 w 5725438"/>
                <a:gd name="connsiteY13" fmla="*/ 1019468 h 5758768"/>
                <a:gd name="connsiteX14" fmla="*/ 3805311 w 5725438"/>
                <a:gd name="connsiteY14" fmla="*/ 436029 h 5758768"/>
                <a:gd name="connsiteX0" fmla="*/ 3805311 w 5725438"/>
                <a:gd name="connsiteY0" fmla="*/ 436029 h 5758990"/>
                <a:gd name="connsiteX1" fmla="*/ 2561579 w 5725438"/>
                <a:gd name="connsiteY1" fmla="*/ 182 h 5758990"/>
                <a:gd name="connsiteX2" fmla="*/ 1419901 w 5725438"/>
                <a:gd name="connsiteY2" fmla="*/ 481167 h 5758990"/>
                <a:gd name="connsiteX3" fmla="*/ 420932 w 5725438"/>
                <a:gd name="connsiteY3" fmla="*/ 1950550 h 5758990"/>
                <a:gd name="connsiteX4" fmla="*/ 942 w 5725438"/>
                <a:gd name="connsiteY4" fmla="*/ 3795206 h 5758990"/>
                <a:gd name="connsiteX5" fmla="*/ 335560 w 5725438"/>
                <a:gd name="connsiteY5" fmla="*/ 4979571 h 5758990"/>
                <a:gd name="connsiteX6" fmla="*/ 1203193 w 5725438"/>
                <a:gd name="connsiteY6" fmla="*/ 5559354 h 5758990"/>
                <a:gd name="connsiteX7" fmla="*/ 2687926 w 5725438"/>
                <a:gd name="connsiteY7" fmla="*/ 5757350 h 5758990"/>
                <a:gd name="connsiteX8" fmla="*/ 4305811 w 5725438"/>
                <a:gd name="connsiteY8" fmla="*/ 5465440 h 5758990"/>
                <a:gd name="connsiteX9" fmla="*/ 5294208 w 5725438"/>
                <a:gd name="connsiteY9" fmla="*/ 4894601 h 5758990"/>
                <a:gd name="connsiteX10" fmla="*/ 5672336 w 5725438"/>
                <a:gd name="connsiteY10" fmla="*/ 4263569 h 5758990"/>
                <a:gd name="connsiteX11" fmla="*/ 5677622 w 5725438"/>
                <a:gd name="connsiteY11" fmla="*/ 3393505 h 5758990"/>
                <a:gd name="connsiteX12" fmla="*/ 5165326 w 5725438"/>
                <a:gd name="connsiteY12" fmla="*/ 2031039 h 5758990"/>
                <a:gd name="connsiteX13" fmla="*/ 4456660 w 5725438"/>
                <a:gd name="connsiteY13" fmla="*/ 1019468 h 5758990"/>
                <a:gd name="connsiteX14" fmla="*/ 3805311 w 5725438"/>
                <a:gd name="connsiteY14" fmla="*/ 436029 h 5758990"/>
                <a:gd name="connsiteX0" fmla="*/ 3805377 w 5725504"/>
                <a:gd name="connsiteY0" fmla="*/ 436029 h 5758990"/>
                <a:gd name="connsiteX1" fmla="*/ 2561645 w 5725504"/>
                <a:gd name="connsiteY1" fmla="*/ 182 h 5758990"/>
                <a:gd name="connsiteX2" fmla="*/ 1419967 w 5725504"/>
                <a:gd name="connsiteY2" fmla="*/ 481167 h 5758990"/>
                <a:gd name="connsiteX3" fmla="*/ 420998 w 5725504"/>
                <a:gd name="connsiteY3" fmla="*/ 1950550 h 5758990"/>
                <a:gd name="connsiteX4" fmla="*/ 1008 w 5725504"/>
                <a:gd name="connsiteY4" fmla="*/ 3795206 h 5758990"/>
                <a:gd name="connsiteX5" fmla="*/ 335626 w 5725504"/>
                <a:gd name="connsiteY5" fmla="*/ 4979571 h 5758990"/>
                <a:gd name="connsiteX6" fmla="*/ 1203259 w 5725504"/>
                <a:gd name="connsiteY6" fmla="*/ 5559354 h 5758990"/>
                <a:gd name="connsiteX7" fmla="*/ 2687992 w 5725504"/>
                <a:gd name="connsiteY7" fmla="*/ 5757350 h 5758990"/>
                <a:gd name="connsiteX8" fmla="*/ 4305877 w 5725504"/>
                <a:gd name="connsiteY8" fmla="*/ 5465440 h 5758990"/>
                <a:gd name="connsiteX9" fmla="*/ 5294274 w 5725504"/>
                <a:gd name="connsiteY9" fmla="*/ 4894601 h 5758990"/>
                <a:gd name="connsiteX10" fmla="*/ 5672402 w 5725504"/>
                <a:gd name="connsiteY10" fmla="*/ 4263569 h 5758990"/>
                <a:gd name="connsiteX11" fmla="*/ 5677688 w 5725504"/>
                <a:gd name="connsiteY11" fmla="*/ 3393505 h 5758990"/>
                <a:gd name="connsiteX12" fmla="*/ 5165392 w 5725504"/>
                <a:gd name="connsiteY12" fmla="*/ 2031039 h 5758990"/>
                <a:gd name="connsiteX13" fmla="*/ 4456726 w 5725504"/>
                <a:gd name="connsiteY13" fmla="*/ 1019468 h 5758990"/>
                <a:gd name="connsiteX14" fmla="*/ 3805377 w 5725504"/>
                <a:gd name="connsiteY14" fmla="*/ 436029 h 5758990"/>
                <a:gd name="connsiteX0" fmla="*/ 3805377 w 5725504"/>
                <a:gd name="connsiteY0" fmla="*/ 454501 h 5777462"/>
                <a:gd name="connsiteX1" fmla="*/ 2580154 w 5725504"/>
                <a:gd name="connsiteY1" fmla="*/ 144 h 5777462"/>
                <a:gd name="connsiteX2" fmla="*/ 1419967 w 5725504"/>
                <a:gd name="connsiteY2" fmla="*/ 499639 h 5777462"/>
                <a:gd name="connsiteX3" fmla="*/ 420998 w 5725504"/>
                <a:gd name="connsiteY3" fmla="*/ 1969022 h 5777462"/>
                <a:gd name="connsiteX4" fmla="*/ 1008 w 5725504"/>
                <a:gd name="connsiteY4" fmla="*/ 3813678 h 5777462"/>
                <a:gd name="connsiteX5" fmla="*/ 335626 w 5725504"/>
                <a:gd name="connsiteY5" fmla="*/ 4998043 h 5777462"/>
                <a:gd name="connsiteX6" fmla="*/ 1203259 w 5725504"/>
                <a:gd name="connsiteY6" fmla="*/ 5577826 h 5777462"/>
                <a:gd name="connsiteX7" fmla="*/ 2687992 w 5725504"/>
                <a:gd name="connsiteY7" fmla="*/ 5775822 h 5777462"/>
                <a:gd name="connsiteX8" fmla="*/ 4305877 w 5725504"/>
                <a:gd name="connsiteY8" fmla="*/ 5483912 h 5777462"/>
                <a:gd name="connsiteX9" fmla="*/ 5294274 w 5725504"/>
                <a:gd name="connsiteY9" fmla="*/ 4913073 h 5777462"/>
                <a:gd name="connsiteX10" fmla="*/ 5672402 w 5725504"/>
                <a:gd name="connsiteY10" fmla="*/ 4282041 h 5777462"/>
                <a:gd name="connsiteX11" fmla="*/ 5677688 w 5725504"/>
                <a:gd name="connsiteY11" fmla="*/ 3411977 h 5777462"/>
                <a:gd name="connsiteX12" fmla="*/ 5165392 w 5725504"/>
                <a:gd name="connsiteY12" fmla="*/ 2049511 h 5777462"/>
                <a:gd name="connsiteX13" fmla="*/ 4456726 w 5725504"/>
                <a:gd name="connsiteY13" fmla="*/ 1037940 h 5777462"/>
                <a:gd name="connsiteX14" fmla="*/ 3805377 w 5725504"/>
                <a:gd name="connsiteY14" fmla="*/ 454501 h 5777462"/>
                <a:gd name="connsiteX0" fmla="*/ 3805377 w 5725504"/>
                <a:gd name="connsiteY0" fmla="*/ 454541 h 5777502"/>
                <a:gd name="connsiteX1" fmla="*/ 2580154 w 5725504"/>
                <a:gd name="connsiteY1" fmla="*/ 184 h 5777502"/>
                <a:gd name="connsiteX2" fmla="*/ 1419967 w 5725504"/>
                <a:gd name="connsiteY2" fmla="*/ 499679 h 5777502"/>
                <a:gd name="connsiteX3" fmla="*/ 420998 w 5725504"/>
                <a:gd name="connsiteY3" fmla="*/ 1969062 h 5777502"/>
                <a:gd name="connsiteX4" fmla="*/ 1008 w 5725504"/>
                <a:gd name="connsiteY4" fmla="*/ 3813718 h 5777502"/>
                <a:gd name="connsiteX5" fmla="*/ 335626 w 5725504"/>
                <a:gd name="connsiteY5" fmla="*/ 4998083 h 5777502"/>
                <a:gd name="connsiteX6" fmla="*/ 1203259 w 5725504"/>
                <a:gd name="connsiteY6" fmla="*/ 5577866 h 5777502"/>
                <a:gd name="connsiteX7" fmla="*/ 2687992 w 5725504"/>
                <a:gd name="connsiteY7" fmla="*/ 5775862 h 5777502"/>
                <a:gd name="connsiteX8" fmla="*/ 4305877 w 5725504"/>
                <a:gd name="connsiteY8" fmla="*/ 5483952 h 5777502"/>
                <a:gd name="connsiteX9" fmla="*/ 5294274 w 5725504"/>
                <a:gd name="connsiteY9" fmla="*/ 4913113 h 5777502"/>
                <a:gd name="connsiteX10" fmla="*/ 5672402 w 5725504"/>
                <a:gd name="connsiteY10" fmla="*/ 4282081 h 5777502"/>
                <a:gd name="connsiteX11" fmla="*/ 5677688 w 5725504"/>
                <a:gd name="connsiteY11" fmla="*/ 3412017 h 5777502"/>
                <a:gd name="connsiteX12" fmla="*/ 5165392 w 5725504"/>
                <a:gd name="connsiteY12" fmla="*/ 2049551 h 5777502"/>
                <a:gd name="connsiteX13" fmla="*/ 4456726 w 5725504"/>
                <a:gd name="connsiteY13" fmla="*/ 1037980 h 5777502"/>
                <a:gd name="connsiteX14" fmla="*/ 3805377 w 5725504"/>
                <a:gd name="connsiteY14" fmla="*/ 454541 h 5777502"/>
                <a:gd name="connsiteX0" fmla="*/ 3805377 w 5725504"/>
                <a:gd name="connsiteY0" fmla="*/ 455068 h 5778029"/>
                <a:gd name="connsiteX1" fmla="*/ 2580154 w 5725504"/>
                <a:gd name="connsiteY1" fmla="*/ 711 h 5778029"/>
                <a:gd name="connsiteX2" fmla="*/ 1355185 w 5725504"/>
                <a:gd name="connsiteY2" fmla="*/ 546479 h 5778029"/>
                <a:gd name="connsiteX3" fmla="*/ 420998 w 5725504"/>
                <a:gd name="connsiteY3" fmla="*/ 1969589 h 5778029"/>
                <a:gd name="connsiteX4" fmla="*/ 1008 w 5725504"/>
                <a:gd name="connsiteY4" fmla="*/ 3814245 h 5778029"/>
                <a:gd name="connsiteX5" fmla="*/ 335626 w 5725504"/>
                <a:gd name="connsiteY5" fmla="*/ 4998610 h 5778029"/>
                <a:gd name="connsiteX6" fmla="*/ 1203259 w 5725504"/>
                <a:gd name="connsiteY6" fmla="*/ 5578393 h 5778029"/>
                <a:gd name="connsiteX7" fmla="*/ 2687992 w 5725504"/>
                <a:gd name="connsiteY7" fmla="*/ 5776389 h 5778029"/>
                <a:gd name="connsiteX8" fmla="*/ 4305877 w 5725504"/>
                <a:gd name="connsiteY8" fmla="*/ 5484479 h 5778029"/>
                <a:gd name="connsiteX9" fmla="*/ 5294274 w 5725504"/>
                <a:gd name="connsiteY9" fmla="*/ 4913640 h 5778029"/>
                <a:gd name="connsiteX10" fmla="*/ 5672402 w 5725504"/>
                <a:gd name="connsiteY10" fmla="*/ 4282608 h 5778029"/>
                <a:gd name="connsiteX11" fmla="*/ 5677688 w 5725504"/>
                <a:gd name="connsiteY11" fmla="*/ 3412544 h 5778029"/>
                <a:gd name="connsiteX12" fmla="*/ 5165392 w 5725504"/>
                <a:gd name="connsiteY12" fmla="*/ 2050078 h 5778029"/>
                <a:gd name="connsiteX13" fmla="*/ 4456726 w 5725504"/>
                <a:gd name="connsiteY13" fmla="*/ 1038507 h 5778029"/>
                <a:gd name="connsiteX14" fmla="*/ 3805377 w 5725504"/>
                <a:gd name="connsiteY14" fmla="*/ 455068 h 5778029"/>
                <a:gd name="connsiteX0" fmla="*/ 3805377 w 5725504"/>
                <a:gd name="connsiteY0" fmla="*/ 455068 h 5778029"/>
                <a:gd name="connsiteX1" fmla="*/ 2580154 w 5725504"/>
                <a:gd name="connsiteY1" fmla="*/ 711 h 5778029"/>
                <a:gd name="connsiteX2" fmla="*/ 1355185 w 5725504"/>
                <a:gd name="connsiteY2" fmla="*/ 546479 h 5778029"/>
                <a:gd name="connsiteX3" fmla="*/ 420998 w 5725504"/>
                <a:gd name="connsiteY3" fmla="*/ 1969589 h 5778029"/>
                <a:gd name="connsiteX4" fmla="*/ 1008 w 5725504"/>
                <a:gd name="connsiteY4" fmla="*/ 3814245 h 5778029"/>
                <a:gd name="connsiteX5" fmla="*/ 335626 w 5725504"/>
                <a:gd name="connsiteY5" fmla="*/ 4998610 h 5778029"/>
                <a:gd name="connsiteX6" fmla="*/ 1203259 w 5725504"/>
                <a:gd name="connsiteY6" fmla="*/ 5578393 h 5778029"/>
                <a:gd name="connsiteX7" fmla="*/ 2687992 w 5725504"/>
                <a:gd name="connsiteY7" fmla="*/ 5776389 h 5778029"/>
                <a:gd name="connsiteX8" fmla="*/ 4305877 w 5725504"/>
                <a:gd name="connsiteY8" fmla="*/ 5484479 h 5778029"/>
                <a:gd name="connsiteX9" fmla="*/ 5294274 w 5725504"/>
                <a:gd name="connsiteY9" fmla="*/ 4913640 h 5778029"/>
                <a:gd name="connsiteX10" fmla="*/ 5672402 w 5725504"/>
                <a:gd name="connsiteY10" fmla="*/ 4282608 h 5778029"/>
                <a:gd name="connsiteX11" fmla="*/ 5677688 w 5725504"/>
                <a:gd name="connsiteY11" fmla="*/ 3412544 h 5778029"/>
                <a:gd name="connsiteX12" fmla="*/ 5165392 w 5725504"/>
                <a:gd name="connsiteY12" fmla="*/ 2050078 h 5778029"/>
                <a:gd name="connsiteX13" fmla="*/ 4456726 w 5725504"/>
                <a:gd name="connsiteY13" fmla="*/ 1038507 h 5778029"/>
                <a:gd name="connsiteX14" fmla="*/ 3805377 w 5725504"/>
                <a:gd name="connsiteY14" fmla="*/ 455068 h 5778029"/>
                <a:gd name="connsiteX0" fmla="*/ 3804857 w 5724984"/>
                <a:gd name="connsiteY0" fmla="*/ 455068 h 5778029"/>
                <a:gd name="connsiteX1" fmla="*/ 2579634 w 5724984"/>
                <a:gd name="connsiteY1" fmla="*/ 711 h 5778029"/>
                <a:gd name="connsiteX2" fmla="*/ 1354665 w 5724984"/>
                <a:gd name="connsiteY2" fmla="*/ 546479 h 5778029"/>
                <a:gd name="connsiteX3" fmla="*/ 392714 w 5724984"/>
                <a:gd name="connsiteY3" fmla="*/ 2015862 h 5778029"/>
                <a:gd name="connsiteX4" fmla="*/ 488 w 5724984"/>
                <a:gd name="connsiteY4" fmla="*/ 3814245 h 5778029"/>
                <a:gd name="connsiteX5" fmla="*/ 335106 w 5724984"/>
                <a:gd name="connsiteY5" fmla="*/ 4998610 h 5778029"/>
                <a:gd name="connsiteX6" fmla="*/ 1202739 w 5724984"/>
                <a:gd name="connsiteY6" fmla="*/ 5578393 h 5778029"/>
                <a:gd name="connsiteX7" fmla="*/ 2687472 w 5724984"/>
                <a:gd name="connsiteY7" fmla="*/ 5776389 h 5778029"/>
                <a:gd name="connsiteX8" fmla="*/ 4305357 w 5724984"/>
                <a:gd name="connsiteY8" fmla="*/ 5484479 h 5778029"/>
                <a:gd name="connsiteX9" fmla="*/ 5293754 w 5724984"/>
                <a:gd name="connsiteY9" fmla="*/ 4913640 h 5778029"/>
                <a:gd name="connsiteX10" fmla="*/ 5671882 w 5724984"/>
                <a:gd name="connsiteY10" fmla="*/ 4282608 h 5778029"/>
                <a:gd name="connsiteX11" fmla="*/ 5677168 w 5724984"/>
                <a:gd name="connsiteY11" fmla="*/ 3412544 h 5778029"/>
                <a:gd name="connsiteX12" fmla="*/ 5164872 w 5724984"/>
                <a:gd name="connsiteY12" fmla="*/ 2050078 h 5778029"/>
                <a:gd name="connsiteX13" fmla="*/ 4456206 w 5724984"/>
                <a:gd name="connsiteY13" fmla="*/ 1038507 h 5778029"/>
                <a:gd name="connsiteX14" fmla="*/ 3804857 w 5724984"/>
                <a:gd name="connsiteY14" fmla="*/ 455068 h 5778029"/>
                <a:gd name="connsiteX0" fmla="*/ 3804857 w 5724984"/>
                <a:gd name="connsiteY0" fmla="*/ 455068 h 5776712"/>
                <a:gd name="connsiteX1" fmla="*/ 2579634 w 5724984"/>
                <a:gd name="connsiteY1" fmla="*/ 711 h 5776712"/>
                <a:gd name="connsiteX2" fmla="*/ 1354665 w 5724984"/>
                <a:gd name="connsiteY2" fmla="*/ 546479 h 5776712"/>
                <a:gd name="connsiteX3" fmla="*/ 392714 w 5724984"/>
                <a:gd name="connsiteY3" fmla="*/ 2015862 h 5776712"/>
                <a:gd name="connsiteX4" fmla="*/ 488 w 5724984"/>
                <a:gd name="connsiteY4" fmla="*/ 3814245 h 5776712"/>
                <a:gd name="connsiteX5" fmla="*/ 335106 w 5724984"/>
                <a:gd name="connsiteY5" fmla="*/ 4998610 h 5776712"/>
                <a:gd name="connsiteX6" fmla="*/ 1202739 w 5724984"/>
                <a:gd name="connsiteY6" fmla="*/ 5578393 h 5776712"/>
                <a:gd name="connsiteX7" fmla="*/ 2687472 w 5724984"/>
                <a:gd name="connsiteY7" fmla="*/ 5776389 h 5776712"/>
                <a:gd name="connsiteX8" fmla="*/ 4305357 w 5724984"/>
                <a:gd name="connsiteY8" fmla="*/ 5484479 h 5776712"/>
                <a:gd name="connsiteX9" fmla="*/ 5293754 w 5724984"/>
                <a:gd name="connsiteY9" fmla="*/ 4913640 h 5776712"/>
                <a:gd name="connsiteX10" fmla="*/ 5671882 w 5724984"/>
                <a:gd name="connsiteY10" fmla="*/ 4282608 h 5776712"/>
                <a:gd name="connsiteX11" fmla="*/ 5677168 w 5724984"/>
                <a:gd name="connsiteY11" fmla="*/ 3412544 h 5776712"/>
                <a:gd name="connsiteX12" fmla="*/ 5164872 w 5724984"/>
                <a:gd name="connsiteY12" fmla="*/ 2050078 h 5776712"/>
                <a:gd name="connsiteX13" fmla="*/ 4456206 w 5724984"/>
                <a:gd name="connsiteY13" fmla="*/ 1038507 h 5776712"/>
                <a:gd name="connsiteX14" fmla="*/ 3804857 w 5724984"/>
                <a:gd name="connsiteY14" fmla="*/ 455068 h 5776712"/>
                <a:gd name="connsiteX0" fmla="*/ 3804857 w 5733896"/>
                <a:gd name="connsiteY0" fmla="*/ 455068 h 5776712"/>
                <a:gd name="connsiteX1" fmla="*/ 2579634 w 5733896"/>
                <a:gd name="connsiteY1" fmla="*/ 711 h 5776712"/>
                <a:gd name="connsiteX2" fmla="*/ 1354665 w 5733896"/>
                <a:gd name="connsiteY2" fmla="*/ 546479 h 5776712"/>
                <a:gd name="connsiteX3" fmla="*/ 392714 w 5733896"/>
                <a:gd name="connsiteY3" fmla="*/ 2015862 h 5776712"/>
                <a:gd name="connsiteX4" fmla="*/ 488 w 5733896"/>
                <a:gd name="connsiteY4" fmla="*/ 3814245 h 5776712"/>
                <a:gd name="connsiteX5" fmla="*/ 335106 w 5733896"/>
                <a:gd name="connsiteY5" fmla="*/ 4998610 h 5776712"/>
                <a:gd name="connsiteX6" fmla="*/ 1202739 w 5733896"/>
                <a:gd name="connsiteY6" fmla="*/ 5578393 h 5776712"/>
                <a:gd name="connsiteX7" fmla="*/ 2687472 w 5733896"/>
                <a:gd name="connsiteY7" fmla="*/ 5776389 h 5776712"/>
                <a:gd name="connsiteX8" fmla="*/ 4305357 w 5733896"/>
                <a:gd name="connsiteY8" fmla="*/ 5484479 h 5776712"/>
                <a:gd name="connsiteX9" fmla="*/ 5293754 w 5733896"/>
                <a:gd name="connsiteY9" fmla="*/ 4913640 h 5776712"/>
                <a:gd name="connsiteX10" fmla="*/ 5690391 w 5733896"/>
                <a:gd name="connsiteY10" fmla="*/ 4301117 h 5776712"/>
                <a:gd name="connsiteX11" fmla="*/ 5677168 w 5733896"/>
                <a:gd name="connsiteY11" fmla="*/ 3412544 h 5776712"/>
                <a:gd name="connsiteX12" fmla="*/ 5164872 w 5733896"/>
                <a:gd name="connsiteY12" fmla="*/ 2050078 h 5776712"/>
                <a:gd name="connsiteX13" fmla="*/ 4456206 w 5733896"/>
                <a:gd name="connsiteY13" fmla="*/ 1038507 h 5776712"/>
                <a:gd name="connsiteX14" fmla="*/ 3804857 w 5733896"/>
                <a:gd name="connsiteY14" fmla="*/ 455068 h 5776712"/>
                <a:gd name="connsiteX0" fmla="*/ 3804857 w 5729250"/>
                <a:gd name="connsiteY0" fmla="*/ 455068 h 5776712"/>
                <a:gd name="connsiteX1" fmla="*/ 2579634 w 5729250"/>
                <a:gd name="connsiteY1" fmla="*/ 711 h 5776712"/>
                <a:gd name="connsiteX2" fmla="*/ 1354665 w 5729250"/>
                <a:gd name="connsiteY2" fmla="*/ 546479 h 5776712"/>
                <a:gd name="connsiteX3" fmla="*/ 392714 w 5729250"/>
                <a:gd name="connsiteY3" fmla="*/ 2015862 h 5776712"/>
                <a:gd name="connsiteX4" fmla="*/ 488 w 5729250"/>
                <a:gd name="connsiteY4" fmla="*/ 3814245 h 5776712"/>
                <a:gd name="connsiteX5" fmla="*/ 335106 w 5729250"/>
                <a:gd name="connsiteY5" fmla="*/ 4998610 h 5776712"/>
                <a:gd name="connsiteX6" fmla="*/ 1202739 w 5729250"/>
                <a:gd name="connsiteY6" fmla="*/ 5578393 h 5776712"/>
                <a:gd name="connsiteX7" fmla="*/ 2687472 w 5729250"/>
                <a:gd name="connsiteY7" fmla="*/ 5776389 h 5776712"/>
                <a:gd name="connsiteX8" fmla="*/ 4305357 w 5729250"/>
                <a:gd name="connsiteY8" fmla="*/ 5484479 h 5776712"/>
                <a:gd name="connsiteX9" fmla="*/ 5293754 w 5729250"/>
                <a:gd name="connsiteY9" fmla="*/ 4913640 h 5776712"/>
                <a:gd name="connsiteX10" fmla="*/ 5681136 w 5729250"/>
                <a:gd name="connsiteY10" fmla="*/ 4301117 h 5776712"/>
                <a:gd name="connsiteX11" fmla="*/ 5677168 w 5729250"/>
                <a:gd name="connsiteY11" fmla="*/ 3412544 h 5776712"/>
                <a:gd name="connsiteX12" fmla="*/ 5164872 w 5729250"/>
                <a:gd name="connsiteY12" fmla="*/ 2050078 h 5776712"/>
                <a:gd name="connsiteX13" fmla="*/ 4456206 w 5729250"/>
                <a:gd name="connsiteY13" fmla="*/ 1038507 h 5776712"/>
                <a:gd name="connsiteX14" fmla="*/ 3804857 w 5729250"/>
                <a:gd name="connsiteY14" fmla="*/ 455068 h 5776712"/>
                <a:gd name="connsiteX0" fmla="*/ 3804857 w 5733101"/>
                <a:gd name="connsiteY0" fmla="*/ 455068 h 5776712"/>
                <a:gd name="connsiteX1" fmla="*/ 2579634 w 5733101"/>
                <a:gd name="connsiteY1" fmla="*/ 711 h 5776712"/>
                <a:gd name="connsiteX2" fmla="*/ 1354665 w 5733101"/>
                <a:gd name="connsiteY2" fmla="*/ 546479 h 5776712"/>
                <a:gd name="connsiteX3" fmla="*/ 392714 w 5733101"/>
                <a:gd name="connsiteY3" fmla="*/ 2015862 h 5776712"/>
                <a:gd name="connsiteX4" fmla="*/ 488 w 5733101"/>
                <a:gd name="connsiteY4" fmla="*/ 3814245 h 5776712"/>
                <a:gd name="connsiteX5" fmla="*/ 335106 w 5733101"/>
                <a:gd name="connsiteY5" fmla="*/ 4998610 h 5776712"/>
                <a:gd name="connsiteX6" fmla="*/ 1202739 w 5733101"/>
                <a:gd name="connsiteY6" fmla="*/ 5578393 h 5776712"/>
                <a:gd name="connsiteX7" fmla="*/ 2687472 w 5733101"/>
                <a:gd name="connsiteY7" fmla="*/ 5776389 h 5776712"/>
                <a:gd name="connsiteX8" fmla="*/ 4305357 w 5733101"/>
                <a:gd name="connsiteY8" fmla="*/ 5484479 h 5776712"/>
                <a:gd name="connsiteX9" fmla="*/ 5293754 w 5733101"/>
                <a:gd name="connsiteY9" fmla="*/ 4913640 h 5776712"/>
                <a:gd name="connsiteX10" fmla="*/ 5681136 w 5733101"/>
                <a:gd name="connsiteY10" fmla="*/ 4301117 h 5776712"/>
                <a:gd name="connsiteX11" fmla="*/ 5677168 w 5733101"/>
                <a:gd name="connsiteY11" fmla="*/ 3412544 h 5776712"/>
                <a:gd name="connsiteX12" fmla="*/ 5164872 w 5733101"/>
                <a:gd name="connsiteY12" fmla="*/ 2050078 h 5776712"/>
                <a:gd name="connsiteX13" fmla="*/ 4456206 w 5733101"/>
                <a:gd name="connsiteY13" fmla="*/ 1038507 h 5776712"/>
                <a:gd name="connsiteX14" fmla="*/ 3804857 w 5733101"/>
                <a:gd name="connsiteY14" fmla="*/ 455068 h 5776712"/>
                <a:gd name="connsiteX0" fmla="*/ 3804857 w 5723695"/>
                <a:gd name="connsiteY0" fmla="*/ 455068 h 5776712"/>
                <a:gd name="connsiteX1" fmla="*/ 2579634 w 5723695"/>
                <a:gd name="connsiteY1" fmla="*/ 711 h 5776712"/>
                <a:gd name="connsiteX2" fmla="*/ 1354665 w 5723695"/>
                <a:gd name="connsiteY2" fmla="*/ 546479 h 5776712"/>
                <a:gd name="connsiteX3" fmla="*/ 392714 w 5723695"/>
                <a:gd name="connsiteY3" fmla="*/ 2015862 h 5776712"/>
                <a:gd name="connsiteX4" fmla="*/ 488 w 5723695"/>
                <a:gd name="connsiteY4" fmla="*/ 3814245 h 5776712"/>
                <a:gd name="connsiteX5" fmla="*/ 335106 w 5723695"/>
                <a:gd name="connsiteY5" fmla="*/ 4998610 h 5776712"/>
                <a:gd name="connsiteX6" fmla="*/ 1202739 w 5723695"/>
                <a:gd name="connsiteY6" fmla="*/ 5578393 h 5776712"/>
                <a:gd name="connsiteX7" fmla="*/ 2687472 w 5723695"/>
                <a:gd name="connsiteY7" fmla="*/ 5776389 h 5776712"/>
                <a:gd name="connsiteX8" fmla="*/ 4305357 w 5723695"/>
                <a:gd name="connsiteY8" fmla="*/ 5484479 h 5776712"/>
                <a:gd name="connsiteX9" fmla="*/ 5293754 w 5723695"/>
                <a:gd name="connsiteY9" fmla="*/ 4913640 h 5776712"/>
                <a:gd name="connsiteX10" fmla="*/ 5681136 w 5723695"/>
                <a:gd name="connsiteY10" fmla="*/ 4301117 h 5776712"/>
                <a:gd name="connsiteX11" fmla="*/ 5649404 w 5723695"/>
                <a:gd name="connsiteY11" fmla="*/ 3282980 h 5776712"/>
                <a:gd name="connsiteX12" fmla="*/ 5164872 w 5723695"/>
                <a:gd name="connsiteY12" fmla="*/ 2050078 h 5776712"/>
                <a:gd name="connsiteX13" fmla="*/ 4456206 w 5723695"/>
                <a:gd name="connsiteY13" fmla="*/ 1038507 h 5776712"/>
                <a:gd name="connsiteX14" fmla="*/ 3804857 w 5723695"/>
                <a:gd name="connsiteY14" fmla="*/ 455068 h 5776712"/>
                <a:gd name="connsiteX0" fmla="*/ 3804857 w 5720637"/>
                <a:gd name="connsiteY0" fmla="*/ 455068 h 5776712"/>
                <a:gd name="connsiteX1" fmla="*/ 2579634 w 5720637"/>
                <a:gd name="connsiteY1" fmla="*/ 711 h 5776712"/>
                <a:gd name="connsiteX2" fmla="*/ 1354665 w 5720637"/>
                <a:gd name="connsiteY2" fmla="*/ 546479 h 5776712"/>
                <a:gd name="connsiteX3" fmla="*/ 392714 w 5720637"/>
                <a:gd name="connsiteY3" fmla="*/ 2015862 h 5776712"/>
                <a:gd name="connsiteX4" fmla="*/ 488 w 5720637"/>
                <a:gd name="connsiteY4" fmla="*/ 3814245 h 5776712"/>
                <a:gd name="connsiteX5" fmla="*/ 335106 w 5720637"/>
                <a:gd name="connsiteY5" fmla="*/ 4998610 h 5776712"/>
                <a:gd name="connsiteX6" fmla="*/ 1202739 w 5720637"/>
                <a:gd name="connsiteY6" fmla="*/ 5578393 h 5776712"/>
                <a:gd name="connsiteX7" fmla="*/ 2687472 w 5720637"/>
                <a:gd name="connsiteY7" fmla="*/ 5776389 h 5776712"/>
                <a:gd name="connsiteX8" fmla="*/ 4305357 w 5720637"/>
                <a:gd name="connsiteY8" fmla="*/ 5484479 h 5776712"/>
                <a:gd name="connsiteX9" fmla="*/ 5293754 w 5720637"/>
                <a:gd name="connsiteY9" fmla="*/ 4913640 h 5776712"/>
                <a:gd name="connsiteX10" fmla="*/ 5681136 w 5720637"/>
                <a:gd name="connsiteY10" fmla="*/ 4301117 h 5776712"/>
                <a:gd name="connsiteX11" fmla="*/ 5649404 w 5720637"/>
                <a:gd name="connsiteY11" fmla="*/ 3282980 h 5776712"/>
                <a:gd name="connsiteX12" fmla="*/ 5164872 w 5720637"/>
                <a:gd name="connsiteY12" fmla="*/ 2050078 h 5776712"/>
                <a:gd name="connsiteX13" fmla="*/ 4456206 w 5720637"/>
                <a:gd name="connsiteY13" fmla="*/ 1038507 h 5776712"/>
                <a:gd name="connsiteX14" fmla="*/ 3804857 w 5720637"/>
                <a:gd name="connsiteY14" fmla="*/ 455068 h 5776712"/>
                <a:gd name="connsiteX0" fmla="*/ 3786348 w 5720637"/>
                <a:gd name="connsiteY0" fmla="*/ 436933 h 5777086"/>
                <a:gd name="connsiteX1" fmla="*/ 2579634 w 5720637"/>
                <a:gd name="connsiteY1" fmla="*/ 1085 h 5777086"/>
                <a:gd name="connsiteX2" fmla="*/ 1354665 w 5720637"/>
                <a:gd name="connsiteY2" fmla="*/ 546853 h 5777086"/>
                <a:gd name="connsiteX3" fmla="*/ 392714 w 5720637"/>
                <a:gd name="connsiteY3" fmla="*/ 2016236 h 5777086"/>
                <a:gd name="connsiteX4" fmla="*/ 488 w 5720637"/>
                <a:gd name="connsiteY4" fmla="*/ 3814619 h 5777086"/>
                <a:gd name="connsiteX5" fmla="*/ 335106 w 5720637"/>
                <a:gd name="connsiteY5" fmla="*/ 4998984 h 5777086"/>
                <a:gd name="connsiteX6" fmla="*/ 1202739 w 5720637"/>
                <a:gd name="connsiteY6" fmla="*/ 5578767 h 5777086"/>
                <a:gd name="connsiteX7" fmla="*/ 2687472 w 5720637"/>
                <a:gd name="connsiteY7" fmla="*/ 5776763 h 5777086"/>
                <a:gd name="connsiteX8" fmla="*/ 4305357 w 5720637"/>
                <a:gd name="connsiteY8" fmla="*/ 5484853 h 5777086"/>
                <a:gd name="connsiteX9" fmla="*/ 5293754 w 5720637"/>
                <a:gd name="connsiteY9" fmla="*/ 4914014 h 5777086"/>
                <a:gd name="connsiteX10" fmla="*/ 5681136 w 5720637"/>
                <a:gd name="connsiteY10" fmla="*/ 4301491 h 5777086"/>
                <a:gd name="connsiteX11" fmla="*/ 5649404 w 5720637"/>
                <a:gd name="connsiteY11" fmla="*/ 3283354 h 5777086"/>
                <a:gd name="connsiteX12" fmla="*/ 5164872 w 5720637"/>
                <a:gd name="connsiteY12" fmla="*/ 2050452 h 5777086"/>
                <a:gd name="connsiteX13" fmla="*/ 4456206 w 5720637"/>
                <a:gd name="connsiteY13" fmla="*/ 1038881 h 5777086"/>
                <a:gd name="connsiteX14" fmla="*/ 3786348 w 5720637"/>
                <a:gd name="connsiteY14" fmla="*/ 436933 h 5777086"/>
                <a:gd name="connsiteX0" fmla="*/ 3786348 w 5720637"/>
                <a:gd name="connsiteY0" fmla="*/ 436933 h 5777086"/>
                <a:gd name="connsiteX1" fmla="*/ 2579634 w 5720637"/>
                <a:gd name="connsiteY1" fmla="*/ 1085 h 5777086"/>
                <a:gd name="connsiteX2" fmla="*/ 1354665 w 5720637"/>
                <a:gd name="connsiteY2" fmla="*/ 546853 h 5777086"/>
                <a:gd name="connsiteX3" fmla="*/ 392714 w 5720637"/>
                <a:gd name="connsiteY3" fmla="*/ 2016236 h 5777086"/>
                <a:gd name="connsiteX4" fmla="*/ 488 w 5720637"/>
                <a:gd name="connsiteY4" fmla="*/ 3814619 h 5777086"/>
                <a:gd name="connsiteX5" fmla="*/ 335106 w 5720637"/>
                <a:gd name="connsiteY5" fmla="*/ 4998984 h 5777086"/>
                <a:gd name="connsiteX6" fmla="*/ 1202739 w 5720637"/>
                <a:gd name="connsiteY6" fmla="*/ 5578767 h 5777086"/>
                <a:gd name="connsiteX7" fmla="*/ 2687472 w 5720637"/>
                <a:gd name="connsiteY7" fmla="*/ 5776763 h 5777086"/>
                <a:gd name="connsiteX8" fmla="*/ 4305357 w 5720637"/>
                <a:gd name="connsiteY8" fmla="*/ 5484853 h 5777086"/>
                <a:gd name="connsiteX9" fmla="*/ 5293754 w 5720637"/>
                <a:gd name="connsiteY9" fmla="*/ 4914014 h 5777086"/>
                <a:gd name="connsiteX10" fmla="*/ 5681136 w 5720637"/>
                <a:gd name="connsiteY10" fmla="*/ 4301491 h 5777086"/>
                <a:gd name="connsiteX11" fmla="*/ 5649404 w 5720637"/>
                <a:gd name="connsiteY11" fmla="*/ 3283354 h 5777086"/>
                <a:gd name="connsiteX12" fmla="*/ 5164872 w 5720637"/>
                <a:gd name="connsiteY12" fmla="*/ 2050452 h 5777086"/>
                <a:gd name="connsiteX13" fmla="*/ 4456206 w 5720637"/>
                <a:gd name="connsiteY13" fmla="*/ 1038881 h 5777086"/>
                <a:gd name="connsiteX14" fmla="*/ 3786348 w 5720637"/>
                <a:gd name="connsiteY14" fmla="*/ 436933 h 5777086"/>
                <a:gd name="connsiteX0" fmla="*/ 3786348 w 5726811"/>
                <a:gd name="connsiteY0" fmla="*/ 436933 h 5777086"/>
                <a:gd name="connsiteX1" fmla="*/ 2579634 w 5726811"/>
                <a:gd name="connsiteY1" fmla="*/ 1085 h 5777086"/>
                <a:gd name="connsiteX2" fmla="*/ 1354665 w 5726811"/>
                <a:gd name="connsiteY2" fmla="*/ 546853 h 5777086"/>
                <a:gd name="connsiteX3" fmla="*/ 392714 w 5726811"/>
                <a:gd name="connsiteY3" fmla="*/ 2016236 h 5777086"/>
                <a:gd name="connsiteX4" fmla="*/ 488 w 5726811"/>
                <a:gd name="connsiteY4" fmla="*/ 3814619 h 5777086"/>
                <a:gd name="connsiteX5" fmla="*/ 335106 w 5726811"/>
                <a:gd name="connsiteY5" fmla="*/ 4998984 h 5777086"/>
                <a:gd name="connsiteX6" fmla="*/ 1202739 w 5726811"/>
                <a:gd name="connsiteY6" fmla="*/ 5578767 h 5777086"/>
                <a:gd name="connsiteX7" fmla="*/ 2687472 w 5726811"/>
                <a:gd name="connsiteY7" fmla="*/ 5776763 h 5777086"/>
                <a:gd name="connsiteX8" fmla="*/ 4305357 w 5726811"/>
                <a:gd name="connsiteY8" fmla="*/ 5484853 h 5777086"/>
                <a:gd name="connsiteX9" fmla="*/ 5293754 w 5726811"/>
                <a:gd name="connsiteY9" fmla="*/ 4914014 h 5777086"/>
                <a:gd name="connsiteX10" fmla="*/ 5690392 w 5726811"/>
                <a:gd name="connsiteY10" fmla="*/ 4255218 h 5777086"/>
                <a:gd name="connsiteX11" fmla="*/ 5649404 w 5726811"/>
                <a:gd name="connsiteY11" fmla="*/ 3283354 h 5777086"/>
                <a:gd name="connsiteX12" fmla="*/ 5164872 w 5726811"/>
                <a:gd name="connsiteY12" fmla="*/ 2050452 h 5777086"/>
                <a:gd name="connsiteX13" fmla="*/ 4456206 w 5726811"/>
                <a:gd name="connsiteY13" fmla="*/ 1038881 h 5777086"/>
                <a:gd name="connsiteX14" fmla="*/ 3786348 w 5726811"/>
                <a:gd name="connsiteY14" fmla="*/ 436933 h 5777086"/>
                <a:gd name="connsiteX0" fmla="*/ 3786348 w 5726811"/>
                <a:gd name="connsiteY0" fmla="*/ 436933 h 5777086"/>
                <a:gd name="connsiteX1" fmla="*/ 2579634 w 5726811"/>
                <a:gd name="connsiteY1" fmla="*/ 1085 h 5777086"/>
                <a:gd name="connsiteX2" fmla="*/ 1354665 w 5726811"/>
                <a:gd name="connsiteY2" fmla="*/ 546853 h 5777086"/>
                <a:gd name="connsiteX3" fmla="*/ 392714 w 5726811"/>
                <a:gd name="connsiteY3" fmla="*/ 2016236 h 5777086"/>
                <a:gd name="connsiteX4" fmla="*/ 488 w 5726811"/>
                <a:gd name="connsiteY4" fmla="*/ 3814619 h 5777086"/>
                <a:gd name="connsiteX5" fmla="*/ 335106 w 5726811"/>
                <a:gd name="connsiteY5" fmla="*/ 4998984 h 5777086"/>
                <a:gd name="connsiteX6" fmla="*/ 1202739 w 5726811"/>
                <a:gd name="connsiteY6" fmla="*/ 5578767 h 5777086"/>
                <a:gd name="connsiteX7" fmla="*/ 2687472 w 5726811"/>
                <a:gd name="connsiteY7" fmla="*/ 5776763 h 5777086"/>
                <a:gd name="connsiteX8" fmla="*/ 4305357 w 5726811"/>
                <a:gd name="connsiteY8" fmla="*/ 5484853 h 5777086"/>
                <a:gd name="connsiteX9" fmla="*/ 5293754 w 5726811"/>
                <a:gd name="connsiteY9" fmla="*/ 4914014 h 5777086"/>
                <a:gd name="connsiteX10" fmla="*/ 5690392 w 5726811"/>
                <a:gd name="connsiteY10" fmla="*/ 4255218 h 5777086"/>
                <a:gd name="connsiteX11" fmla="*/ 5649404 w 5726811"/>
                <a:gd name="connsiteY11" fmla="*/ 3283354 h 5777086"/>
                <a:gd name="connsiteX12" fmla="*/ 5164872 w 5726811"/>
                <a:gd name="connsiteY12" fmla="*/ 2050452 h 5777086"/>
                <a:gd name="connsiteX13" fmla="*/ 4456206 w 5726811"/>
                <a:gd name="connsiteY13" fmla="*/ 1038881 h 5777086"/>
                <a:gd name="connsiteX14" fmla="*/ 3786348 w 5726811"/>
                <a:gd name="connsiteY14" fmla="*/ 436933 h 5777086"/>
                <a:gd name="connsiteX0" fmla="*/ 3786348 w 5728799"/>
                <a:gd name="connsiteY0" fmla="*/ 436933 h 5777086"/>
                <a:gd name="connsiteX1" fmla="*/ 2579634 w 5728799"/>
                <a:gd name="connsiteY1" fmla="*/ 1085 h 5777086"/>
                <a:gd name="connsiteX2" fmla="*/ 1354665 w 5728799"/>
                <a:gd name="connsiteY2" fmla="*/ 546853 h 5777086"/>
                <a:gd name="connsiteX3" fmla="*/ 392714 w 5728799"/>
                <a:gd name="connsiteY3" fmla="*/ 2016236 h 5777086"/>
                <a:gd name="connsiteX4" fmla="*/ 488 w 5728799"/>
                <a:gd name="connsiteY4" fmla="*/ 3814619 h 5777086"/>
                <a:gd name="connsiteX5" fmla="*/ 335106 w 5728799"/>
                <a:gd name="connsiteY5" fmla="*/ 4998984 h 5777086"/>
                <a:gd name="connsiteX6" fmla="*/ 1202739 w 5728799"/>
                <a:gd name="connsiteY6" fmla="*/ 5578767 h 5777086"/>
                <a:gd name="connsiteX7" fmla="*/ 2687472 w 5728799"/>
                <a:gd name="connsiteY7" fmla="*/ 5776763 h 5777086"/>
                <a:gd name="connsiteX8" fmla="*/ 4305357 w 5728799"/>
                <a:gd name="connsiteY8" fmla="*/ 5484853 h 5777086"/>
                <a:gd name="connsiteX9" fmla="*/ 5265991 w 5728799"/>
                <a:gd name="connsiteY9" fmla="*/ 4923269 h 5777086"/>
                <a:gd name="connsiteX10" fmla="*/ 5690392 w 5728799"/>
                <a:gd name="connsiteY10" fmla="*/ 4255218 h 5777086"/>
                <a:gd name="connsiteX11" fmla="*/ 5649404 w 5728799"/>
                <a:gd name="connsiteY11" fmla="*/ 3283354 h 5777086"/>
                <a:gd name="connsiteX12" fmla="*/ 5164872 w 5728799"/>
                <a:gd name="connsiteY12" fmla="*/ 2050452 h 5777086"/>
                <a:gd name="connsiteX13" fmla="*/ 4456206 w 5728799"/>
                <a:gd name="connsiteY13" fmla="*/ 1038881 h 5777086"/>
                <a:gd name="connsiteX14" fmla="*/ 3786348 w 5728799"/>
                <a:gd name="connsiteY14" fmla="*/ 436933 h 5777086"/>
                <a:gd name="connsiteX0" fmla="*/ 3786348 w 5728799"/>
                <a:gd name="connsiteY0" fmla="*/ 436933 h 5777086"/>
                <a:gd name="connsiteX1" fmla="*/ 2579634 w 5728799"/>
                <a:gd name="connsiteY1" fmla="*/ 1085 h 5777086"/>
                <a:gd name="connsiteX2" fmla="*/ 1354665 w 5728799"/>
                <a:gd name="connsiteY2" fmla="*/ 546853 h 5777086"/>
                <a:gd name="connsiteX3" fmla="*/ 392714 w 5728799"/>
                <a:gd name="connsiteY3" fmla="*/ 2016236 h 5777086"/>
                <a:gd name="connsiteX4" fmla="*/ 488 w 5728799"/>
                <a:gd name="connsiteY4" fmla="*/ 3814619 h 5777086"/>
                <a:gd name="connsiteX5" fmla="*/ 335106 w 5728799"/>
                <a:gd name="connsiteY5" fmla="*/ 4998984 h 5777086"/>
                <a:gd name="connsiteX6" fmla="*/ 1202739 w 5728799"/>
                <a:gd name="connsiteY6" fmla="*/ 5578767 h 5777086"/>
                <a:gd name="connsiteX7" fmla="*/ 2687472 w 5728799"/>
                <a:gd name="connsiteY7" fmla="*/ 5776763 h 5777086"/>
                <a:gd name="connsiteX8" fmla="*/ 4305357 w 5728799"/>
                <a:gd name="connsiteY8" fmla="*/ 5484853 h 5777086"/>
                <a:gd name="connsiteX9" fmla="*/ 5265991 w 5728799"/>
                <a:gd name="connsiteY9" fmla="*/ 4932523 h 5777086"/>
                <a:gd name="connsiteX10" fmla="*/ 5690392 w 5728799"/>
                <a:gd name="connsiteY10" fmla="*/ 4255218 h 5777086"/>
                <a:gd name="connsiteX11" fmla="*/ 5649404 w 5728799"/>
                <a:gd name="connsiteY11" fmla="*/ 3283354 h 5777086"/>
                <a:gd name="connsiteX12" fmla="*/ 5164872 w 5728799"/>
                <a:gd name="connsiteY12" fmla="*/ 2050452 h 5777086"/>
                <a:gd name="connsiteX13" fmla="*/ 4456206 w 5728799"/>
                <a:gd name="connsiteY13" fmla="*/ 1038881 h 5777086"/>
                <a:gd name="connsiteX14" fmla="*/ 3786348 w 5728799"/>
                <a:gd name="connsiteY14" fmla="*/ 436933 h 5777086"/>
                <a:gd name="connsiteX0" fmla="*/ 3786348 w 5728799"/>
                <a:gd name="connsiteY0" fmla="*/ 436933 h 5777086"/>
                <a:gd name="connsiteX1" fmla="*/ 2579634 w 5728799"/>
                <a:gd name="connsiteY1" fmla="*/ 1085 h 5777086"/>
                <a:gd name="connsiteX2" fmla="*/ 1354665 w 5728799"/>
                <a:gd name="connsiteY2" fmla="*/ 546853 h 5777086"/>
                <a:gd name="connsiteX3" fmla="*/ 392714 w 5728799"/>
                <a:gd name="connsiteY3" fmla="*/ 2016236 h 5777086"/>
                <a:gd name="connsiteX4" fmla="*/ 488 w 5728799"/>
                <a:gd name="connsiteY4" fmla="*/ 3814619 h 5777086"/>
                <a:gd name="connsiteX5" fmla="*/ 335106 w 5728799"/>
                <a:gd name="connsiteY5" fmla="*/ 4998984 h 5777086"/>
                <a:gd name="connsiteX6" fmla="*/ 1202739 w 5728799"/>
                <a:gd name="connsiteY6" fmla="*/ 5578767 h 5777086"/>
                <a:gd name="connsiteX7" fmla="*/ 2687472 w 5728799"/>
                <a:gd name="connsiteY7" fmla="*/ 5776763 h 5777086"/>
                <a:gd name="connsiteX8" fmla="*/ 4305357 w 5728799"/>
                <a:gd name="connsiteY8" fmla="*/ 5484853 h 5777086"/>
                <a:gd name="connsiteX9" fmla="*/ 5265991 w 5728799"/>
                <a:gd name="connsiteY9" fmla="*/ 4941777 h 5777086"/>
                <a:gd name="connsiteX10" fmla="*/ 5690392 w 5728799"/>
                <a:gd name="connsiteY10" fmla="*/ 4255218 h 5777086"/>
                <a:gd name="connsiteX11" fmla="*/ 5649404 w 5728799"/>
                <a:gd name="connsiteY11" fmla="*/ 3283354 h 5777086"/>
                <a:gd name="connsiteX12" fmla="*/ 5164872 w 5728799"/>
                <a:gd name="connsiteY12" fmla="*/ 2050452 h 5777086"/>
                <a:gd name="connsiteX13" fmla="*/ 4456206 w 5728799"/>
                <a:gd name="connsiteY13" fmla="*/ 1038881 h 5777086"/>
                <a:gd name="connsiteX14" fmla="*/ 3786348 w 5728799"/>
                <a:gd name="connsiteY14" fmla="*/ 436933 h 5777086"/>
                <a:gd name="connsiteX0" fmla="*/ 3786348 w 5716670"/>
                <a:gd name="connsiteY0" fmla="*/ 436933 h 5777086"/>
                <a:gd name="connsiteX1" fmla="*/ 2579634 w 5716670"/>
                <a:gd name="connsiteY1" fmla="*/ 1085 h 5777086"/>
                <a:gd name="connsiteX2" fmla="*/ 1354665 w 5716670"/>
                <a:gd name="connsiteY2" fmla="*/ 546853 h 5777086"/>
                <a:gd name="connsiteX3" fmla="*/ 392714 w 5716670"/>
                <a:gd name="connsiteY3" fmla="*/ 2016236 h 5777086"/>
                <a:gd name="connsiteX4" fmla="*/ 488 w 5716670"/>
                <a:gd name="connsiteY4" fmla="*/ 3814619 h 5777086"/>
                <a:gd name="connsiteX5" fmla="*/ 335106 w 5716670"/>
                <a:gd name="connsiteY5" fmla="*/ 4998984 h 5777086"/>
                <a:gd name="connsiteX6" fmla="*/ 1202739 w 5716670"/>
                <a:gd name="connsiteY6" fmla="*/ 5578767 h 5777086"/>
                <a:gd name="connsiteX7" fmla="*/ 2687472 w 5716670"/>
                <a:gd name="connsiteY7" fmla="*/ 5776763 h 5777086"/>
                <a:gd name="connsiteX8" fmla="*/ 4305357 w 5716670"/>
                <a:gd name="connsiteY8" fmla="*/ 5484853 h 5777086"/>
                <a:gd name="connsiteX9" fmla="*/ 5265991 w 5716670"/>
                <a:gd name="connsiteY9" fmla="*/ 4941777 h 5777086"/>
                <a:gd name="connsiteX10" fmla="*/ 5671883 w 5716670"/>
                <a:gd name="connsiteY10" fmla="*/ 4292236 h 5777086"/>
                <a:gd name="connsiteX11" fmla="*/ 5649404 w 5716670"/>
                <a:gd name="connsiteY11" fmla="*/ 3283354 h 5777086"/>
                <a:gd name="connsiteX12" fmla="*/ 5164872 w 5716670"/>
                <a:gd name="connsiteY12" fmla="*/ 2050452 h 5777086"/>
                <a:gd name="connsiteX13" fmla="*/ 4456206 w 5716670"/>
                <a:gd name="connsiteY13" fmla="*/ 1038881 h 5777086"/>
                <a:gd name="connsiteX14" fmla="*/ 3786348 w 5716670"/>
                <a:gd name="connsiteY14" fmla="*/ 436933 h 5777086"/>
                <a:gd name="connsiteX0" fmla="*/ 3786348 w 5720435"/>
                <a:gd name="connsiteY0" fmla="*/ 436933 h 5777086"/>
                <a:gd name="connsiteX1" fmla="*/ 2579634 w 5720435"/>
                <a:gd name="connsiteY1" fmla="*/ 1085 h 5777086"/>
                <a:gd name="connsiteX2" fmla="*/ 1354665 w 5720435"/>
                <a:gd name="connsiteY2" fmla="*/ 546853 h 5777086"/>
                <a:gd name="connsiteX3" fmla="*/ 392714 w 5720435"/>
                <a:gd name="connsiteY3" fmla="*/ 2016236 h 5777086"/>
                <a:gd name="connsiteX4" fmla="*/ 488 w 5720435"/>
                <a:gd name="connsiteY4" fmla="*/ 3814619 h 5777086"/>
                <a:gd name="connsiteX5" fmla="*/ 335106 w 5720435"/>
                <a:gd name="connsiteY5" fmla="*/ 4998984 h 5777086"/>
                <a:gd name="connsiteX6" fmla="*/ 1202739 w 5720435"/>
                <a:gd name="connsiteY6" fmla="*/ 5578767 h 5777086"/>
                <a:gd name="connsiteX7" fmla="*/ 2687472 w 5720435"/>
                <a:gd name="connsiteY7" fmla="*/ 5776763 h 5777086"/>
                <a:gd name="connsiteX8" fmla="*/ 4305357 w 5720435"/>
                <a:gd name="connsiteY8" fmla="*/ 5484853 h 5777086"/>
                <a:gd name="connsiteX9" fmla="*/ 5265991 w 5720435"/>
                <a:gd name="connsiteY9" fmla="*/ 4941777 h 5777086"/>
                <a:gd name="connsiteX10" fmla="*/ 5671883 w 5720435"/>
                <a:gd name="connsiteY10" fmla="*/ 4292236 h 5777086"/>
                <a:gd name="connsiteX11" fmla="*/ 5649404 w 5720435"/>
                <a:gd name="connsiteY11" fmla="*/ 3283354 h 5777086"/>
                <a:gd name="connsiteX12" fmla="*/ 5164872 w 5720435"/>
                <a:gd name="connsiteY12" fmla="*/ 2050452 h 5777086"/>
                <a:gd name="connsiteX13" fmla="*/ 4456206 w 5720435"/>
                <a:gd name="connsiteY13" fmla="*/ 1038881 h 5777086"/>
                <a:gd name="connsiteX14" fmla="*/ 3786348 w 5720435"/>
                <a:gd name="connsiteY14" fmla="*/ 436933 h 5777086"/>
                <a:gd name="connsiteX0" fmla="*/ 3786348 w 5728126"/>
                <a:gd name="connsiteY0" fmla="*/ 436933 h 5777086"/>
                <a:gd name="connsiteX1" fmla="*/ 2579634 w 5728126"/>
                <a:gd name="connsiteY1" fmla="*/ 1085 h 5777086"/>
                <a:gd name="connsiteX2" fmla="*/ 1354665 w 5728126"/>
                <a:gd name="connsiteY2" fmla="*/ 546853 h 5777086"/>
                <a:gd name="connsiteX3" fmla="*/ 392714 w 5728126"/>
                <a:gd name="connsiteY3" fmla="*/ 2016236 h 5777086"/>
                <a:gd name="connsiteX4" fmla="*/ 488 w 5728126"/>
                <a:gd name="connsiteY4" fmla="*/ 3814619 h 5777086"/>
                <a:gd name="connsiteX5" fmla="*/ 335106 w 5728126"/>
                <a:gd name="connsiteY5" fmla="*/ 4998984 h 5777086"/>
                <a:gd name="connsiteX6" fmla="*/ 1202739 w 5728126"/>
                <a:gd name="connsiteY6" fmla="*/ 5578767 h 5777086"/>
                <a:gd name="connsiteX7" fmla="*/ 2687472 w 5728126"/>
                <a:gd name="connsiteY7" fmla="*/ 5776763 h 5777086"/>
                <a:gd name="connsiteX8" fmla="*/ 4305357 w 5728126"/>
                <a:gd name="connsiteY8" fmla="*/ 5484853 h 5777086"/>
                <a:gd name="connsiteX9" fmla="*/ 5265991 w 5728126"/>
                <a:gd name="connsiteY9" fmla="*/ 4941777 h 5777086"/>
                <a:gd name="connsiteX10" fmla="*/ 5671883 w 5728126"/>
                <a:gd name="connsiteY10" fmla="*/ 4292236 h 5777086"/>
                <a:gd name="connsiteX11" fmla="*/ 5649404 w 5728126"/>
                <a:gd name="connsiteY11" fmla="*/ 3283354 h 5777086"/>
                <a:gd name="connsiteX12" fmla="*/ 5164872 w 5728126"/>
                <a:gd name="connsiteY12" fmla="*/ 2050452 h 5777086"/>
                <a:gd name="connsiteX13" fmla="*/ 4456206 w 5728126"/>
                <a:gd name="connsiteY13" fmla="*/ 1038881 h 5777086"/>
                <a:gd name="connsiteX14" fmla="*/ 3786348 w 5728126"/>
                <a:gd name="connsiteY14" fmla="*/ 436933 h 5777086"/>
                <a:gd name="connsiteX0" fmla="*/ 3786348 w 5728126"/>
                <a:gd name="connsiteY0" fmla="*/ 436933 h 5777086"/>
                <a:gd name="connsiteX1" fmla="*/ 2579634 w 5728126"/>
                <a:gd name="connsiteY1" fmla="*/ 1085 h 5777086"/>
                <a:gd name="connsiteX2" fmla="*/ 1354665 w 5728126"/>
                <a:gd name="connsiteY2" fmla="*/ 546853 h 5777086"/>
                <a:gd name="connsiteX3" fmla="*/ 392714 w 5728126"/>
                <a:gd name="connsiteY3" fmla="*/ 2016236 h 5777086"/>
                <a:gd name="connsiteX4" fmla="*/ 488 w 5728126"/>
                <a:gd name="connsiteY4" fmla="*/ 3814619 h 5777086"/>
                <a:gd name="connsiteX5" fmla="*/ 335106 w 5728126"/>
                <a:gd name="connsiteY5" fmla="*/ 4998984 h 5777086"/>
                <a:gd name="connsiteX6" fmla="*/ 1202739 w 5728126"/>
                <a:gd name="connsiteY6" fmla="*/ 5578767 h 5777086"/>
                <a:gd name="connsiteX7" fmla="*/ 2687472 w 5728126"/>
                <a:gd name="connsiteY7" fmla="*/ 5776763 h 5777086"/>
                <a:gd name="connsiteX8" fmla="*/ 4305357 w 5728126"/>
                <a:gd name="connsiteY8" fmla="*/ 5484853 h 5777086"/>
                <a:gd name="connsiteX9" fmla="*/ 5265991 w 5728126"/>
                <a:gd name="connsiteY9" fmla="*/ 4941777 h 5777086"/>
                <a:gd name="connsiteX10" fmla="*/ 5671883 w 5728126"/>
                <a:gd name="connsiteY10" fmla="*/ 4292236 h 5777086"/>
                <a:gd name="connsiteX11" fmla="*/ 5649404 w 5728126"/>
                <a:gd name="connsiteY11" fmla="*/ 3283354 h 5777086"/>
                <a:gd name="connsiteX12" fmla="*/ 5164872 w 5728126"/>
                <a:gd name="connsiteY12" fmla="*/ 2050452 h 5777086"/>
                <a:gd name="connsiteX13" fmla="*/ 4456206 w 5728126"/>
                <a:gd name="connsiteY13" fmla="*/ 1038881 h 5777086"/>
                <a:gd name="connsiteX14" fmla="*/ 3786348 w 5728126"/>
                <a:gd name="connsiteY14" fmla="*/ 436933 h 5777086"/>
                <a:gd name="connsiteX0" fmla="*/ 3786348 w 5728126"/>
                <a:gd name="connsiteY0" fmla="*/ 436933 h 5777086"/>
                <a:gd name="connsiteX1" fmla="*/ 2579634 w 5728126"/>
                <a:gd name="connsiteY1" fmla="*/ 1085 h 5777086"/>
                <a:gd name="connsiteX2" fmla="*/ 1354665 w 5728126"/>
                <a:gd name="connsiteY2" fmla="*/ 546853 h 5777086"/>
                <a:gd name="connsiteX3" fmla="*/ 392714 w 5728126"/>
                <a:gd name="connsiteY3" fmla="*/ 2016236 h 5777086"/>
                <a:gd name="connsiteX4" fmla="*/ 488 w 5728126"/>
                <a:gd name="connsiteY4" fmla="*/ 3814619 h 5777086"/>
                <a:gd name="connsiteX5" fmla="*/ 335106 w 5728126"/>
                <a:gd name="connsiteY5" fmla="*/ 4998984 h 5777086"/>
                <a:gd name="connsiteX6" fmla="*/ 1202739 w 5728126"/>
                <a:gd name="connsiteY6" fmla="*/ 5578767 h 5777086"/>
                <a:gd name="connsiteX7" fmla="*/ 2687472 w 5728126"/>
                <a:gd name="connsiteY7" fmla="*/ 5776763 h 5777086"/>
                <a:gd name="connsiteX8" fmla="*/ 4305357 w 5728126"/>
                <a:gd name="connsiteY8" fmla="*/ 5484853 h 5777086"/>
                <a:gd name="connsiteX9" fmla="*/ 5265991 w 5728126"/>
                <a:gd name="connsiteY9" fmla="*/ 4941777 h 5777086"/>
                <a:gd name="connsiteX10" fmla="*/ 5671883 w 5728126"/>
                <a:gd name="connsiteY10" fmla="*/ 4292236 h 5777086"/>
                <a:gd name="connsiteX11" fmla="*/ 5649404 w 5728126"/>
                <a:gd name="connsiteY11" fmla="*/ 3283354 h 5777086"/>
                <a:gd name="connsiteX12" fmla="*/ 5164872 w 5728126"/>
                <a:gd name="connsiteY12" fmla="*/ 2050452 h 5777086"/>
                <a:gd name="connsiteX13" fmla="*/ 4456206 w 5728126"/>
                <a:gd name="connsiteY13" fmla="*/ 1038881 h 5777086"/>
                <a:gd name="connsiteX14" fmla="*/ 3786348 w 5728126"/>
                <a:gd name="connsiteY14" fmla="*/ 436933 h 5777086"/>
                <a:gd name="connsiteX0" fmla="*/ 3786348 w 5712979"/>
                <a:gd name="connsiteY0" fmla="*/ 436933 h 5777086"/>
                <a:gd name="connsiteX1" fmla="*/ 2579634 w 5712979"/>
                <a:gd name="connsiteY1" fmla="*/ 1085 h 5777086"/>
                <a:gd name="connsiteX2" fmla="*/ 1354665 w 5712979"/>
                <a:gd name="connsiteY2" fmla="*/ 546853 h 5777086"/>
                <a:gd name="connsiteX3" fmla="*/ 392714 w 5712979"/>
                <a:gd name="connsiteY3" fmla="*/ 2016236 h 5777086"/>
                <a:gd name="connsiteX4" fmla="*/ 488 w 5712979"/>
                <a:gd name="connsiteY4" fmla="*/ 3814619 h 5777086"/>
                <a:gd name="connsiteX5" fmla="*/ 335106 w 5712979"/>
                <a:gd name="connsiteY5" fmla="*/ 4998984 h 5777086"/>
                <a:gd name="connsiteX6" fmla="*/ 1202739 w 5712979"/>
                <a:gd name="connsiteY6" fmla="*/ 5578767 h 5777086"/>
                <a:gd name="connsiteX7" fmla="*/ 2687472 w 5712979"/>
                <a:gd name="connsiteY7" fmla="*/ 5776763 h 5777086"/>
                <a:gd name="connsiteX8" fmla="*/ 4305357 w 5712979"/>
                <a:gd name="connsiteY8" fmla="*/ 5484853 h 5777086"/>
                <a:gd name="connsiteX9" fmla="*/ 5265991 w 5712979"/>
                <a:gd name="connsiteY9" fmla="*/ 4941777 h 5777086"/>
                <a:gd name="connsiteX10" fmla="*/ 5671883 w 5712979"/>
                <a:gd name="connsiteY10" fmla="*/ 4292236 h 5777086"/>
                <a:gd name="connsiteX11" fmla="*/ 5649404 w 5712979"/>
                <a:gd name="connsiteY11" fmla="*/ 3283354 h 5777086"/>
                <a:gd name="connsiteX12" fmla="*/ 5164872 w 5712979"/>
                <a:gd name="connsiteY12" fmla="*/ 2050452 h 5777086"/>
                <a:gd name="connsiteX13" fmla="*/ 4456206 w 5712979"/>
                <a:gd name="connsiteY13" fmla="*/ 1038881 h 5777086"/>
                <a:gd name="connsiteX14" fmla="*/ 3786348 w 5712979"/>
                <a:gd name="connsiteY14" fmla="*/ 436933 h 5777086"/>
                <a:gd name="connsiteX0" fmla="*/ 3786348 w 5718721"/>
                <a:gd name="connsiteY0" fmla="*/ 436933 h 5777086"/>
                <a:gd name="connsiteX1" fmla="*/ 2579634 w 5718721"/>
                <a:gd name="connsiteY1" fmla="*/ 1085 h 5777086"/>
                <a:gd name="connsiteX2" fmla="*/ 1354665 w 5718721"/>
                <a:gd name="connsiteY2" fmla="*/ 546853 h 5777086"/>
                <a:gd name="connsiteX3" fmla="*/ 392714 w 5718721"/>
                <a:gd name="connsiteY3" fmla="*/ 2016236 h 5777086"/>
                <a:gd name="connsiteX4" fmla="*/ 488 w 5718721"/>
                <a:gd name="connsiteY4" fmla="*/ 3814619 h 5777086"/>
                <a:gd name="connsiteX5" fmla="*/ 335106 w 5718721"/>
                <a:gd name="connsiteY5" fmla="*/ 4998984 h 5777086"/>
                <a:gd name="connsiteX6" fmla="*/ 1202739 w 5718721"/>
                <a:gd name="connsiteY6" fmla="*/ 5578767 h 5777086"/>
                <a:gd name="connsiteX7" fmla="*/ 2687472 w 5718721"/>
                <a:gd name="connsiteY7" fmla="*/ 5776763 h 5777086"/>
                <a:gd name="connsiteX8" fmla="*/ 4305357 w 5718721"/>
                <a:gd name="connsiteY8" fmla="*/ 5484853 h 5777086"/>
                <a:gd name="connsiteX9" fmla="*/ 5265991 w 5718721"/>
                <a:gd name="connsiteY9" fmla="*/ 4941777 h 5777086"/>
                <a:gd name="connsiteX10" fmla="*/ 5681138 w 5718721"/>
                <a:gd name="connsiteY10" fmla="*/ 4264473 h 5777086"/>
                <a:gd name="connsiteX11" fmla="*/ 5649404 w 5718721"/>
                <a:gd name="connsiteY11" fmla="*/ 3283354 h 5777086"/>
                <a:gd name="connsiteX12" fmla="*/ 5164872 w 5718721"/>
                <a:gd name="connsiteY12" fmla="*/ 2050452 h 5777086"/>
                <a:gd name="connsiteX13" fmla="*/ 4456206 w 5718721"/>
                <a:gd name="connsiteY13" fmla="*/ 1038881 h 5777086"/>
                <a:gd name="connsiteX14" fmla="*/ 3786348 w 5718721"/>
                <a:gd name="connsiteY14" fmla="*/ 436933 h 5777086"/>
                <a:gd name="connsiteX0" fmla="*/ 3786348 w 5724833"/>
                <a:gd name="connsiteY0" fmla="*/ 436933 h 5777086"/>
                <a:gd name="connsiteX1" fmla="*/ 2579634 w 5724833"/>
                <a:gd name="connsiteY1" fmla="*/ 1085 h 5777086"/>
                <a:gd name="connsiteX2" fmla="*/ 1354665 w 5724833"/>
                <a:gd name="connsiteY2" fmla="*/ 546853 h 5777086"/>
                <a:gd name="connsiteX3" fmla="*/ 392714 w 5724833"/>
                <a:gd name="connsiteY3" fmla="*/ 2016236 h 5777086"/>
                <a:gd name="connsiteX4" fmla="*/ 488 w 5724833"/>
                <a:gd name="connsiteY4" fmla="*/ 3814619 h 5777086"/>
                <a:gd name="connsiteX5" fmla="*/ 335106 w 5724833"/>
                <a:gd name="connsiteY5" fmla="*/ 4998984 h 5777086"/>
                <a:gd name="connsiteX6" fmla="*/ 1202739 w 5724833"/>
                <a:gd name="connsiteY6" fmla="*/ 5578767 h 5777086"/>
                <a:gd name="connsiteX7" fmla="*/ 2687472 w 5724833"/>
                <a:gd name="connsiteY7" fmla="*/ 5776763 h 5777086"/>
                <a:gd name="connsiteX8" fmla="*/ 4305357 w 5724833"/>
                <a:gd name="connsiteY8" fmla="*/ 5484853 h 5777086"/>
                <a:gd name="connsiteX9" fmla="*/ 5265991 w 5724833"/>
                <a:gd name="connsiteY9" fmla="*/ 4941777 h 5777086"/>
                <a:gd name="connsiteX10" fmla="*/ 5690394 w 5724833"/>
                <a:gd name="connsiteY10" fmla="*/ 4255218 h 5777086"/>
                <a:gd name="connsiteX11" fmla="*/ 5649404 w 5724833"/>
                <a:gd name="connsiteY11" fmla="*/ 3283354 h 5777086"/>
                <a:gd name="connsiteX12" fmla="*/ 5164872 w 5724833"/>
                <a:gd name="connsiteY12" fmla="*/ 2050452 h 5777086"/>
                <a:gd name="connsiteX13" fmla="*/ 4456206 w 5724833"/>
                <a:gd name="connsiteY13" fmla="*/ 1038881 h 5777086"/>
                <a:gd name="connsiteX14" fmla="*/ 3786348 w 5724833"/>
                <a:gd name="connsiteY14" fmla="*/ 436933 h 5777086"/>
                <a:gd name="connsiteX0" fmla="*/ 3786348 w 5720901"/>
                <a:gd name="connsiteY0" fmla="*/ 436933 h 5777086"/>
                <a:gd name="connsiteX1" fmla="*/ 2579634 w 5720901"/>
                <a:gd name="connsiteY1" fmla="*/ 1085 h 5777086"/>
                <a:gd name="connsiteX2" fmla="*/ 1354665 w 5720901"/>
                <a:gd name="connsiteY2" fmla="*/ 546853 h 5777086"/>
                <a:gd name="connsiteX3" fmla="*/ 392714 w 5720901"/>
                <a:gd name="connsiteY3" fmla="*/ 2016236 h 5777086"/>
                <a:gd name="connsiteX4" fmla="*/ 488 w 5720901"/>
                <a:gd name="connsiteY4" fmla="*/ 3814619 h 5777086"/>
                <a:gd name="connsiteX5" fmla="*/ 335106 w 5720901"/>
                <a:gd name="connsiteY5" fmla="*/ 4998984 h 5777086"/>
                <a:gd name="connsiteX6" fmla="*/ 1202739 w 5720901"/>
                <a:gd name="connsiteY6" fmla="*/ 5578767 h 5777086"/>
                <a:gd name="connsiteX7" fmla="*/ 2687472 w 5720901"/>
                <a:gd name="connsiteY7" fmla="*/ 5776763 h 5777086"/>
                <a:gd name="connsiteX8" fmla="*/ 4305357 w 5720901"/>
                <a:gd name="connsiteY8" fmla="*/ 5484853 h 5777086"/>
                <a:gd name="connsiteX9" fmla="*/ 5265991 w 5720901"/>
                <a:gd name="connsiteY9" fmla="*/ 4941777 h 5777086"/>
                <a:gd name="connsiteX10" fmla="*/ 5690394 w 5720901"/>
                <a:gd name="connsiteY10" fmla="*/ 4255218 h 5777086"/>
                <a:gd name="connsiteX11" fmla="*/ 5649404 w 5720901"/>
                <a:gd name="connsiteY11" fmla="*/ 3283354 h 5777086"/>
                <a:gd name="connsiteX12" fmla="*/ 5164872 w 5720901"/>
                <a:gd name="connsiteY12" fmla="*/ 2050452 h 5777086"/>
                <a:gd name="connsiteX13" fmla="*/ 4456206 w 5720901"/>
                <a:gd name="connsiteY13" fmla="*/ 1038881 h 5777086"/>
                <a:gd name="connsiteX14" fmla="*/ 3786348 w 5720901"/>
                <a:gd name="connsiteY14" fmla="*/ 436933 h 5777086"/>
                <a:gd name="connsiteX0" fmla="*/ 3786348 w 5720901"/>
                <a:gd name="connsiteY0" fmla="*/ 436933 h 5777086"/>
                <a:gd name="connsiteX1" fmla="*/ 2579634 w 5720901"/>
                <a:gd name="connsiteY1" fmla="*/ 1085 h 5777086"/>
                <a:gd name="connsiteX2" fmla="*/ 1354665 w 5720901"/>
                <a:gd name="connsiteY2" fmla="*/ 546853 h 5777086"/>
                <a:gd name="connsiteX3" fmla="*/ 392714 w 5720901"/>
                <a:gd name="connsiteY3" fmla="*/ 2016236 h 5777086"/>
                <a:gd name="connsiteX4" fmla="*/ 488 w 5720901"/>
                <a:gd name="connsiteY4" fmla="*/ 3814619 h 5777086"/>
                <a:gd name="connsiteX5" fmla="*/ 335106 w 5720901"/>
                <a:gd name="connsiteY5" fmla="*/ 4998984 h 5777086"/>
                <a:gd name="connsiteX6" fmla="*/ 1202739 w 5720901"/>
                <a:gd name="connsiteY6" fmla="*/ 5578767 h 5777086"/>
                <a:gd name="connsiteX7" fmla="*/ 2687472 w 5720901"/>
                <a:gd name="connsiteY7" fmla="*/ 5776763 h 5777086"/>
                <a:gd name="connsiteX8" fmla="*/ 4305357 w 5720901"/>
                <a:gd name="connsiteY8" fmla="*/ 5484853 h 5777086"/>
                <a:gd name="connsiteX9" fmla="*/ 5265991 w 5720901"/>
                <a:gd name="connsiteY9" fmla="*/ 4941777 h 5777086"/>
                <a:gd name="connsiteX10" fmla="*/ 5690394 w 5720901"/>
                <a:gd name="connsiteY10" fmla="*/ 4255218 h 5777086"/>
                <a:gd name="connsiteX11" fmla="*/ 5649404 w 5720901"/>
                <a:gd name="connsiteY11" fmla="*/ 3283354 h 5777086"/>
                <a:gd name="connsiteX12" fmla="*/ 5164872 w 5720901"/>
                <a:gd name="connsiteY12" fmla="*/ 2050452 h 5777086"/>
                <a:gd name="connsiteX13" fmla="*/ 4456206 w 5720901"/>
                <a:gd name="connsiteY13" fmla="*/ 1038881 h 5777086"/>
                <a:gd name="connsiteX14" fmla="*/ 3786348 w 5720901"/>
                <a:gd name="connsiteY14" fmla="*/ 436933 h 5777086"/>
                <a:gd name="connsiteX0" fmla="*/ 3795603 w 5720901"/>
                <a:gd name="connsiteY0" fmla="*/ 436933 h 5777086"/>
                <a:gd name="connsiteX1" fmla="*/ 2579634 w 5720901"/>
                <a:gd name="connsiteY1" fmla="*/ 1085 h 5777086"/>
                <a:gd name="connsiteX2" fmla="*/ 1354665 w 5720901"/>
                <a:gd name="connsiteY2" fmla="*/ 546853 h 5777086"/>
                <a:gd name="connsiteX3" fmla="*/ 392714 w 5720901"/>
                <a:gd name="connsiteY3" fmla="*/ 2016236 h 5777086"/>
                <a:gd name="connsiteX4" fmla="*/ 488 w 5720901"/>
                <a:gd name="connsiteY4" fmla="*/ 3814619 h 5777086"/>
                <a:gd name="connsiteX5" fmla="*/ 335106 w 5720901"/>
                <a:gd name="connsiteY5" fmla="*/ 4998984 h 5777086"/>
                <a:gd name="connsiteX6" fmla="*/ 1202739 w 5720901"/>
                <a:gd name="connsiteY6" fmla="*/ 5578767 h 5777086"/>
                <a:gd name="connsiteX7" fmla="*/ 2687472 w 5720901"/>
                <a:gd name="connsiteY7" fmla="*/ 5776763 h 5777086"/>
                <a:gd name="connsiteX8" fmla="*/ 4305357 w 5720901"/>
                <a:gd name="connsiteY8" fmla="*/ 5484853 h 5777086"/>
                <a:gd name="connsiteX9" fmla="*/ 5265991 w 5720901"/>
                <a:gd name="connsiteY9" fmla="*/ 4941777 h 5777086"/>
                <a:gd name="connsiteX10" fmla="*/ 5690394 w 5720901"/>
                <a:gd name="connsiteY10" fmla="*/ 4255218 h 5777086"/>
                <a:gd name="connsiteX11" fmla="*/ 5649404 w 5720901"/>
                <a:gd name="connsiteY11" fmla="*/ 3283354 h 5777086"/>
                <a:gd name="connsiteX12" fmla="*/ 5164872 w 5720901"/>
                <a:gd name="connsiteY12" fmla="*/ 2050452 h 5777086"/>
                <a:gd name="connsiteX13" fmla="*/ 4456206 w 5720901"/>
                <a:gd name="connsiteY13" fmla="*/ 1038881 h 5777086"/>
                <a:gd name="connsiteX14" fmla="*/ 3795603 w 5720901"/>
                <a:gd name="connsiteY14" fmla="*/ 436933 h 577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20901" h="5777086">
                  <a:moveTo>
                    <a:pt x="3795603" y="436933"/>
                  </a:moveTo>
                  <a:cubicBezTo>
                    <a:pt x="3482841" y="199185"/>
                    <a:pt x="2986457" y="-17235"/>
                    <a:pt x="2579634" y="1085"/>
                  </a:cubicBezTo>
                  <a:cubicBezTo>
                    <a:pt x="2172811" y="19405"/>
                    <a:pt x="1719152" y="210995"/>
                    <a:pt x="1354665" y="546853"/>
                  </a:cubicBezTo>
                  <a:cubicBezTo>
                    <a:pt x="990178" y="882712"/>
                    <a:pt x="618410" y="1471608"/>
                    <a:pt x="392714" y="2016236"/>
                  </a:cubicBezTo>
                  <a:cubicBezTo>
                    <a:pt x="167018" y="2560864"/>
                    <a:pt x="10089" y="3317494"/>
                    <a:pt x="488" y="3814619"/>
                  </a:cubicBezTo>
                  <a:cubicBezTo>
                    <a:pt x="-9113" y="4311744"/>
                    <a:pt x="123758" y="4730562"/>
                    <a:pt x="335106" y="4998984"/>
                  </a:cubicBezTo>
                  <a:cubicBezTo>
                    <a:pt x="546454" y="5267406"/>
                    <a:pt x="887488" y="5463768"/>
                    <a:pt x="1202739" y="5578767"/>
                  </a:cubicBezTo>
                  <a:cubicBezTo>
                    <a:pt x="1517990" y="5693766"/>
                    <a:pt x="2068567" y="5783160"/>
                    <a:pt x="2687472" y="5776763"/>
                  </a:cubicBezTo>
                  <a:cubicBezTo>
                    <a:pt x="3306377" y="5770366"/>
                    <a:pt x="3866350" y="5642525"/>
                    <a:pt x="4305357" y="5484853"/>
                  </a:cubicBezTo>
                  <a:cubicBezTo>
                    <a:pt x="4744364" y="5327181"/>
                    <a:pt x="5035151" y="5146716"/>
                    <a:pt x="5265991" y="4941777"/>
                  </a:cubicBezTo>
                  <a:cubicBezTo>
                    <a:pt x="5496831" y="4736838"/>
                    <a:pt x="5645001" y="4494603"/>
                    <a:pt x="5690394" y="4255218"/>
                  </a:cubicBezTo>
                  <a:cubicBezTo>
                    <a:pt x="5735787" y="4015833"/>
                    <a:pt x="5736991" y="3650815"/>
                    <a:pt x="5649404" y="3283354"/>
                  </a:cubicBezTo>
                  <a:cubicBezTo>
                    <a:pt x="5561817" y="2915893"/>
                    <a:pt x="5451658" y="2607721"/>
                    <a:pt x="5164872" y="2050452"/>
                  </a:cubicBezTo>
                  <a:cubicBezTo>
                    <a:pt x="4961378" y="1650512"/>
                    <a:pt x="4684418" y="1307801"/>
                    <a:pt x="4456206" y="1038881"/>
                  </a:cubicBezTo>
                  <a:cubicBezTo>
                    <a:pt x="4227995" y="769961"/>
                    <a:pt x="4108365" y="674681"/>
                    <a:pt x="3795603" y="436933"/>
                  </a:cubicBezTo>
                  <a:close/>
                </a:path>
              </a:pathLst>
            </a:custGeom>
            <a:grpFill/>
            <a:ln w="12700">
              <a:noFill/>
            </a:ln>
            <a:effectLst>
              <a:outerShdw blurRad="127000" dist="38100" dir="2700000" algn="ctr">
                <a:srgbClr val="000000">
                  <a:alpha val="45000"/>
                </a:srgbClr>
              </a:outerShdw>
            </a:effectLst>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p>
          </p:txBody>
        </p:sp>
      </p:grpSp>
      <p:sp>
        <p:nvSpPr>
          <p:cNvPr id="2" name="Titel 1">
            <a:extLst>
              <a:ext uri="{FF2B5EF4-FFF2-40B4-BE49-F238E27FC236}">
                <a16:creationId xmlns:a16="http://schemas.microsoft.com/office/drawing/2014/main" id="{03429760-DE22-0CCA-7954-DEFAE32A1F7B}"/>
              </a:ext>
            </a:extLst>
          </p:cNvPr>
          <p:cNvSpPr>
            <a:spLocks noGrp="1"/>
          </p:cNvSpPr>
          <p:nvPr>
            <p:ph type="title"/>
          </p:nvPr>
        </p:nvSpPr>
        <p:spPr>
          <a:xfrm>
            <a:off x="407987" y="188913"/>
            <a:ext cx="11376026" cy="666887"/>
          </a:xfrm>
        </p:spPr>
        <p:txBody>
          <a:bodyPr vert="horz"/>
          <a:lstStyle/>
          <a:p>
            <a:r>
              <a:rPr lang="en-US" noProof="0" dirty="0"/>
              <a:t>The Transition</a:t>
            </a:r>
            <a:br>
              <a:rPr lang="en-US" noProof="0" dirty="0"/>
            </a:br>
            <a:br>
              <a:rPr lang="en-US" noProof="0" dirty="0"/>
            </a:br>
            <a:endParaRPr lang="en-US" dirty="0"/>
          </a:p>
        </p:txBody>
      </p:sp>
      <p:sp>
        <p:nvSpPr>
          <p:cNvPr id="3" name="Datumsplatzhalter 2">
            <a:extLst>
              <a:ext uri="{FF2B5EF4-FFF2-40B4-BE49-F238E27FC236}">
                <a16:creationId xmlns:a16="http://schemas.microsoft.com/office/drawing/2014/main" id="{90751328-46C8-626C-624F-1D6E0663965F}"/>
              </a:ext>
            </a:extLst>
          </p:cNvPr>
          <p:cNvSpPr>
            <a:spLocks noGrp="1"/>
          </p:cNvSpPr>
          <p:nvPr>
            <p:ph type="dt" sz="half" idx="10"/>
          </p:nvPr>
        </p:nvSpPr>
        <p:spPr/>
        <p:txBody>
          <a:bodyPr/>
          <a:lstStyle/>
          <a:p>
            <a:r>
              <a:rPr lang="en-US"/>
              <a:t>September 2025</a:t>
            </a:r>
            <a:endParaRPr lang="en-US" dirty="0"/>
          </a:p>
        </p:txBody>
      </p:sp>
      <p:sp>
        <p:nvSpPr>
          <p:cNvPr id="4" name="Fußzeilenplatzhalter 3">
            <a:extLst>
              <a:ext uri="{FF2B5EF4-FFF2-40B4-BE49-F238E27FC236}">
                <a16:creationId xmlns:a16="http://schemas.microsoft.com/office/drawing/2014/main" id="{A809A8A7-C832-2B16-BC4D-04A2549A952A}"/>
              </a:ext>
            </a:extLst>
          </p:cNvPr>
          <p:cNvSpPr>
            <a:spLocks noGrp="1"/>
          </p:cNvSpPr>
          <p:nvPr>
            <p:ph type="ftr" sz="quarter" idx="11"/>
          </p:nvPr>
        </p:nvSpPr>
        <p:spPr/>
        <p:txBody>
          <a:bodyPr/>
          <a:lstStyle/>
          <a:p>
            <a:r>
              <a:rPr lang="en-US"/>
              <a:t>Achieving robust textures with PTFE-free additives</a:t>
            </a:r>
            <a:endParaRPr lang="en-US" dirty="0"/>
          </a:p>
        </p:txBody>
      </p:sp>
      <p:sp>
        <p:nvSpPr>
          <p:cNvPr id="5" name="Foliennummernplatzhalter 4">
            <a:extLst>
              <a:ext uri="{FF2B5EF4-FFF2-40B4-BE49-F238E27FC236}">
                <a16:creationId xmlns:a16="http://schemas.microsoft.com/office/drawing/2014/main" id="{ED559927-57E8-3AC7-4200-A695B2469A96}"/>
              </a:ext>
            </a:extLst>
          </p:cNvPr>
          <p:cNvSpPr>
            <a:spLocks noGrp="1"/>
          </p:cNvSpPr>
          <p:nvPr>
            <p:ph type="sldNum" sz="quarter" idx="12"/>
          </p:nvPr>
        </p:nvSpPr>
        <p:spPr/>
        <p:txBody>
          <a:bodyPr/>
          <a:lstStyle/>
          <a:p>
            <a:r>
              <a:rPr lang="en-US" dirty="0"/>
              <a:t>Page </a:t>
            </a:r>
            <a:fld id="{F833201C-4142-4F26-B8B7-249C87787C9A}" type="slidenum">
              <a:rPr lang="en-US" smtClean="0"/>
              <a:pPr/>
              <a:t>3</a:t>
            </a:fld>
            <a:endParaRPr lang="en-US" dirty="0"/>
          </a:p>
        </p:txBody>
      </p:sp>
      <p:sp>
        <p:nvSpPr>
          <p:cNvPr id="11" name="Textfeld 10">
            <a:extLst>
              <a:ext uri="{FF2B5EF4-FFF2-40B4-BE49-F238E27FC236}">
                <a16:creationId xmlns:a16="http://schemas.microsoft.com/office/drawing/2014/main" id="{78DB5D7E-0729-9EC1-C946-BE11466AD870}"/>
              </a:ext>
            </a:extLst>
          </p:cNvPr>
          <p:cNvSpPr txBox="1"/>
          <p:nvPr/>
        </p:nvSpPr>
        <p:spPr>
          <a:xfrm>
            <a:off x="489481" y="1798002"/>
            <a:ext cx="3266259" cy="3323186"/>
          </a:xfrm>
          <a:prstGeom prst="rect">
            <a:avLst/>
          </a:prstGeom>
          <a:noFill/>
        </p:spPr>
        <p:txBody>
          <a:bodyPr wrap="square" lIns="0" tIns="0" rIns="0" bIns="0" rtlCol="0">
            <a:noAutofit/>
          </a:bodyPr>
          <a:lstStyle/>
          <a:p>
            <a:pPr marL="285750" indent="-285750" algn="l">
              <a:lnSpc>
                <a:spcPct val="150000"/>
              </a:lnSpc>
              <a:spcAft>
                <a:spcPts val="1200"/>
              </a:spcAft>
              <a:buClr>
                <a:srgbClr val="92D050"/>
              </a:buClr>
              <a:buSzPct val="100000"/>
              <a:buFont typeface="Wingdings" panose="05000000000000000000" pitchFamily="2" charset="2"/>
              <a:buChar char="§"/>
              <a:tabLst>
                <a:tab pos="1619250" algn="l"/>
              </a:tabLst>
            </a:pPr>
            <a:r>
              <a:rPr lang="fr-FR" sz="1800" b="1" dirty="0"/>
              <a:t>PTFE SAMPLE 901</a:t>
            </a:r>
          </a:p>
          <a:p>
            <a:pPr marL="285750" indent="-285750" algn="l">
              <a:lnSpc>
                <a:spcPct val="150000"/>
              </a:lnSpc>
              <a:spcAft>
                <a:spcPts val="1200"/>
              </a:spcAft>
              <a:buClr>
                <a:srgbClr val="92D050"/>
              </a:buClr>
              <a:buSzPct val="100000"/>
              <a:buFont typeface="Wingdings" panose="05000000000000000000" pitchFamily="2" charset="2"/>
              <a:buChar char="§"/>
              <a:tabLst>
                <a:tab pos="1619250" algn="l"/>
              </a:tabLst>
            </a:pPr>
            <a:r>
              <a:rPr lang="fr-FR" sz="1800" b="1" dirty="0"/>
              <a:t>PTFE SAMPLE 902</a:t>
            </a:r>
          </a:p>
          <a:p>
            <a:pPr marL="285750" indent="-285750" algn="l">
              <a:lnSpc>
                <a:spcPct val="150000"/>
              </a:lnSpc>
              <a:spcAft>
                <a:spcPts val="1200"/>
              </a:spcAft>
              <a:buClr>
                <a:srgbClr val="92D050"/>
              </a:buClr>
              <a:buSzPct val="100000"/>
              <a:buFont typeface="Wingdings" panose="05000000000000000000" pitchFamily="2" charset="2"/>
              <a:buChar char="§"/>
              <a:tabLst>
                <a:tab pos="1619250" algn="l"/>
              </a:tabLst>
            </a:pPr>
            <a:r>
              <a:rPr lang="fr-FR" sz="1800" b="1" dirty="0"/>
              <a:t>PTFE SAMPLE 903</a:t>
            </a:r>
          </a:p>
          <a:p>
            <a:pPr marL="285750" indent="-285750" algn="l">
              <a:lnSpc>
                <a:spcPct val="150000"/>
              </a:lnSpc>
              <a:spcAft>
                <a:spcPts val="1200"/>
              </a:spcAft>
              <a:buClr>
                <a:srgbClr val="92D050"/>
              </a:buClr>
              <a:buSzPct val="100000"/>
              <a:buFont typeface="Wingdings" panose="05000000000000000000" pitchFamily="2" charset="2"/>
              <a:buChar char="§"/>
              <a:tabLst>
                <a:tab pos="1619250" algn="l"/>
              </a:tabLst>
            </a:pPr>
            <a:r>
              <a:rPr lang="fr-FR" sz="1800" b="1" dirty="0"/>
              <a:t>PTFE SAMPLE 904</a:t>
            </a:r>
          </a:p>
          <a:p>
            <a:pPr marL="285750" indent="-285750" algn="l">
              <a:lnSpc>
                <a:spcPct val="150000"/>
              </a:lnSpc>
              <a:spcAft>
                <a:spcPts val="1200"/>
              </a:spcAft>
              <a:buClr>
                <a:srgbClr val="92D050"/>
              </a:buClr>
              <a:buSzPct val="100000"/>
              <a:buFont typeface="Wingdings" panose="05000000000000000000" pitchFamily="2" charset="2"/>
              <a:buChar char="§"/>
              <a:tabLst>
                <a:tab pos="1619250" algn="l"/>
              </a:tabLst>
            </a:pPr>
            <a:r>
              <a:rPr lang="fr-FR" sz="1800" b="1" dirty="0"/>
              <a:t>PTFE SAMPLE 905</a:t>
            </a:r>
          </a:p>
          <a:p>
            <a:pPr marL="285750" indent="-285750" algn="l">
              <a:lnSpc>
                <a:spcPct val="150000"/>
              </a:lnSpc>
              <a:spcAft>
                <a:spcPts val="1200"/>
              </a:spcAft>
              <a:buClr>
                <a:srgbClr val="92D050"/>
              </a:buClr>
              <a:buSzPct val="100000"/>
              <a:buFont typeface="Wingdings" panose="05000000000000000000" pitchFamily="2" charset="2"/>
              <a:buChar char="§"/>
              <a:tabLst>
                <a:tab pos="1619250" algn="l"/>
              </a:tabLst>
            </a:pPr>
            <a:r>
              <a:rPr lang="en-US" sz="1800" b="1" dirty="0"/>
              <a:t>PTFE SAMPLE 906</a:t>
            </a:r>
          </a:p>
          <a:p>
            <a:pPr marL="285750" indent="-285750" algn="l">
              <a:lnSpc>
                <a:spcPct val="150000"/>
              </a:lnSpc>
              <a:spcAft>
                <a:spcPts val="1200"/>
              </a:spcAft>
              <a:buClr>
                <a:schemeClr val="accent1"/>
              </a:buClr>
              <a:buSzPct val="100000"/>
              <a:buFont typeface="Wingdings" panose="05000000000000000000" pitchFamily="2" charset="2"/>
              <a:buChar char="§"/>
              <a:tabLst>
                <a:tab pos="1619250" algn="l"/>
              </a:tabLst>
            </a:pPr>
            <a:endParaRPr lang="en-US" dirty="0"/>
          </a:p>
        </p:txBody>
      </p:sp>
      <p:sp>
        <p:nvSpPr>
          <p:cNvPr id="6" name="Textfeld 5">
            <a:extLst>
              <a:ext uri="{FF2B5EF4-FFF2-40B4-BE49-F238E27FC236}">
                <a16:creationId xmlns:a16="http://schemas.microsoft.com/office/drawing/2014/main" id="{2A946AEF-1127-1252-94D8-A918B13D988B}"/>
              </a:ext>
            </a:extLst>
          </p:cNvPr>
          <p:cNvSpPr txBox="1"/>
          <p:nvPr/>
        </p:nvSpPr>
        <p:spPr>
          <a:xfrm>
            <a:off x="8537833" y="2132856"/>
            <a:ext cx="3325246" cy="1188148"/>
          </a:xfrm>
          <a:prstGeom prst="rect">
            <a:avLst/>
          </a:prstGeom>
          <a:noFill/>
        </p:spPr>
        <p:txBody>
          <a:bodyPr wrap="square" lIns="0" tIns="0" rIns="0" bIns="0" rtlCol="0">
            <a:noAutofit/>
          </a:bodyPr>
          <a:lstStyle/>
          <a:p>
            <a:pPr marL="285750" indent="-285750" algn="l">
              <a:spcAft>
                <a:spcPts val="600"/>
              </a:spcAft>
              <a:buClr>
                <a:srgbClr val="92D050"/>
              </a:buClr>
              <a:buSzPct val="100000"/>
              <a:buFont typeface="Wingdings" panose="05000000000000000000" pitchFamily="2" charset="2"/>
              <a:buChar char="§"/>
              <a:tabLst>
                <a:tab pos="1619250" algn="l"/>
              </a:tabLst>
            </a:pPr>
            <a:r>
              <a:rPr lang="en-US" dirty="0"/>
              <a:t>ORGANOCLAYS TYPE-C</a:t>
            </a:r>
          </a:p>
          <a:p>
            <a:pPr marL="285750" indent="-285750" algn="l">
              <a:spcAft>
                <a:spcPts val="600"/>
              </a:spcAft>
              <a:buClr>
                <a:srgbClr val="92D050"/>
              </a:buClr>
              <a:buSzPct val="100000"/>
              <a:buFont typeface="Wingdings" panose="05000000000000000000" pitchFamily="2" charset="2"/>
              <a:buChar char="§"/>
              <a:tabLst>
                <a:tab pos="1619250" algn="l"/>
              </a:tabLst>
            </a:pPr>
            <a:r>
              <a:rPr lang="en-US" dirty="0"/>
              <a:t>ORGANOCLAYS TYPE-G</a:t>
            </a:r>
          </a:p>
          <a:p>
            <a:pPr marL="285750" indent="-285750" algn="l">
              <a:spcAft>
                <a:spcPts val="600"/>
              </a:spcAft>
              <a:buClr>
                <a:srgbClr val="92D050"/>
              </a:buClr>
              <a:buSzPct val="100000"/>
              <a:buFont typeface="Wingdings" panose="05000000000000000000" pitchFamily="2" charset="2"/>
              <a:buChar char="§"/>
              <a:tabLst>
                <a:tab pos="1619250" algn="l"/>
              </a:tabLst>
            </a:pPr>
            <a:r>
              <a:rPr lang="en-US" dirty="0"/>
              <a:t>UNIQUE WAXES/BLENDS</a:t>
            </a:r>
          </a:p>
          <a:p>
            <a:pPr marL="285750" indent="-285750" algn="l">
              <a:spcAft>
                <a:spcPts val="600"/>
              </a:spcAft>
              <a:buClr>
                <a:srgbClr val="92D050"/>
              </a:buClr>
              <a:buSzPct val="100000"/>
              <a:buFont typeface="Wingdings" panose="05000000000000000000" pitchFamily="2" charset="2"/>
              <a:buChar char="§"/>
              <a:tabLst>
                <a:tab pos="1619250" algn="l"/>
              </a:tabLst>
            </a:pPr>
            <a:r>
              <a:rPr lang="en-US" dirty="0"/>
              <a:t>OTHERS IN R&amp;D</a:t>
            </a:r>
            <a:br>
              <a:rPr lang="en-US" dirty="0"/>
            </a:br>
            <a:endParaRPr lang="en-US" dirty="0"/>
          </a:p>
          <a:p>
            <a:pPr marL="285750" indent="-285750" algn="l">
              <a:spcAft>
                <a:spcPts val="600"/>
              </a:spcAft>
              <a:buClr>
                <a:srgbClr val="92D050"/>
              </a:buClr>
              <a:buSzPct val="100000"/>
              <a:buFont typeface="Wingdings" panose="05000000000000000000" pitchFamily="2" charset="2"/>
              <a:buChar char="§"/>
              <a:tabLst>
                <a:tab pos="1619250" algn="l"/>
              </a:tabLst>
            </a:pPr>
            <a:endParaRPr lang="en-US" dirty="0"/>
          </a:p>
        </p:txBody>
      </p:sp>
      <p:sp>
        <p:nvSpPr>
          <p:cNvPr id="17" name="Textfeld 16">
            <a:extLst>
              <a:ext uri="{FF2B5EF4-FFF2-40B4-BE49-F238E27FC236}">
                <a16:creationId xmlns:a16="http://schemas.microsoft.com/office/drawing/2014/main" id="{A38B0D4F-9502-97C4-05E1-E7DDCE92DDBC}"/>
              </a:ext>
            </a:extLst>
          </p:cNvPr>
          <p:cNvSpPr txBox="1"/>
          <p:nvPr/>
        </p:nvSpPr>
        <p:spPr>
          <a:xfrm>
            <a:off x="3935760" y="2752654"/>
            <a:ext cx="3592081" cy="856366"/>
          </a:xfrm>
          <a:prstGeom prst="rect">
            <a:avLst/>
          </a:prstGeom>
          <a:noFill/>
        </p:spPr>
        <p:txBody>
          <a:bodyPr wrap="square" lIns="0" tIns="0" rIns="0" bIns="0" rtlCol="0">
            <a:noAutofit/>
          </a:bodyPr>
          <a:lstStyle/>
          <a:p>
            <a:pPr>
              <a:buClr>
                <a:schemeClr val="accent2"/>
              </a:buClr>
              <a:buSzPct val="150000"/>
            </a:pPr>
            <a:r>
              <a:rPr lang="en-US" sz="2800" b="1" dirty="0"/>
              <a:t>Transition</a:t>
            </a:r>
          </a:p>
          <a:p>
            <a:pPr>
              <a:buClr>
                <a:schemeClr val="accent2"/>
              </a:buClr>
              <a:buSzPct val="150000"/>
            </a:pPr>
            <a:endParaRPr lang="en-US" sz="2400" b="1" dirty="0">
              <a:solidFill>
                <a:schemeClr val="bg1"/>
              </a:solidFill>
            </a:endParaRPr>
          </a:p>
          <a:p>
            <a:pPr>
              <a:buClr>
                <a:schemeClr val="accent2"/>
              </a:buClr>
              <a:buSzPct val="150000"/>
            </a:pPr>
            <a:endParaRPr lang="en-US" sz="2400" b="1" dirty="0">
              <a:solidFill>
                <a:schemeClr val="bg1"/>
              </a:solidFill>
            </a:endParaRPr>
          </a:p>
          <a:p>
            <a:pPr>
              <a:buClr>
                <a:schemeClr val="accent2"/>
              </a:buClr>
              <a:buSzPct val="150000"/>
            </a:pPr>
            <a:endParaRPr lang="en-US" sz="2400" b="1" dirty="0">
              <a:solidFill>
                <a:schemeClr val="bg1"/>
              </a:solidFill>
            </a:endParaRPr>
          </a:p>
          <a:p>
            <a:pPr>
              <a:buClr>
                <a:schemeClr val="accent2"/>
              </a:buClr>
              <a:buSzPct val="150000"/>
            </a:pPr>
            <a:endParaRPr lang="en-US" sz="2400" b="1" dirty="0">
              <a:solidFill>
                <a:schemeClr val="bg1"/>
              </a:solidFill>
            </a:endParaRPr>
          </a:p>
          <a:p>
            <a:pPr>
              <a:buClr>
                <a:schemeClr val="accent2"/>
              </a:buClr>
              <a:buSzPct val="150000"/>
            </a:pPr>
            <a:endParaRPr lang="en-US" sz="2000" b="1" dirty="0">
              <a:solidFill>
                <a:schemeClr val="bg1"/>
              </a:solidFill>
            </a:endParaRPr>
          </a:p>
          <a:p>
            <a:pPr>
              <a:buClr>
                <a:schemeClr val="accent2"/>
              </a:buClr>
              <a:buSzPct val="150000"/>
            </a:pPr>
            <a:endParaRPr lang="en-US" sz="2000" dirty="0">
              <a:solidFill>
                <a:schemeClr val="bg1"/>
              </a:solidFill>
            </a:endParaRPr>
          </a:p>
        </p:txBody>
      </p:sp>
      <p:sp>
        <p:nvSpPr>
          <p:cNvPr id="12" name="TextBox 11">
            <a:extLst>
              <a:ext uri="{FF2B5EF4-FFF2-40B4-BE49-F238E27FC236}">
                <a16:creationId xmlns:a16="http://schemas.microsoft.com/office/drawing/2014/main" id="{31C5F0A7-4FC3-57DD-9C2A-58DCFC826E47}"/>
              </a:ext>
            </a:extLst>
          </p:cNvPr>
          <p:cNvSpPr txBox="1"/>
          <p:nvPr/>
        </p:nvSpPr>
        <p:spPr>
          <a:xfrm>
            <a:off x="7620620" y="800708"/>
            <a:ext cx="4092004" cy="661720"/>
          </a:xfrm>
          <a:prstGeom prst="rect">
            <a:avLst/>
          </a:prstGeom>
          <a:solidFill>
            <a:schemeClr val="bg2">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marL="0" marR="0" lvl="0" indent="0" algn="ctr" defTabSz="914400" rtl="0" eaLnBrk="1" fontAlgn="base" latinLnBrk="0" hangingPunct="1">
              <a:lnSpc>
                <a:spcPct val="100000"/>
              </a:lnSpc>
              <a:spcBef>
                <a:spcPct val="0"/>
              </a:spcBef>
              <a:spcAft>
                <a:spcPts val="600"/>
              </a:spcAft>
              <a:buClr>
                <a:srgbClr val="004DA0"/>
              </a:buClr>
              <a:buSzPct val="100000"/>
              <a:buFontTx/>
              <a:buNone/>
              <a:tabLst>
                <a:tab pos="1619250" algn="l"/>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mn-cs"/>
              </a:rPr>
              <a:t>The Future – No Use of PTFE</a:t>
            </a:r>
          </a:p>
          <a:p>
            <a:pPr marL="0" marR="0" lvl="0" indent="0" algn="ctr" defTabSz="914400" rtl="0" eaLnBrk="1" fontAlgn="base" latinLnBrk="0" hangingPunct="1">
              <a:lnSpc>
                <a:spcPct val="100000"/>
              </a:lnSpc>
              <a:spcBef>
                <a:spcPct val="0"/>
              </a:spcBef>
              <a:spcAft>
                <a:spcPts val="600"/>
              </a:spcAft>
              <a:buClr>
                <a:srgbClr val="004DA0"/>
              </a:buClr>
              <a:buSzPct val="100000"/>
              <a:buFontTx/>
              <a:buNone/>
              <a:tabLst>
                <a:tab pos="1619250" algn="l"/>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mn-cs"/>
              </a:rPr>
              <a:t> (PFAS-Free) Approach</a:t>
            </a:r>
          </a:p>
        </p:txBody>
      </p:sp>
      <p:sp>
        <p:nvSpPr>
          <p:cNvPr id="13" name="TextBox 12">
            <a:extLst>
              <a:ext uri="{FF2B5EF4-FFF2-40B4-BE49-F238E27FC236}">
                <a16:creationId xmlns:a16="http://schemas.microsoft.com/office/drawing/2014/main" id="{018D6771-09F3-A4EB-C810-573687D40980}"/>
              </a:ext>
            </a:extLst>
          </p:cNvPr>
          <p:cNvSpPr txBox="1"/>
          <p:nvPr/>
        </p:nvSpPr>
        <p:spPr>
          <a:xfrm>
            <a:off x="659396" y="908720"/>
            <a:ext cx="3096344" cy="584775"/>
          </a:xfrm>
          <a:prstGeom prst="rect">
            <a:avLst/>
          </a:prstGeom>
          <a:solidFill>
            <a:schemeClr val="bg2">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US" b="1" dirty="0"/>
              <a:t>Discontinued PFAS Products</a:t>
            </a:r>
          </a:p>
          <a:p>
            <a:endParaRPr lang="en-US" dirty="0"/>
          </a:p>
        </p:txBody>
      </p:sp>
      <p:sp>
        <p:nvSpPr>
          <p:cNvPr id="14" name="Freihandform: Form 29">
            <a:extLst>
              <a:ext uri="{FF2B5EF4-FFF2-40B4-BE49-F238E27FC236}">
                <a16:creationId xmlns:a16="http://schemas.microsoft.com/office/drawing/2014/main" id="{71A964A5-4D93-31C9-C6CB-BE1322453D51}"/>
              </a:ext>
            </a:extLst>
          </p:cNvPr>
          <p:cNvSpPr>
            <a:spLocks/>
          </p:cNvSpPr>
          <p:nvPr/>
        </p:nvSpPr>
        <p:spPr bwMode="auto">
          <a:xfrm>
            <a:off x="7011385" y="3429001"/>
            <a:ext cx="2251589" cy="2004882"/>
          </a:xfrm>
          <a:custGeom>
            <a:avLst/>
            <a:gdLst>
              <a:gd name="connsiteX0" fmla="*/ 1304538 w 2404657"/>
              <a:gd name="connsiteY0" fmla="*/ 1531 h 2346900"/>
              <a:gd name="connsiteX1" fmla="*/ 1411004 w 2404657"/>
              <a:gd name="connsiteY1" fmla="*/ 3632 h 2346900"/>
              <a:gd name="connsiteX2" fmla="*/ 1850392 w 2404657"/>
              <a:gd name="connsiteY2" fmla="*/ 249434 h 2346900"/>
              <a:gd name="connsiteX3" fmla="*/ 2257143 w 2404657"/>
              <a:gd name="connsiteY3" fmla="*/ 883099 h 2346900"/>
              <a:gd name="connsiteX4" fmla="*/ 2403926 w 2404657"/>
              <a:gd name="connsiteY4" fmla="*/ 1586399 h 2346900"/>
              <a:gd name="connsiteX5" fmla="*/ 2207456 w 2404657"/>
              <a:gd name="connsiteY5" fmla="*/ 2098611 h 2346900"/>
              <a:gd name="connsiteX6" fmla="*/ 1729644 w 2404657"/>
              <a:gd name="connsiteY6" fmla="*/ 2324272 h 2346900"/>
              <a:gd name="connsiteX7" fmla="*/ 1459770 w 2404657"/>
              <a:gd name="connsiteY7" fmla="*/ 2346608 h 2346900"/>
              <a:gd name="connsiteX8" fmla="*/ 1364433 w 2404657"/>
              <a:gd name="connsiteY8" fmla="*/ 2341239 h 2346900"/>
              <a:gd name="connsiteX9" fmla="*/ 866829 w 2404657"/>
              <a:gd name="connsiteY9" fmla="*/ 2253620 h 2346900"/>
              <a:gd name="connsiteX10" fmla="*/ 370036 w 2404657"/>
              <a:gd name="connsiteY10" fmla="*/ 2037143 h 2346900"/>
              <a:gd name="connsiteX11" fmla="*/ 77052 w 2404657"/>
              <a:gd name="connsiteY11" fmla="*/ 1767874 h 2346900"/>
              <a:gd name="connsiteX12" fmla="*/ 1220 w 2404657"/>
              <a:gd name="connsiteY12" fmla="*/ 1446511 h 2346900"/>
              <a:gd name="connsiteX13" fmla="*/ 122005 w 2404657"/>
              <a:gd name="connsiteY13" fmla="*/ 1011541 h 2346900"/>
              <a:gd name="connsiteX14" fmla="*/ 505563 w 2404657"/>
              <a:gd name="connsiteY14" fmla="*/ 459104 h 2346900"/>
              <a:gd name="connsiteX15" fmla="*/ 992317 w 2404657"/>
              <a:gd name="connsiteY15" fmla="*/ 86897 h 2346900"/>
              <a:gd name="connsiteX16" fmla="*/ 1304538 w 2404657"/>
              <a:gd name="connsiteY16" fmla="*/ 1531 h 234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4657" h="2346900">
                <a:moveTo>
                  <a:pt x="1304538" y="1531"/>
                </a:moveTo>
                <a:cubicBezTo>
                  <a:pt x="1340572" y="-975"/>
                  <a:pt x="1376309" y="-495"/>
                  <a:pt x="1411004" y="3632"/>
                </a:cubicBezTo>
                <a:cubicBezTo>
                  <a:pt x="1549784" y="20142"/>
                  <a:pt x="1709369" y="102856"/>
                  <a:pt x="1850392" y="249434"/>
                </a:cubicBezTo>
                <a:cubicBezTo>
                  <a:pt x="1991416" y="396012"/>
                  <a:pt x="2164888" y="660272"/>
                  <a:pt x="2257143" y="883099"/>
                </a:cubicBezTo>
                <a:cubicBezTo>
                  <a:pt x="2349399" y="1105927"/>
                  <a:pt x="2412207" y="1383814"/>
                  <a:pt x="2403926" y="1586399"/>
                </a:cubicBezTo>
                <a:cubicBezTo>
                  <a:pt x="2395644" y="1788984"/>
                  <a:pt x="2319837" y="1975632"/>
                  <a:pt x="2207456" y="2098611"/>
                </a:cubicBezTo>
                <a:cubicBezTo>
                  <a:pt x="2095077" y="2221590"/>
                  <a:pt x="1888888" y="2302574"/>
                  <a:pt x="1729644" y="2324272"/>
                </a:cubicBezTo>
                <a:cubicBezTo>
                  <a:pt x="1610212" y="2340547"/>
                  <a:pt x="1545386" y="2348578"/>
                  <a:pt x="1459770" y="2346608"/>
                </a:cubicBezTo>
                <a:cubicBezTo>
                  <a:pt x="1431231" y="2345951"/>
                  <a:pt x="1400383" y="2344183"/>
                  <a:pt x="1364433" y="2341239"/>
                </a:cubicBezTo>
                <a:cubicBezTo>
                  <a:pt x="1220630" y="2329464"/>
                  <a:pt x="1041381" y="2310444"/>
                  <a:pt x="866829" y="2253620"/>
                </a:cubicBezTo>
                <a:cubicBezTo>
                  <a:pt x="622673" y="2175378"/>
                  <a:pt x="501665" y="2118101"/>
                  <a:pt x="370036" y="2037143"/>
                </a:cubicBezTo>
                <a:cubicBezTo>
                  <a:pt x="238406" y="1956185"/>
                  <a:pt x="133167" y="1850250"/>
                  <a:pt x="77052" y="1767874"/>
                </a:cubicBezTo>
                <a:cubicBezTo>
                  <a:pt x="20938" y="1685498"/>
                  <a:pt x="-6272" y="1572567"/>
                  <a:pt x="1220" y="1446511"/>
                </a:cubicBezTo>
                <a:cubicBezTo>
                  <a:pt x="8712" y="1320456"/>
                  <a:pt x="40624" y="1184139"/>
                  <a:pt x="122005" y="1011541"/>
                </a:cubicBezTo>
                <a:cubicBezTo>
                  <a:pt x="203385" y="838943"/>
                  <a:pt x="328386" y="639982"/>
                  <a:pt x="505563" y="459104"/>
                </a:cubicBezTo>
                <a:cubicBezTo>
                  <a:pt x="682740" y="278226"/>
                  <a:pt x="867861" y="144823"/>
                  <a:pt x="992317" y="86897"/>
                </a:cubicBezTo>
                <a:cubicBezTo>
                  <a:pt x="1085659" y="43453"/>
                  <a:pt x="1196435" y="9051"/>
                  <a:pt x="1304538" y="1531"/>
                </a:cubicBezTo>
                <a:close/>
              </a:path>
            </a:pathLst>
          </a:custGeom>
          <a:solidFill>
            <a:srgbClr val="7EB61C"/>
          </a:solidFill>
          <a:ln w="6350"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horz" wrap="square" lIns="108000" tIns="288000" rIns="122400" bIns="122400" numCol="1" rtlCol="0" anchor="ctr" anchorCtr="0" compatLnSpc="1">
            <a:prstTxWarp prst="textNoShape">
              <a:avLst/>
            </a:prstTxWarp>
            <a:noAutofit/>
          </a:bodyPr>
          <a:lstStyle>
            <a:defPPr>
              <a:defRPr lang="de-DE"/>
            </a:defPPr>
            <a:lvl1pPr algn="ctr" rtl="0" fontAlgn="base">
              <a:spcBef>
                <a:spcPct val="0"/>
              </a:spcBef>
              <a:spcAft>
                <a:spcPct val="0"/>
              </a:spcAft>
              <a:defRPr sz="1600" kern="1200">
                <a:solidFill>
                  <a:srgbClr val="000000"/>
                </a:solidFill>
                <a:latin typeface="Arial" charset="0"/>
              </a:defRPr>
            </a:lvl1pPr>
            <a:lvl2pPr marL="457200" algn="ctr" rtl="0" fontAlgn="base">
              <a:spcBef>
                <a:spcPct val="0"/>
              </a:spcBef>
              <a:spcAft>
                <a:spcPct val="0"/>
              </a:spcAft>
              <a:defRPr sz="1600" kern="1200">
                <a:solidFill>
                  <a:srgbClr val="000000"/>
                </a:solidFill>
                <a:latin typeface="Arial" charset="0"/>
              </a:defRPr>
            </a:lvl2pPr>
            <a:lvl3pPr marL="914400" algn="ctr" rtl="0" fontAlgn="base">
              <a:spcBef>
                <a:spcPct val="0"/>
              </a:spcBef>
              <a:spcAft>
                <a:spcPct val="0"/>
              </a:spcAft>
              <a:defRPr sz="1600" kern="1200">
                <a:solidFill>
                  <a:srgbClr val="000000"/>
                </a:solidFill>
                <a:latin typeface="Arial" charset="0"/>
              </a:defRPr>
            </a:lvl3pPr>
            <a:lvl4pPr marL="1371600" algn="ctr" rtl="0" fontAlgn="base">
              <a:spcBef>
                <a:spcPct val="0"/>
              </a:spcBef>
              <a:spcAft>
                <a:spcPct val="0"/>
              </a:spcAft>
              <a:defRPr sz="1600" kern="1200">
                <a:solidFill>
                  <a:srgbClr val="000000"/>
                </a:solidFill>
                <a:latin typeface="Arial" charset="0"/>
              </a:defRPr>
            </a:lvl4pPr>
            <a:lvl5pPr marL="1828800" algn="ctr" rtl="0" fontAlgn="base">
              <a:spcBef>
                <a:spcPct val="0"/>
              </a:spcBef>
              <a:spcAft>
                <a:spcPct val="0"/>
              </a:spcAft>
              <a:defRPr sz="1600" kern="1200">
                <a:solidFill>
                  <a:srgbClr val="000000"/>
                </a:solidFill>
                <a:latin typeface="Arial" charset="0"/>
              </a:defRPr>
            </a:lvl5pPr>
            <a:lvl6pPr marL="2286000" algn="l" defTabSz="914400" rtl="0" eaLnBrk="1" latinLnBrk="0" hangingPunct="1">
              <a:defRPr sz="1600" kern="1200">
                <a:solidFill>
                  <a:srgbClr val="000000"/>
                </a:solidFill>
                <a:latin typeface="Arial" charset="0"/>
              </a:defRPr>
            </a:lvl6pPr>
            <a:lvl7pPr marL="2743200" algn="l" defTabSz="914400" rtl="0" eaLnBrk="1" latinLnBrk="0" hangingPunct="1">
              <a:defRPr sz="1600" kern="1200">
                <a:solidFill>
                  <a:srgbClr val="000000"/>
                </a:solidFill>
                <a:latin typeface="Arial" charset="0"/>
              </a:defRPr>
            </a:lvl7pPr>
            <a:lvl8pPr marL="3200400" algn="l" defTabSz="914400" rtl="0" eaLnBrk="1" latinLnBrk="0" hangingPunct="1">
              <a:defRPr sz="1600" kern="1200">
                <a:solidFill>
                  <a:srgbClr val="000000"/>
                </a:solidFill>
                <a:latin typeface="Arial" charset="0"/>
              </a:defRPr>
            </a:lvl8pPr>
            <a:lvl9pPr marL="3657600" algn="l" defTabSz="914400" rtl="0" eaLnBrk="1" latinLnBrk="0" hangingPunct="1">
              <a:defRPr sz="1600" kern="1200">
                <a:solidFill>
                  <a:srgbClr val="000000"/>
                </a:solidFill>
                <a:latin typeface="Arial" charset="0"/>
              </a:defRPr>
            </a:lvl9pPr>
          </a:lstStyle>
          <a:p>
            <a:r>
              <a:rPr lang="en-US" sz="2800" b="1" kern="0" dirty="0">
                <a:solidFill>
                  <a:srgbClr val="FFFFFF"/>
                </a:solidFill>
              </a:rPr>
              <a:t>Texture</a:t>
            </a:r>
          </a:p>
          <a:p>
            <a:r>
              <a:rPr lang="en-US" sz="2800" b="1" kern="0" dirty="0">
                <a:solidFill>
                  <a:srgbClr val="FFFFFF"/>
                </a:solidFill>
              </a:rPr>
              <a:t>effect</a:t>
            </a:r>
          </a:p>
        </p:txBody>
      </p:sp>
      <p:sp>
        <p:nvSpPr>
          <p:cNvPr id="15" name="Freihandform: Form 37">
            <a:extLst>
              <a:ext uri="{FF2B5EF4-FFF2-40B4-BE49-F238E27FC236}">
                <a16:creationId xmlns:a16="http://schemas.microsoft.com/office/drawing/2014/main" id="{89613F7B-9C62-98F7-777F-3C10CEEB1840}"/>
              </a:ext>
            </a:extLst>
          </p:cNvPr>
          <p:cNvSpPr/>
          <p:nvPr/>
        </p:nvSpPr>
        <p:spPr bwMode="auto">
          <a:xfrm>
            <a:off x="5381968" y="4543900"/>
            <a:ext cx="2154192" cy="1752854"/>
          </a:xfrm>
          <a:custGeom>
            <a:avLst/>
            <a:gdLst>
              <a:gd name="connsiteX0" fmla="*/ 944887 w 2404657"/>
              <a:gd name="connsiteY0" fmla="*/ 292 h 2346900"/>
              <a:gd name="connsiteX1" fmla="*/ 1040225 w 2404657"/>
              <a:gd name="connsiteY1" fmla="*/ 5661 h 2346900"/>
              <a:gd name="connsiteX2" fmla="*/ 1537828 w 2404657"/>
              <a:gd name="connsiteY2" fmla="*/ 93280 h 2346900"/>
              <a:gd name="connsiteX3" fmla="*/ 2034621 w 2404657"/>
              <a:gd name="connsiteY3" fmla="*/ 309757 h 2346900"/>
              <a:gd name="connsiteX4" fmla="*/ 2327605 w 2404657"/>
              <a:gd name="connsiteY4" fmla="*/ 579026 h 2346900"/>
              <a:gd name="connsiteX5" fmla="*/ 2403437 w 2404657"/>
              <a:gd name="connsiteY5" fmla="*/ 900389 h 2346900"/>
              <a:gd name="connsiteX6" fmla="*/ 2282652 w 2404657"/>
              <a:gd name="connsiteY6" fmla="*/ 1335359 h 2346900"/>
              <a:gd name="connsiteX7" fmla="*/ 1899094 w 2404657"/>
              <a:gd name="connsiteY7" fmla="*/ 1887796 h 2346900"/>
              <a:gd name="connsiteX8" fmla="*/ 1412340 w 2404657"/>
              <a:gd name="connsiteY8" fmla="*/ 2260003 h 2346900"/>
              <a:gd name="connsiteX9" fmla="*/ 1100120 w 2404657"/>
              <a:gd name="connsiteY9" fmla="*/ 2345369 h 2346900"/>
              <a:gd name="connsiteX10" fmla="*/ 993653 w 2404657"/>
              <a:gd name="connsiteY10" fmla="*/ 2343268 h 2346900"/>
              <a:gd name="connsiteX11" fmla="*/ 554265 w 2404657"/>
              <a:gd name="connsiteY11" fmla="*/ 2097466 h 2346900"/>
              <a:gd name="connsiteX12" fmla="*/ 147514 w 2404657"/>
              <a:gd name="connsiteY12" fmla="*/ 1463801 h 2346900"/>
              <a:gd name="connsiteX13" fmla="*/ 731 w 2404657"/>
              <a:gd name="connsiteY13" fmla="*/ 760501 h 2346900"/>
              <a:gd name="connsiteX14" fmla="*/ 197201 w 2404657"/>
              <a:gd name="connsiteY14" fmla="*/ 248289 h 2346900"/>
              <a:gd name="connsiteX15" fmla="*/ 675013 w 2404657"/>
              <a:gd name="connsiteY15" fmla="*/ 22628 h 2346900"/>
              <a:gd name="connsiteX16" fmla="*/ 944887 w 2404657"/>
              <a:gd name="connsiteY16" fmla="*/ 292 h 234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4657" h="2346900">
                <a:moveTo>
                  <a:pt x="944887" y="292"/>
                </a:moveTo>
                <a:cubicBezTo>
                  <a:pt x="973426" y="949"/>
                  <a:pt x="1004274" y="2717"/>
                  <a:pt x="1040225" y="5661"/>
                </a:cubicBezTo>
                <a:cubicBezTo>
                  <a:pt x="1184028" y="17436"/>
                  <a:pt x="1363276" y="36456"/>
                  <a:pt x="1537828" y="93280"/>
                </a:cubicBezTo>
                <a:cubicBezTo>
                  <a:pt x="1781984" y="171522"/>
                  <a:pt x="1902992" y="228799"/>
                  <a:pt x="2034621" y="309757"/>
                </a:cubicBezTo>
                <a:cubicBezTo>
                  <a:pt x="2166251" y="390715"/>
                  <a:pt x="2271490" y="496650"/>
                  <a:pt x="2327605" y="579026"/>
                </a:cubicBezTo>
                <a:cubicBezTo>
                  <a:pt x="2383719" y="661402"/>
                  <a:pt x="2410929" y="774333"/>
                  <a:pt x="2403437" y="900389"/>
                </a:cubicBezTo>
                <a:cubicBezTo>
                  <a:pt x="2395945" y="1026444"/>
                  <a:pt x="2364033" y="1162761"/>
                  <a:pt x="2282652" y="1335359"/>
                </a:cubicBezTo>
                <a:cubicBezTo>
                  <a:pt x="2201272" y="1507957"/>
                  <a:pt x="2076271" y="1706918"/>
                  <a:pt x="1899094" y="1887796"/>
                </a:cubicBezTo>
                <a:cubicBezTo>
                  <a:pt x="1721918" y="2068674"/>
                  <a:pt x="1536796" y="2202077"/>
                  <a:pt x="1412340" y="2260003"/>
                </a:cubicBezTo>
                <a:cubicBezTo>
                  <a:pt x="1318998" y="2303447"/>
                  <a:pt x="1208222" y="2337849"/>
                  <a:pt x="1100120" y="2345369"/>
                </a:cubicBezTo>
                <a:cubicBezTo>
                  <a:pt x="1064086" y="2347875"/>
                  <a:pt x="1028349" y="2347395"/>
                  <a:pt x="993653" y="2343268"/>
                </a:cubicBezTo>
                <a:cubicBezTo>
                  <a:pt x="854873" y="2326758"/>
                  <a:pt x="695289" y="2244044"/>
                  <a:pt x="554265" y="2097466"/>
                </a:cubicBezTo>
                <a:cubicBezTo>
                  <a:pt x="413241" y="1950888"/>
                  <a:pt x="239769" y="1686628"/>
                  <a:pt x="147514" y="1463801"/>
                </a:cubicBezTo>
                <a:cubicBezTo>
                  <a:pt x="55258" y="1240973"/>
                  <a:pt x="-7550" y="963086"/>
                  <a:pt x="731" y="760501"/>
                </a:cubicBezTo>
                <a:cubicBezTo>
                  <a:pt x="9013" y="557916"/>
                  <a:pt x="84820" y="371268"/>
                  <a:pt x="197201" y="248289"/>
                </a:cubicBezTo>
                <a:cubicBezTo>
                  <a:pt x="309580" y="125310"/>
                  <a:pt x="515769" y="44326"/>
                  <a:pt x="675013" y="22628"/>
                </a:cubicBezTo>
                <a:cubicBezTo>
                  <a:pt x="794445" y="6353"/>
                  <a:pt x="859272" y="-1678"/>
                  <a:pt x="944887" y="292"/>
                </a:cubicBezTo>
                <a:close/>
              </a:path>
            </a:pathLst>
          </a:custGeom>
          <a:solidFill>
            <a:srgbClr val="00A6EB"/>
          </a:solidFill>
          <a:ln w="6350"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horz" wrap="square" lIns="122400" tIns="122400" rIns="122400" bIns="396000" numCol="1" rtlCol="0" anchor="ctr" anchorCtr="0" compatLnSpc="1">
            <a:prstTxWarp prst="textNoShape">
              <a:avLst/>
            </a:prstTxWarp>
            <a:noAutofit/>
          </a:bodyPr>
          <a:lstStyle>
            <a:defPPr>
              <a:defRPr lang="de-DE"/>
            </a:defPPr>
            <a:lvl1pPr algn="ctr" rtl="0" fontAlgn="base">
              <a:spcBef>
                <a:spcPct val="0"/>
              </a:spcBef>
              <a:spcAft>
                <a:spcPct val="0"/>
              </a:spcAft>
              <a:defRPr sz="1600" kern="1200">
                <a:solidFill>
                  <a:srgbClr val="000000"/>
                </a:solidFill>
                <a:latin typeface="Arial" charset="0"/>
              </a:defRPr>
            </a:lvl1pPr>
            <a:lvl2pPr marL="457200" algn="ctr" rtl="0" fontAlgn="base">
              <a:spcBef>
                <a:spcPct val="0"/>
              </a:spcBef>
              <a:spcAft>
                <a:spcPct val="0"/>
              </a:spcAft>
              <a:defRPr sz="1600" kern="1200">
                <a:solidFill>
                  <a:srgbClr val="000000"/>
                </a:solidFill>
                <a:latin typeface="Arial" charset="0"/>
              </a:defRPr>
            </a:lvl2pPr>
            <a:lvl3pPr marL="914400" algn="ctr" rtl="0" fontAlgn="base">
              <a:spcBef>
                <a:spcPct val="0"/>
              </a:spcBef>
              <a:spcAft>
                <a:spcPct val="0"/>
              </a:spcAft>
              <a:defRPr sz="1600" kern="1200">
                <a:solidFill>
                  <a:srgbClr val="000000"/>
                </a:solidFill>
                <a:latin typeface="Arial" charset="0"/>
              </a:defRPr>
            </a:lvl3pPr>
            <a:lvl4pPr marL="1371600" algn="ctr" rtl="0" fontAlgn="base">
              <a:spcBef>
                <a:spcPct val="0"/>
              </a:spcBef>
              <a:spcAft>
                <a:spcPct val="0"/>
              </a:spcAft>
              <a:defRPr sz="1600" kern="1200">
                <a:solidFill>
                  <a:srgbClr val="000000"/>
                </a:solidFill>
                <a:latin typeface="Arial" charset="0"/>
              </a:defRPr>
            </a:lvl4pPr>
            <a:lvl5pPr marL="1828800" algn="ctr" rtl="0" fontAlgn="base">
              <a:spcBef>
                <a:spcPct val="0"/>
              </a:spcBef>
              <a:spcAft>
                <a:spcPct val="0"/>
              </a:spcAft>
              <a:defRPr sz="1600" kern="1200">
                <a:solidFill>
                  <a:srgbClr val="000000"/>
                </a:solidFill>
                <a:latin typeface="Arial" charset="0"/>
              </a:defRPr>
            </a:lvl5pPr>
            <a:lvl6pPr marL="2286000" algn="l" defTabSz="914400" rtl="0" eaLnBrk="1" latinLnBrk="0" hangingPunct="1">
              <a:defRPr sz="1600" kern="1200">
                <a:solidFill>
                  <a:srgbClr val="000000"/>
                </a:solidFill>
                <a:latin typeface="Arial" charset="0"/>
              </a:defRPr>
            </a:lvl6pPr>
            <a:lvl7pPr marL="2743200" algn="l" defTabSz="914400" rtl="0" eaLnBrk="1" latinLnBrk="0" hangingPunct="1">
              <a:defRPr sz="1600" kern="1200">
                <a:solidFill>
                  <a:srgbClr val="000000"/>
                </a:solidFill>
                <a:latin typeface="Arial" charset="0"/>
              </a:defRPr>
            </a:lvl7pPr>
            <a:lvl8pPr marL="3200400" algn="l" defTabSz="914400" rtl="0" eaLnBrk="1" latinLnBrk="0" hangingPunct="1">
              <a:defRPr sz="1600" kern="1200">
                <a:solidFill>
                  <a:srgbClr val="000000"/>
                </a:solidFill>
                <a:latin typeface="Arial" charset="0"/>
              </a:defRPr>
            </a:lvl8pPr>
            <a:lvl9pPr marL="3657600" algn="l" defTabSz="914400" rtl="0" eaLnBrk="1" latinLnBrk="0" hangingPunct="1">
              <a:defRPr sz="1600" kern="1200">
                <a:solidFill>
                  <a:srgbClr val="000000"/>
                </a:solidFill>
                <a:latin typeface="Arial" charset="0"/>
              </a:defRPr>
            </a:lvl9pPr>
          </a:lstStyle>
          <a:p>
            <a:r>
              <a:rPr lang="en-US" sz="2800" b="1" kern="0" dirty="0">
                <a:solidFill>
                  <a:srgbClr val="FFFFFF"/>
                </a:solidFill>
              </a:rPr>
              <a:t>Scratch</a:t>
            </a:r>
          </a:p>
          <a:p>
            <a:r>
              <a:rPr lang="en-US" sz="2800" b="1" kern="0" dirty="0">
                <a:solidFill>
                  <a:srgbClr val="FFFFFF"/>
                </a:solidFill>
              </a:rPr>
              <a:t>resistance</a:t>
            </a:r>
          </a:p>
        </p:txBody>
      </p:sp>
      <p:sp>
        <p:nvSpPr>
          <p:cNvPr id="16" name="Freihandform: Form 36">
            <a:extLst>
              <a:ext uri="{FF2B5EF4-FFF2-40B4-BE49-F238E27FC236}">
                <a16:creationId xmlns:a16="http://schemas.microsoft.com/office/drawing/2014/main" id="{45E1FFDF-D6AD-5CBF-4620-1017B22CA94F}"/>
              </a:ext>
            </a:extLst>
          </p:cNvPr>
          <p:cNvSpPr/>
          <p:nvPr/>
        </p:nvSpPr>
        <p:spPr bwMode="auto">
          <a:xfrm>
            <a:off x="8868308" y="4143625"/>
            <a:ext cx="2376264" cy="1985675"/>
          </a:xfrm>
          <a:custGeom>
            <a:avLst/>
            <a:gdLst>
              <a:gd name="connsiteX0" fmla="*/ 1459770 w 2404657"/>
              <a:gd name="connsiteY0" fmla="*/ 292 h 2346900"/>
              <a:gd name="connsiteX1" fmla="*/ 1729644 w 2404657"/>
              <a:gd name="connsiteY1" fmla="*/ 22628 h 2346900"/>
              <a:gd name="connsiteX2" fmla="*/ 2207456 w 2404657"/>
              <a:gd name="connsiteY2" fmla="*/ 248289 h 2346900"/>
              <a:gd name="connsiteX3" fmla="*/ 2403926 w 2404657"/>
              <a:gd name="connsiteY3" fmla="*/ 760501 h 2346900"/>
              <a:gd name="connsiteX4" fmla="*/ 2257143 w 2404657"/>
              <a:gd name="connsiteY4" fmla="*/ 1463801 h 2346900"/>
              <a:gd name="connsiteX5" fmla="*/ 1850392 w 2404657"/>
              <a:gd name="connsiteY5" fmla="*/ 2097466 h 2346900"/>
              <a:gd name="connsiteX6" fmla="*/ 1411004 w 2404657"/>
              <a:gd name="connsiteY6" fmla="*/ 2343268 h 2346900"/>
              <a:gd name="connsiteX7" fmla="*/ 1304538 w 2404657"/>
              <a:gd name="connsiteY7" fmla="*/ 2345369 h 2346900"/>
              <a:gd name="connsiteX8" fmla="*/ 992317 w 2404657"/>
              <a:gd name="connsiteY8" fmla="*/ 2260003 h 2346900"/>
              <a:gd name="connsiteX9" fmla="*/ 505563 w 2404657"/>
              <a:gd name="connsiteY9" fmla="*/ 1887796 h 2346900"/>
              <a:gd name="connsiteX10" fmla="*/ 122005 w 2404657"/>
              <a:gd name="connsiteY10" fmla="*/ 1335359 h 2346900"/>
              <a:gd name="connsiteX11" fmla="*/ 1220 w 2404657"/>
              <a:gd name="connsiteY11" fmla="*/ 900389 h 2346900"/>
              <a:gd name="connsiteX12" fmla="*/ 77052 w 2404657"/>
              <a:gd name="connsiteY12" fmla="*/ 579026 h 2346900"/>
              <a:gd name="connsiteX13" fmla="*/ 370036 w 2404657"/>
              <a:gd name="connsiteY13" fmla="*/ 309757 h 2346900"/>
              <a:gd name="connsiteX14" fmla="*/ 866829 w 2404657"/>
              <a:gd name="connsiteY14" fmla="*/ 93280 h 2346900"/>
              <a:gd name="connsiteX15" fmla="*/ 1364433 w 2404657"/>
              <a:gd name="connsiteY15" fmla="*/ 5661 h 2346900"/>
              <a:gd name="connsiteX16" fmla="*/ 1459770 w 2404657"/>
              <a:gd name="connsiteY16" fmla="*/ 292 h 234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4657" h="2346900">
                <a:moveTo>
                  <a:pt x="1459770" y="292"/>
                </a:moveTo>
                <a:cubicBezTo>
                  <a:pt x="1545386" y="-1678"/>
                  <a:pt x="1610212" y="6353"/>
                  <a:pt x="1729644" y="22628"/>
                </a:cubicBezTo>
                <a:cubicBezTo>
                  <a:pt x="1888888" y="44326"/>
                  <a:pt x="2095077" y="125310"/>
                  <a:pt x="2207456" y="248289"/>
                </a:cubicBezTo>
                <a:cubicBezTo>
                  <a:pt x="2319837" y="371268"/>
                  <a:pt x="2395644" y="557916"/>
                  <a:pt x="2403926" y="760501"/>
                </a:cubicBezTo>
                <a:cubicBezTo>
                  <a:pt x="2412207" y="963086"/>
                  <a:pt x="2349399" y="1240973"/>
                  <a:pt x="2257143" y="1463801"/>
                </a:cubicBezTo>
                <a:cubicBezTo>
                  <a:pt x="2164888" y="1686628"/>
                  <a:pt x="1991416" y="1950888"/>
                  <a:pt x="1850392" y="2097466"/>
                </a:cubicBezTo>
                <a:cubicBezTo>
                  <a:pt x="1709369" y="2244044"/>
                  <a:pt x="1549784" y="2326758"/>
                  <a:pt x="1411004" y="2343268"/>
                </a:cubicBezTo>
                <a:cubicBezTo>
                  <a:pt x="1376309" y="2347395"/>
                  <a:pt x="1340572" y="2347875"/>
                  <a:pt x="1304538" y="2345369"/>
                </a:cubicBezTo>
                <a:cubicBezTo>
                  <a:pt x="1196435" y="2337849"/>
                  <a:pt x="1085659" y="2303447"/>
                  <a:pt x="992317" y="2260003"/>
                </a:cubicBezTo>
                <a:cubicBezTo>
                  <a:pt x="867861" y="2202077"/>
                  <a:pt x="682740" y="2068674"/>
                  <a:pt x="505563" y="1887796"/>
                </a:cubicBezTo>
                <a:cubicBezTo>
                  <a:pt x="328386" y="1706918"/>
                  <a:pt x="203385" y="1507957"/>
                  <a:pt x="122005" y="1335359"/>
                </a:cubicBezTo>
                <a:cubicBezTo>
                  <a:pt x="40624" y="1162761"/>
                  <a:pt x="8712" y="1026444"/>
                  <a:pt x="1220" y="900389"/>
                </a:cubicBezTo>
                <a:cubicBezTo>
                  <a:pt x="-6272" y="774333"/>
                  <a:pt x="20938" y="661402"/>
                  <a:pt x="77052" y="579026"/>
                </a:cubicBezTo>
                <a:cubicBezTo>
                  <a:pt x="133167" y="496650"/>
                  <a:pt x="238406" y="390715"/>
                  <a:pt x="370036" y="309757"/>
                </a:cubicBezTo>
                <a:cubicBezTo>
                  <a:pt x="501665" y="228799"/>
                  <a:pt x="622673" y="171522"/>
                  <a:pt x="866829" y="93280"/>
                </a:cubicBezTo>
                <a:cubicBezTo>
                  <a:pt x="1041381" y="36456"/>
                  <a:pt x="1220630" y="17436"/>
                  <a:pt x="1364433" y="5661"/>
                </a:cubicBezTo>
                <a:cubicBezTo>
                  <a:pt x="1400383" y="2717"/>
                  <a:pt x="1431231" y="949"/>
                  <a:pt x="1459770" y="292"/>
                </a:cubicBezTo>
                <a:close/>
              </a:path>
            </a:pathLst>
          </a:custGeom>
          <a:solidFill>
            <a:srgbClr val="B70064"/>
          </a:solidFill>
          <a:ln w="6350"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horz" wrap="square" lIns="122400" tIns="122400" rIns="324000" bIns="396000" numCol="1" rtlCol="0" anchor="ctr" anchorCtr="0" compatLnSpc="1">
            <a:prstTxWarp prst="textNoShape">
              <a:avLst/>
            </a:prstTxWarp>
            <a:noAutofit/>
          </a:bodyPr>
          <a:lstStyle>
            <a:defPPr>
              <a:defRPr lang="de-DE"/>
            </a:defPPr>
            <a:lvl1pPr algn="ctr" rtl="0" fontAlgn="base">
              <a:spcBef>
                <a:spcPct val="0"/>
              </a:spcBef>
              <a:spcAft>
                <a:spcPct val="0"/>
              </a:spcAft>
              <a:defRPr sz="1600" kern="1200">
                <a:solidFill>
                  <a:srgbClr val="000000"/>
                </a:solidFill>
                <a:latin typeface="Arial" charset="0"/>
              </a:defRPr>
            </a:lvl1pPr>
            <a:lvl2pPr marL="457200" algn="ctr" rtl="0" fontAlgn="base">
              <a:spcBef>
                <a:spcPct val="0"/>
              </a:spcBef>
              <a:spcAft>
                <a:spcPct val="0"/>
              </a:spcAft>
              <a:defRPr sz="1600" kern="1200">
                <a:solidFill>
                  <a:srgbClr val="000000"/>
                </a:solidFill>
                <a:latin typeface="Arial" charset="0"/>
              </a:defRPr>
            </a:lvl2pPr>
            <a:lvl3pPr marL="914400" algn="ctr" rtl="0" fontAlgn="base">
              <a:spcBef>
                <a:spcPct val="0"/>
              </a:spcBef>
              <a:spcAft>
                <a:spcPct val="0"/>
              </a:spcAft>
              <a:defRPr sz="1600" kern="1200">
                <a:solidFill>
                  <a:srgbClr val="000000"/>
                </a:solidFill>
                <a:latin typeface="Arial" charset="0"/>
              </a:defRPr>
            </a:lvl3pPr>
            <a:lvl4pPr marL="1371600" algn="ctr" rtl="0" fontAlgn="base">
              <a:spcBef>
                <a:spcPct val="0"/>
              </a:spcBef>
              <a:spcAft>
                <a:spcPct val="0"/>
              </a:spcAft>
              <a:defRPr sz="1600" kern="1200">
                <a:solidFill>
                  <a:srgbClr val="000000"/>
                </a:solidFill>
                <a:latin typeface="Arial" charset="0"/>
              </a:defRPr>
            </a:lvl4pPr>
            <a:lvl5pPr marL="1828800" algn="ctr" rtl="0" fontAlgn="base">
              <a:spcBef>
                <a:spcPct val="0"/>
              </a:spcBef>
              <a:spcAft>
                <a:spcPct val="0"/>
              </a:spcAft>
              <a:defRPr sz="1600" kern="1200">
                <a:solidFill>
                  <a:srgbClr val="000000"/>
                </a:solidFill>
                <a:latin typeface="Arial" charset="0"/>
              </a:defRPr>
            </a:lvl5pPr>
            <a:lvl6pPr marL="2286000" algn="l" defTabSz="914400" rtl="0" eaLnBrk="1" latinLnBrk="0" hangingPunct="1">
              <a:defRPr sz="1600" kern="1200">
                <a:solidFill>
                  <a:srgbClr val="000000"/>
                </a:solidFill>
                <a:latin typeface="Arial" charset="0"/>
              </a:defRPr>
            </a:lvl6pPr>
            <a:lvl7pPr marL="2743200" algn="l" defTabSz="914400" rtl="0" eaLnBrk="1" latinLnBrk="0" hangingPunct="1">
              <a:defRPr sz="1600" kern="1200">
                <a:solidFill>
                  <a:srgbClr val="000000"/>
                </a:solidFill>
                <a:latin typeface="Arial" charset="0"/>
              </a:defRPr>
            </a:lvl7pPr>
            <a:lvl8pPr marL="3200400" algn="l" defTabSz="914400" rtl="0" eaLnBrk="1" latinLnBrk="0" hangingPunct="1">
              <a:defRPr sz="1600" kern="1200">
                <a:solidFill>
                  <a:srgbClr val="000000"/>
                </a:solidFill>
                <a:latin typeface="Arial" charset="0"/>
              </a:defRPr>
            </a:lvl8pPr>
            <a:lvl9pPr marL="3657600" algn="l" defTabSz="914400" rtl="0" eaLnBrk="1" latinLnBrk="0" hangingPunct="1">
              <a:defRPr sz="1600" kern="1200">
                <a:solidFill>
                  <a:srgbClr val="000000"/>
                </a:solidFill>
                <a:latin typeface="Arial" charset="0"/>
              </a:defRPr>
            </a:lvl9pPr>
          </a:lstStyle>
          <a:p>
            <a:r>
              <a:rPr lang="en-US" sz="2800" b="1" kern="0" dirty="0">
                <a:solidFill>
                  <a:srgbClr val="FFFFFF"/>
                </a:solidFill>
              </a:rPr>
              <a:t>   </a:t>
            </a:r>
            <a:r>
              <a:rPr lang="en-US" sz="2400" b="1" kern="0" dirty="0">
                <a:solidFill>
                  <a:srgbClr val="FFFFFF"/>
                </a:solidFill>
              </a:rPr>
              <a:t>Abrasion</a:t>
            </a:r>
          </a:p>
          <a:p>
            <a:r>
              <a:rPr lang="en-US" sz="2400" b="1" kern="0" dirty="0">
                <a:solidFill>
                  <a:srgbClr val="FFFFFF"/>
                </a:solidFill>
              </a:rPr>
              <a:t>   resistance</a:t>
            </a:r>
            <a:endParaRPr lang="en-US" sz="2400" b="1" dirty="0">
              <a:solidFill>
                <a:srgbClr val="FFFFFF"/>
              </a:solidFill>
            </a:endParaRPr>
          </a:p>
        </p:txBody>
      </p:sp>
      <p:sp>
        <p:nvSpPr>
          <p:cNvPr id="18" name="Arrow: Right 17">
            <a:extLst>
              <a:ext uri="{FF2B5EF4-FFF2-40B4-BE49-F238E27FC236}">
                <a16:creationId xmlns:a16="http://schemas.microsoft.com/office/drawing/2014/main" id="{177FBFB2-FF8E-310F-B0FB-518F2D85D507}"/>
              </a:ext>
            </a:extLst>
          </p:cNvPr>
          <p:cNvSpPr/>
          <p:nvPr/>
        </p:nvSpPr>
        <p:spPr bwMode="auto">
          <a:xfrm>
            <a:off x="2963652" y="2492896"/>
            <a:ext cx="978408" cy="484632"/>
          </a:xfrm>
          <a:prstGeom prst="rightArrow">
            <a:avLst/>
          </a:prstGeom>
          <a:solidFill>
            <a:schemeClr val="bg1"/>
          </a:solidFill>
          <a:ln w="6350"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charset="0"/>
            </a:endParaRPr>
          </a:p>
        </p:txBody>
      </p:sp>
      <p:sp>
        <p:nvSpPr>
          <p:cNvPr id="19" name="Arrow: Right 18">
            <a:extLst>
              <a:ext uri="{FF2B5EF4-FFF2-40B4-BE49-F238E27FC236}">
                <a16:creationId xmlns:a16="http://schemas.microsoft.com/office/drawing/2014/main" id="{651FAF33-B246-7CD3-6C60-CE8C9E36A8EE}"/>
              </a:ext>
            </a:extLst>
          </p:cNvPr>
          <p:cNvSpPr/>
          <p:nvPr/>
        </p:nvSpPr>
        <p:spPr bwMode="auto">
          <a:xfrm>
            <a:off x="7385844" y="2476316"/>
            <a:ext cx="978408" cy="484632"/>
          </a:xfrm>
          <a:prstGeom prst="rightArrow">
            <a:avLst/>
          </a:prstGeom>
          <a:solidFill>
            <a:schemeClr val="bg1"/>
          </a:solidFill>
          <a:ln w="6350"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6232224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up)">
                                      <p:cBhvr>
                                        <p:cTn id="7" dur="500"/>
                                        <p:tgtEl>
                                          <p:spTgt spid="6">
                                            <p:txEl>
                                              <p:pRg st="0" end="0"/>
                                            </p:txEl>
                                          </p:spTgt>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wipe(up)">
                                      <p:cBhvr>
                                        <p:cTn id="10" dur="500"/>
                                        <p:tgtEl>
                                          <p:spTgt spid="6">
                                            <p:txEl>
                                              <p:pRg st="1" end="1"/>
                                            </p:txEl>
                                          </p:spTgt>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wipe(up)">
                                      <p:cBhvr>
                                        <p:cTn id="13" dur="500"/>
                                        <p:tgtEl>
                                          <p:spTgt spid="6">
                                            <p:txEl>
                                              <p:pRg st="2" end="2"/>
                                            </p:txEl>
                                          </p:spTgt>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wipe(up)">
                                      <p:cBhvr>
                                        <p:cTn id="16"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713FA-0F99-2CA1-17BC-BD3E9B5AD755}"/>
              </a:ext>
            </a:extLst>
          </p:cNvPr>
          <p:cNvSpPr>
            <a:spLocks noGrp="1"/>
          </p:cNvSpPr>
          <p:nvPr>
            <p:ph type="title"/>
          </p:nvPr>
        </p:nvSpPr>
        <p:spPr>
          <a:xfrm>
            <a:off x="407987" y="188913"/>
            <a:ext cx="11376026" cy="1008062"/>
          </a:xfrm>
        </p:spPr>
        <p:txBody>
          <a:bodyPr wrap="square" anchor="t">
            <a:normAutofit/>
          </a:bodyPr>
          <a:lstStyle/>
          <a:p>
            <a:r>
              <a:rPr lang="en-US" dirty="0"/>
              <a:t>Summary &amp; Conclusion</a:t>
            </a:r>
            <a:br>
              <a:rPr lang="en-US" dirty="0"/>
            </a:br>
            <a:r>
              <a:rPr lang="en-US" b="0" dirty="0"/>
              <a:t>Case Study II</a:t>
            </a:r>
          </a:p>
        </p:txBody>
      </p:sp>
      <p:sp>
        <p:nvSpPr>
          <p:cNvPr id="4" name="Date Placeholder 3">
            <a:extLst>
              <a:ext uri="{FF2B5EF4-FFF2-40B4-BE49-F238E27FC236}">
                <a16:creationId xmlns:a16="http://schemas.microsoft.com/office/drawing/2014/main" id="{35C59951-100B-82B3-67D0-6F4B0C7DCAA2}"/>
              </a:ext>
            </a:extLst>
          </p:cNvPr>
          <p:cNvSpPr>
            <a:spLocks noGrp="1"/>
          </p:cNvSpPr>
          <p:nvPr>
            <p:ph type="dt" sz="half" idx="10"/>
          </p:nvPr>
        </p:nvSpPr>
        <p:spPr>
          <a:xfrm>
            <a:off x="1127448" y="6513439"/>
            <a:ext cx="792088" cy="144000"/>
          </a:xfrm>
        </p:spPr>
        <p:txBody>
          <a:bodyPr wrap="square" anchor="t">
            <a:normAutofit/>
          </a:bodyPr>
          <a:lstStyle/>
          <a:p>
            <a:r>
              <a:rPr lang="en-US"/>
              <a:t>September 2025</a:t>
            </a:r>
            <a:endParaRPr lang="en-US" dirty="0"/>
          </a:p>
        </p:txBody>
      </p:sp>
      <p:sp>
        <p:nvSpPr>
          <p:cNvPr id="5" name="Footer Placeholder 4">
            <a:extLst>
              <a:ext uri="{FF2B5EF4-FFF2-40B4-BE49-F238E27FC236}">
                <a16:creationId xmlns:a16="http://schemas.microsoft.com/office/drawing/2014/main" id="{5F8A4D5F-E113-C5AF-F05A-9E9512BEBC72}"/>
              </a:ext>
            </a:extLst>
          </p:cNvPr>
          <p:cNvSpPr>
            <a:spLocks noGrp="1"/>
          </p:cNvSpPr>
          <p:nvPr>
            <p:ph type="ftr" sz="quarter" idx="11"/>
          </p:nvPr>
        </p:nvSpPr>
        <p:spPr>
          <a:xfrm>
            <a:off x="1992796" y="6513440"/>
            <a:ext cx="8207660" cy="144000"/>
          </a:xfrm>
        </p:spPr>
        <p:txBody>
          <a:bodyPr wrap="square" anchor="t">
            <a:normAutofit/>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E96A1696-73CF-7F82-591F-BE5C16A43FDB}"/>
              </a:ext>
            </a:extLst>
          </p:cNvPr>
          <p:cNvSpPr>
            <a:spLocks noGrp="1"/>
          </p:cNvSpPr>
          <p:nvPr>
            <p:ph type="sldNum" sz="quarter" idx="12"/>
          </p:nvPr>
        </p:nvSpPr>
        <p:spPr>
          <a:xfrm>
            <a:off x="407368" y="6513439"/>
            <a:ext cx="620466" cy="144000"/>
          </a:xfrm>
        </p:spPr>
        <p:txBody>
          <a:bodyPr wrap="square" anchor="t">
            <a:normAutofit/>
          </a:bodyPr>
          <a:lstStyle/>
          <a:p>
            <a:pPr>
              <a:spcAft>
                <a:spcPts val="600"/>
              </a:spcAft>
            </a:pPr>
            <a:r>
              <a:rPr lang="de-DE"/>
              <a:t>Page </a:t>
            </a:r>
            <a:fld id="{8F63C9D9-3015-4EB3-9DF0-04DE0400ED04}" type="slidenum">
              <a:rPr smtClean="0"/>
              <a:pPr>
                <a:spcAft>
                  <a:spcPts val="600"/>
                </a:spcAft>
              </a:pPr>
              <a:t>30</a:t>
            </a:fld>
            <a:endParaRPr lang="en-US"/>
          </a:p>
        </p:txBody>
      </p:sp>
      <p:graphicFrame>
        <p:nvGraphicFramePr>
          <p:cNvPr id="9" name="Rectangle 1">
            <a:extLst>
              <a:ext uri="{FF2B5EF4-FFF2-40B4-BE49-F238E27FC236}">
                <a16:creationId xmlns:a16="http://schemas.microsoft.com/office/drawing/2014/main" id="{9935AA8E-AF66-1323-06D3-3CA38BCE053E}"/>
              </a:ext>
            </a:extLst>
          </p:cNvPr>
          <p:cNvGraphicFramePr>
            <a:graphicFrameLocks noGrp="1"/>
          </p:cNvGraphicFramePr>
          <p:nvPr>
            <p:ph idx="1"/>
            <p:extLst>
              <p:ext uri="{D42A27DB-BD31-4B8C-83A1-F6EECF244321}">
                <p14:modId xmlns:p14="http://schemas.microsoft.com/office/powerpoint/2010/main" val="1348390982"/>
              </p:ext>
            </p:extLst>
          </p:nvPr>
        </p:nvGraphicFramePr>
        <p:xfrm>
          <a:off x="407988" y="1206501"/>
          <a:ext cx="11376026" cy="51022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875580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0C168-976E-8D7D-A569-016504BB15F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357A20-0780-A6B8-0AC4-E37421A6E4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think-cell data - do not delete" hidden="1">
                        <a:extLst>
                          <a:ext uri="{FF2B5EF4-FFF2-40B4-BE49-F238E27FC236}">
                            <a16:creationId xmlns:a16="http://schemas.microsoft.com/office/drawing/2014/main" id="{AC357A20-0780-A6B8-0AC4-E37421A6E4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C385BB9-B0E0-C2E9-6592-C21B8712692A}"/>
              </a:ext>
            </a:extLst>
          </p:cNvPr>
          <p:cNvSpPr>
            <a:spLocks noGrp="1"/>
          </p:cNvSpPr>
          <p:nvPr>
            <p:ph type="title"/>
          </p:nvPr>
        </p:nvSpPr>
        <p:spPr>
          <a:xfrm>
            <a:off x="407987" y="152636"/>
            <a:ext cx="11376026" cy="525850"/>
          </a:xfrm>
        </p:spPr>
        <p:txBody>
          <a:bodyPr vert="horz"/>
          <a:lstStyle/>
          <a:p>
            <a:r>
              <a:rPr lang="en-US" noProof="0" dirty="0"/>
              <a:t>Summary of PTFE-free solutions in Powder Coatings</a:t>
            </a:r>
            <a:br>
              <a:rPr lang="en-US" noProof="0" dirty="0"/>
            </a:br>
            <a:endParaRPr lang="en-US" dirty="0"/>
          </a:p>
        </p:txBody>
      </p:sp>
      <p:sp>
        <p:nvSpPr>
          <p:cNvPr id="3" name="Datumsplatzhalter 2">
            <a:extLst>
              <a:ext uri="{FF2B5EF4-FFF2-40B4-BE49-F238E27FC236}">
                <a16:creationId xmlns:a16="http://schemas.microsoft.com/office/drawing/2014/main" id="{B603125B-F474-A7B9-8C3B-FE720DC3CA6D}"/>
              </a:ext>
            </a:extLst>
          </p:cNvPr>
          <p:cNvSpPr>
            <a:spLocks noGrp="1"/>
          </p:cNvSpPr>
          <p:nvPr>
            <p:ph type="dt" sz="half" idx="10"/>
          </p:nvPr>
        </p:nvSpPr>
        <p:spPr/>
        <p:txBody>
          <a:bodyPr/>
          <a:lstStyle/>
          <a:p>
            <a:r>
              <a:rPr lang="en-US"/>
              <a:t>September 2025</a:t>
            </a:r>
            <a:endParaRPr lang="en-US" dirty="0"/>
          </a:p>
        </p:txBody>
      </p:sp>
      <p:sp>
        <p:nvSpPr>
          <p:cNvPr id="4" name="Fußzeilenplatzhalter 3">
            <a:extLst>
              <a:ext uri="{FF2B5EF4-FFF2-40B4-BE49-F238E27FC236}">
                <a16:creationId xmlns:a16="http://schemas.microsoft.com/office/drawing/2014/main" id="{83CE1282-C643-A6C8-3719-36FD26CBA8AE}"/>
              </a:ext>
            </a:extLst>
          </p:cNvPr>
          <p:cNvSpPr>
            <a:spLocks noGrp="1"/>
          </p:cNvSpPr>
          <p:nvPr>
            <p:ph type="ftr" sz="quarter" idx="11"/>
          </p:nvPr>
        </p:nvSpPr>
        <p:spPr/>
        <p:txBody>
          <a:bodyPr/>
          <a:lstStyle/>
          <a:p>
            <a:r>
              <a:rPr lang="en-US"/>
              <a:t>Achieving robust textures with PTFE-free additives</a:t>
            </a:r>
            <a:endParaRPr lang="en-US" dirty="0"/>
          </a:p>
        </p:txBody>
      </p:sp>
      <p:sp>
        <p:nvSpPr>
          <p:cNvPr id="5" name="Foliennummernplatzhalter 4">
            <a:extLst>
              <a:ext uri="{FF2B5EF4-FFF2-40B4-BE49-F238E27FC236}">
                <a16:creationId xmlns:a16="http://schemas.microsoft.com/office/drawing/2014/main" id="{AE77C454-3E20-5AC6-C884-19C0565404B8}"/>
              </a:ext>
            </a:extLst>
          </p:cNvPr>
          <p:cNvSpPr>
            <a:spLocks noGrp="1"/>
          </p:cNvSpPr>
          <p:nvPr>
            <p:ph type="sldNum" sz="quarter" idx="12"/>
          </p:nvPr>
        </p:nvSpPr>
        <p:spPr/>
        <p:txBody>
          <a:bodyPr/>
          <a:lstStyle/>
          <a:p>
            <a:r>
              <a:rPr lang="en-US"/>
              <a:t>Page </a:t>
            </a:r>
            <a:fld id="{F833201C-4142-4F26-B8B7-249C87787C9A}" type="slidenum">
              <a:rPr lang="en-US" smtClean="0"/>
              <a:pPr/>
              <a:t>31</a:t>
            </a:fld>
            <a:endParaRPr lang="en-US"/>
          </a:p>
        </p:txBody>
      </p:sp>
      <p:pic>
        <p:nvPicPr>
          <p:cNvPr id="23" name="Grafik 22">
            <a:extLst>
              <a:ext uri="{FF2B5EF4-FFF2-40B4-BE49-F238E27FC236}">
                <a16:creationId xmlns:a16="http://schemas.microsoft.com/office/drawing/2014/main" id="{5FFE5F9D-5BE1-F459-AFD8-F4AF5ED986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90324" y="6477145"/>
            <a:ext cx="696770" cy="187200"/>
          </a:xfrm>
          <a:prstGeom prst="rect">
            <a:avLst/>
          </a:prstGeom>
        </p:spPr>
      </p:pic>
      <p:sp>
        <p:nvSpPr>
          <p:cNvPr id="17" name="Rechteck 16">
            <a:extLst>
              <a:ext uri="{FF2B5EF4-FFF2-40B4-BE49-F238E27FC236}">
                <a16:creationId xmlns:a16="http://schemas.microsoft.com/office/drawing/2014/main" id="{3C2FA519-0A33-FD67-9A7D-8324A984CBA0}"/>
              </a:ext>
            </a:extLst>
          </p:cNvPr>
          <p:cNvSpPr>
            <a:spLocks/>
          </p:cNvSpPr>
          <p:nvPr/>
        </p:nvSpPr>
        <p:spPr>
          <a:xfrm>
            <a:off x="289323" y="3315432"/>
            <a:ext cx="3790453" cy="2811539"/>
          </a:xfrm>
          <a:prstGeom prst="rect">
            <a:avLst/>
          </a:prstGeom>
        </p:spPr>
        <p:txBody>
          <a:bodyPr wrap="square" lIns="0" tIns="0" rIns="0" bIns="0" anchor="t">
            <a:spAutoFit/>
          </a:bodyPr>
          <a:lstStyle/>
          <a:p>
            <a:pPr algn="l">
              <a:lnSpc>
                <a:spcPct val="90000"/>
              </a:lnSpc>
              <a:spcBef>
                <a:spcPts val="600"/>
              </a:spcBef>
              <a:tabLst>
                <a:tab pos="266700" algn="l"/>
              </a:tabLst>
            </a:pPr>
            <a:endParaRPr lang="en-US" sz="2000" b="1" kern="0" dirty="0">
              <a:latin typeface="Arial"/>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ORGANOCLAY-C (HY) mainly in hybrid </a:t>
            </a:r>
          </a:p>
          <a:p>
            <a:pPr marL="180975" lvl="1" indent="-180975" algn="l">
              <a:lnSpc>
                <a:spcPct val="90000"/>
              </a:lnSpc>
              <a:spcBef>
                <a:spcPts val="600"/>
              </a:spcBef>
              <a:buClr>
                <a:schemeClr val="accent2"/>
              </a:buClr>
              <a:buSzPct val="150000"/>
              <a:buFont typeface="Arial" panose="020B0604020202020204" pitchFamily="34" charset="0"/>
              <a:buChar char="›"/>
            </a:pPr>
            <a:endParaRPr lang="en-US" dirty="0">
              <a:latin typeface="+mn-lt"/>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ORGANOCLAY-G (1958) mainly in HAA </a:t>
            </a:r>
          </a:p>
          <a:p>
            <a:pPr marL="180975" lvl="1" indent="-180975" algn="l">
              <a:lnSpc>
                <a:spcPct val="90000"/>
              </a:lnSpc>
              <a:spcBef>
                <a:spcPts val="600"/>
              </a:spcBef>
              <a:buClr>
                <a:schemeClr val="accent2"/>
              </a:buClr>
              <a:buSzPct val="150000"/>
              <a:buFont typeface="Arial" panose="020B0604020202020204" pitchFamily="34" charset="0"/>
              <a:buChar char="›"/>
            </a:pPr>
            <a:endParaRPr lang="en-US" dirty="0">
              <a:latin typeface="+mn-lt"/>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Synergy combinations </a:t>
            </a:r>
          </a:p>
          <a:p>
            <a:pPr marL="180975" lvl="1" indent="-180975" algn="l">
              <a:lnSpc>
                <a:spcPct val="90000"/>
              </a:lnSpc>
              <a:spcBef>
                <a:spcPts val="600"/>
              </a:spcBef>
              <a:buClr>
                <a:schemeClr val="accent2"/>
              </a:buClr>
              <a:buSzPct val="150000"/>
              <a:buFont typeface="Arial" panose="020B0604020202020204" pitchFamily="34" charset="0"/>
              <a:buChar char="›"/>
            </a:pPr>
            <a:endParaRPr lang="en-US" dirty="0">
              <a:latin typeface="+mn-lt"/>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Dosage range = 3.0 % - 6.0 % </a:t>
            </a:r>
          </a:p>
          <a:p>
            <a:pPr marL="180975" lvl="1" indent="-180975" algn="l">
              <a:lnSpc>
                <a:spcPct val="90000"/>
              </a:lnSpc>
              <a:spcBef>
                <a:spcPts val="600"/>
              </a:spcBef>
              <a:buClr>
                <a:schemeClr val="accent2"/>
              </a:buClr>
              <a:buSzPct val="150000"/>
              <a:buFont typeface="Arial" panose="020B0604020202020204" pitchFamily="34" charset="0"/>
              <a:buChar char="›"/>
            </a:pPr>
            <a:endParaRPr lang="en-US" sz="300" dirty="0">
              <a:latin typeface="+mn-lt"/>
            </a:endParaRPr>
          </a:p>
          <a:p>
            <a:pPr marL="0" lvl="1" algn="l">
              <a:lnSpc>
                <a:spcPct val="90000"/>
              </a:lnSpc>
              <a:spcBef>
                <a:spcPts val="600"/>
              </a:spcBef>
              <a:buClr>
                <a:schemeClr val="accent2"/>
              </a:buClr>
              <a:buSzPct val="150000"/>
            </a:pPr>
            <a:r>
              <a:rPr lang="en-US" sz="1800" b="1" kern="0" dirty="0">
                <a:solidFill>
                  <a:schemeClr val="accent2"/>
                </a:solidFill>
                <a:latin typeface="Arial"/>
              </a:rPr>
              <a:t>R&amp;D Efforts ongoing</a:t>
            </a:r>
            <a:endParaRPr lang="en-US" sz="1800" b="1" kern="0" dirty="0">
              <a:solidFill>
                <a:schemeClr val="accent2"/>
              </a:solidFill>
              <a:latin typeface="Arial"/>
              <a:cs typeface="Arial"/>
            </a:endParaRPr>
          </a:p>
        </p:txBody>
      </p:sp>
      <p:pic>
        <p:nvPicPr>
          <p:cNvPr id="27" name="Grafik 26" descr="Kolben Silhouette">
            <a:extLst>
              <a:ext uri="{FF2B5EF4-FFF2-40B4-BE49-F238E27FC236}">
                <a16:creationId xmlns:a16="http://schemas.microsoft.com/office/drawing/2014/main" id="{15DC6EBF-2BEA-F645-82CA-EBAC323B02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01694" y="2087770"/>
            <a:ext cx="914400" cy="914400"/>
          </a:xfrm>
          <a:prstGeom prst="rect">
            <a:avLst/>
          </a:prstGeom>
        </p:spPr>
      </p:pic>
      <p:pic>
        <p:nvPicPr>
          <p:cNvPr id="30" name="Grafik 29" descr="Atom Silhouette">
            <a:extLst>
              <a:ext uri="{FF2B5EF4-FFF2-40B4-BE49-F238E27FC236}">
                <a16:creationId xmlns:a16="http://schemas.microsoft.com/office/drawing/2014/main" id="{FDAACB90-46D4-D343-F61E-D903AEF1EC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9080" y="2087770"/>
            <a:ext cx="914400" cy="914400"/>
          </a:xfrm>
          <a:prstGeom prst="rect">
            <a:avLst/>
          </a:prstGeom>
        </p:spPr>
      </p:pic>
      <p:pic>
        <p:nvPicPr>
          <p:cNvPr id="31" name="Grafik 30" descr="Mikroskop Silhouette">
            <a:extLst>
              <a:ext uri="{FF2B5EF4-FFF2-40B4-BE49-F238E27FC236}">
                <a16:creationId xmlns:a16="http://schemas.microsoft.com/office/drawing/2014/main" id="{916085BD-8510-91F0-E39D-9EE1384C2A3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693095" y="2087770"/>
            <a:ext cx="914400" cy="914400"/>
          </a:xfrm>
          <a:prstGeom prst="rect">
            <a:avLst/>
          </a:prstGeom>
        </p:spPr>
      </p:pic>
      <p:sp>
        <p:nvSpPr>
          <p:cNvPr id="9" name="Freihandform: Form 8">
            <a:extLst>
              <a:ext uri="{FF2B5EF4-FFF2-40B4-BE49-F238E27FC236}">
                <a16:creationId xmlns:a16="http://schemas.microsoft.com/office/drawing/2014/main" id="{1A82060A-A7BF-89D4-2710-20F447AA7250}"/>
              </a:ext>
            </a:extLst>
          </p:cNvPr>
          <p:cNvSpPr>
            <a:spLocks/>
          </p:cNvSpPr>
          <p:nvPr/>
        </p:nvSpPr>
        <p:spPr bwMode="auto">
          <a:xfrm>
            <a:off x="810704" y="774733"/>
            <a:ext cx="2305693" cy="2250315"/>
          </a:xfrm>
          <a:custGeom>
            <a:avLst/>
            <a:gdLst>
              <a:gd name="connsiteX0" fmla="*/ 1304538 w 2404657"/>
              <a:gd name="connsiteY0" fmla="*/ 1531 h 2346900"/>
              <a:gd name="connsiteX1" fmla="*/ 1411004 w 2404657"/>
              <a:gd name="connsiteY1" fmla="*/ 3632 h 2346900"/>
              <a:gd name="connsiteX2" fmla="*/ 1850392 w 2404657"/>
              <a:gd name="connsiteY2" fmla="*/ 249434 h 2346900"/>
              <a:gd name="connsiteX3" fmla="*/ 2257143 w 2404657"/>
              <a:gd name="connsiteY3" fmla="*/ 883099 h 2346900"/>
              <a:gd name="connsiteX4" fmla="*/ 2403926 w 2404657"/>
              <a:gd name="connsiteY4" fmla="*/ 1586399 h 2346900"/>
              <a:gd name="connsiteX5" fmla="*/ 2207456 w 2404657"/>
              <a:gd name="connsiteY5" fmla="*/ 2098611 h 2346900"/>
              <a:gd name="connsiteX6" fmla="*/ 1729644 w 2404657"/>
              <a:gd name="connsiteY6" fmla="*/ 2324272 h 2346900"/>
              <a:gd name="connsiteX7" fmla="*/ 1459770 w 2404657"/>
              <a:gd name="connsiteY7" fmla="*/ 2346608 h 2346900"/>
              <a:gd name="connsiteX8" fmla="*/ 1364433 w 2404657"/>
              <a:gd name="connsiteY8" fmla="*/ 2341239 h 2346900"/>
              <a:gd name="connsiteX9" fmla="*/ 866829 w 2404657"/>
              <a:gd name="connsiteY9" fmla="*/ 2253620 h 2346900"/>
              <a:gd name="connsiteX10" fmla="*/ 370036 w 2404657"/>
              <a:gd name="connsiteY10" fmla="*/ 2037143 h 2346900"/>
              <a:gd name="connsiteX11" fmla="*/ 77052 w 2404657"/>
              <a:gd name="connsiteY11" fmla="*/ 1767874 h 2346900"/>
              <a:gd name="connsiteX12" fmla="*/ 1220 w 2404657"/>
              <a:gd name="connsiteY12" fmla="*/ 1446511 h 2346900"/>
              <a:gd name="connsiteX13" fmla="*/ 122005 w 2404657"/>
              <a:gd name="connsiteY13" fmla="*/ 1011541 h 2346900"/>
              <a:gd name="connsiteX14" fmla="*/ 505563 w 2404657"/>
              <a:gd name="connsiteY14" fmla="*/ 459104 h 2346900"/>
              <a:gd name="connsiteX15" fmla="*/ 992317 w 2404657"/>
              <a:gd name="connsiteY15" fmla="*/ 86897 h 2346900"/>
              <a:gd name="connsiteX16" fmla="*/ 1304538 w 2404657"/>
              <a:gd name="connsiteY16" fmla="*/ 1531 h 234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4657" h="2346900">
                <a:moveTo>
                  <a:pt x="1304538" y="1531"/>
                </a:moveTo>
                <a:cubicBezTo>
                  <a:pt x="1340572" y="-975"/>
                  <a:pt x="1376309" y="-495"/>
                  <a:pt x="1411004" y="3632"/>
                </a:cubicBezTo>
                <a:cubicBezTo>
                  <a:pt x="1549784" y="20142"/>
                  <a:pt x="1709369" y="102856"/>
                  <a:pt x="1850392" y="249434"/>
                </a:cubicBezTo>
                <a:cubicBezTo>
                  <a:pt x="1991416" y="396012"/>
                  <a:pt x="2164888" y="660272"/>
                  <a:pt x="2257143" y="883099"/>
                </a:cubicBezTo>
                <a:cubicBezTo>
                  <a:pt x="2349399" y="1105927"/>
                  <a:pt x="2412207" y="1383814"/>
                  <a:pt x="2403926" y="1586399"/>
                </a:cubicBezTo>
                <a:cubicBezTo>
                  <a:pt x="2395644" y="1788984"/>
                  <a:pt x="2319837" y="1975632"/>
                  <a:pt x="2207456" y="2098611"/>
                </a:cubicBezTo>
                <a:cubicBezTo>
                  <a:pt x="2095077" y="2221590"/>
                  <a:pt x="1888888" y="2302574"/>
                  <a:pt x="1729644" y="2324272"/>
                </a:cubicBezTo>
                <a:cubicBezTo>
                  <a:pt x="1610212" y="2340547"/>
                  <a:pt x="1545386" y="2348578"/>
                  <a:pt x="1459770" y="2346608"/>
                </a:cubicBezTo>
                <a:cubicBezTo>
                  <a:pt x="1431231" y="2345951"/>
                  <a:pt x="1400383" y="2344183"/>
                  <a:pt x="1364433" y="2341239"/>
                </a:cubicBezTo>
                <a:cubicBezTo>
                  <a:pt x="1220630" y="2329464"/>
                  <a:pt x="1041381" y="2310444"/>
                  <a:pt x="866829" y="2253620"/>
                </a:cubicBezTo>
                <a:cubicBezTo>
                  <a:pt x="622673" y="2175378"/>
                  <a:pt x="501665" y="2118101"/>
                  <a:pt x="370036" y="2037143"/>
                </a:cubicBezTo>
                <a:cubicBezTo>
                  <a:pt x="238406" y="1956185"/>
                  <a:pt x="133167" y="1850250"/>
                  <a:pt x="77052" y="1767874"/>
                </a:cubicBezTo>
                <a:cubicBezTo>
                  <a:pt x="20938" y="1685498"/>
                  <a:pt x="-6272" y="1572567"/>
                  <a:pt x="1220" y="1446511"/>
                </a:cubicBezTo>
                <a:cubicBezTo>
                  <a:pt x="8712" y="1320456"/>
                  <a:pt x="40624" y="1184139"/>
                  <a:pt x="122005" y="1011541"/>
                </a:cubicBezTo>
                <a:cubicBezTo>
                  <a:pt x="203385" y="838943"/>
                  <a:pt x="328386" y="639982"/>
                  <a:pt x="505563" y="459104"/>
                </a:cubicBezTo>
                <a:cubicBezTo>
                  <a:pt x="682740" y="278226"/>
                  <a:pt x="867861" y="144823"/>
                  <a:pt x="992317" y="86897"/>
                </a:cubicBezTo>
                <a:cubicBezTo>
                  <a:pt x="1085659" y="43453"/>
                  <a:pt x="1196435" y="9051"/>
                  <a:pt x="1304538" y="1531"/>
                </a:cubicBezTo>
                <a:close/>
              </a:path>
            </a:pathLst>
          </a:cu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path path="circle">
              <a:fillToRect l="100000" b="100000"/>
            </a:path>
            <a:tileRect t="-100000" r="-100000"/>
          </a:gradFill>
          <a:ln w="6350"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square" lIns="122400" tIns="122400" rIns="122400" bIns="122400" numCol="1" rtlCol="0" anchor="ctr" anchorCtr="0" compatLnSpc="1">
            <a:prstTxWarp prst="textNoShape">
              <a:avLst/>
            </a:prstTxWarp>
            <a:noAutofit/>
          </a:bodyPr>
          <a:lstStyle/>
          <a:p>
            <a:r>
              <a:rPr lang="en-US" sz="2800" b="1" kern="0" dirty="0">
                <a:solidFill>
                  <a:schemeClr val="bg1"/>
                </a:solidFill>
              </a:rPr>
              <a:t>Texture</a:t>
            </a:r>
          </a:p>
          <a:p>
            <a:r>
              <a:rPr lang="en-US" sz="2800" b="1" kern="0" dirty="0">
                <a:solidFill>
                  <a:schemeClr val="bg1"/>
                </a:solidFill>
              </a:rPr>
              <a:t>effect</a:t>
            </a:r>
          </a:p>
        </p:txBody>
      </p:sp>
      <p:sp>
        <p:nvSpPr>
          <p:cNvPr id="12" name="Rechteck: abgerundete Ecken 9">
            <a:extLst>
              <a:ext uri="{FF2B5EF4-FFF2-40B4-BE49-F238E27FC236}">
                <a16:creationId xmlns:a16="http://schemas.microsoft.com/office/drawing/2014/main" id="{D6B24A29-2127-4F4A-E912-B4675F104848}"/>
              </a:ext>
            </a:extLst>
          </p:cNvPr>
          <p:cNvSpPr/>
          <p:nvPr/>
        </p:nvSpPr>
        <p:spPr bwMode="auto">
          <a:xfrm>
            <a:off x="404745" y="3108363"/>
            <a:ext cx="3150731" cy="422756"/>
          </a:xfrm>
          <a:prstGeom prst="roundRect">
            <a:avLst>
              <a:gd name="adj" fmla="val 12827"/>
            </a:avLst>
          </a:prstGeom>
          <a:solidFill>
            <a:schemeClr val="accent1">
              <a:lumMod val="50000"/>
            </a:schemeClr>
          </a:solidFill>
          <a:ln w="635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r>
              <a:rPr lang="en-US" sz="2000" b="1" dirty="0">
                <a:solidFill>
                  <a:schemeClr val="bg1"/>
                </a:solidFill>
                <a:latin typeface="Arial"/>
                <a:cs typeface="Arial"/>
              </a:rPr>
              <a:t>ORGANOCLAY-G/C</a:t>
            </a:r>
            <a:endParaRPr lang="en-US" sz="2000" dirty="0">
              <a:solidFill>
                <a:schemeClr val="bg1"/>
              </a:solidFill>
            </a:endParaRPr>
          </a:p>
        </p:txBody>
      </p:sp>
      <p:grpSp>
        <p:nvGrpSpPr>
          <p:cNvPr id="16" name="Group 15">
            <a:extLst>
              <a:ext uri="{FF2B5EF4-FFF2-40B4-BE49-F238E27FC236}">
                <a16:creationId xmlns:a16="http://schemas.microsoft.com/office/drawing/2014/main" id="{3F45358A-405E-B0C9-2D34-4976CF4D6F41}"/>
              </a:ext>
            </a:extLst>
          </p:cNvPr>
          <p:cNvGrpSpPr/>
          <p:nvPr/>
        </p:nvGrpSpPr>
        <p:grpSpPr>
          <a:xfrm>
            <a:off x="8229183" y="620688"/>
            <a:ext cx="3673494" cy="5944103"/>
            <a:chOff x="8229183" y="716860"/>
            <a:chExt cx="3673494" cy="5944103"/>
          </a:xfrm>
        </p:grpSpPr>
        <p:sp>
          <p:nvSpPr>
            <p:cNvPr id="6" name="Rechteck 5">
              <a:extLst>
                <a:ext uri="{FF2B5EF4-FFF2-40B4-BE49-F238E27FC236}">
                  <a16:creationId xmlns:a16="http://schemas.microsoft.com/office/drawing/2014/main" id="{3FBB9DE3-A87A-058F-E030-D4CF4CC2EEC3}"/>
                </a:ext>
              </a:extLst>
            </p:cNvPr>
            <p:cNvSpPr>
              <a:spLocks/>
            </p:cNvSpPr>
            <p:nvPr/>
          </p:nvSpPr>
          <p:spPr>
            <a:xfrm>
              <a:off x="8232005" y="3315432"/>
              <a:ext cx="3670672" cy="3345531"/>
            </a:xfrm>
            <a:prstGeom prst="rect">
              <a:avLst/>
            </a:prstGeom>
          </p:spPr>
          <p:txBody>
            <a:bodyPr wrap="square" lIns="0" tIns="0" rIns="0" bIns="0" anchor="t">
              <a:spAutoFit/>
            </a:bodyPr>
            <a:lstStyle/>
            <a:p>
              <a:pPr algn="l">
                <a:lnSpc>
                  <a:spcPct val="90000"/>
                </a:lnSpc>
                <a:spcBef>
                  <a:spcPts val="600"/>
                </a:spcBef>
                <a:tabLst>
                  <a:tab pos="266700" algn="l"/>
                </a:tabLst>
              </a:pPr>
              <a:endParaRPr lang="en-US" sz="2000" b="1" kern="0" dirty="0">
                <a:latin typeface="+mn-lt"/>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endParaRPr lang="en-US" sz="2400" dirty="0">
                <a:latin typeface="+mn-lt"/>
              </a:endParaRPr>
            </a:p>
            <a:p>
              <a:pPr marL="0" lvl="1" algn="l">
                <a:lnSpc>
                  <a:spcPct val="90000"/>
                </a:lnSpc>
                <a:spcBef>
                  <a:spcPts val="600"/>
                </a:spcBef>
                <a:buClr>
                  <a:schemeClr val="accent2"/>
                </a:buClr>
                <a:buSzPct val="150000"/>
              </a:pPr>
              <a:endParaRPr lang="en-US" dirty="0">
                <a:latin typeface="+mn-lt"/>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Improvement of &gt; 20 % - 35 %</a:t>
              </a:r>
              <a:endParaRPr lang="en-US" dirty="0">
                <a:latin typeface="+mn-lt"/>
                <a:cs typeface="Arial"/>
              </a:endParaRPr>
            </a:p>
            <a:p>
              <a:pPr marL="0" lvl="1" algn="l">
                <a:lnSpc>
                  <a:spcPct val="90000"/>
                </a:lnSpc>
                <a:spcBef>
                  <a:spcPts val="600"/>
                </a:spcBef>
                <a:buClr>
                  <a:schemeClr val="accent2"/>
                </a:buClr>
                <a:buSzPct val="150000"/>
              </a:pPr>
              <a:endParaRPr lang="en-US" sz="2000" b="1" kern="0" dirty="0">
                <a:latin typeface="Arial"/>
              </a:endParaRPr>
            </a:p>
            <a:p>
              <a:pPr marL="0" lvl="1" algn="l">
                <a:lnSpc>
                  <a:spcPct val="90000"/>
                </a:lnSpc>
                <a:spcBef>
                  <a:spcPts val="600"/>
                </a:spcBef>
                <a:buClr>
                  <a:schemeClr val="accent2"/>
                </a:buClr>
                <a:buSzPct val="150000"/>
              </a:pPr>
              <a:r>
                <a:rPr lang="en-US" sz="2000" b="1" kern="0" dirty="0">
                  <a:latin typeface="Arial"/>
                </a:rPr>
                <a:t> </a:t>
              </a:r>
              <a:r>
                <a:rPr lang="en-US" sz="1800" b="1" kern="0" dirty="0">
                  <a:solidFill>
                    <a:schemeClr val="accent2"/>
                  </a:solidFill>
                  <a:latin typeface="Arial"/>
                </a:rPr>
                <a:t>R&amp;D Efforts ongoing</a:t>
              </a:r>
              <a:endParaRPr lang="en-US" sz="1800" dirty="0">
                <a:solidFill>
                  <a:schemeClr val="accent2"/>
                </a:solidFill>
              </a:endParaRPr>
            </a:p>
            <a:p>
              <a:pPr marL="0" lvl="1" algn="l">
                <a:lnSpc>
                  <a:spcPct val="90000"/>
                </a:lnSpc>
                <a:spcBef>
                  <a:spcPts val="600"/>
                </a:spcBef>
                <a:buClr>
                  <a:schemeClr val="accent2"/>
                </a:buClr>
                <a:buSzPct val="150000"/>
              </a:pPr>
              <a:endParaRPr lang="en-US" sz="2000" b="1" kern="0" dirty="0">
                <a:latin typeface="Arial"/>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Improvements of &gt; 50 %</a:t>
              </a:r>
              <a:endParaRPr lang="en-US" dirty="0">
                <a:latin typeface="+mn-lt"/>
                <a:cs typeface="Arial"/>
              </a:endParaRPr>
            </a:p>
            <a:p>
              <a:pPr marL="0" lvl="1" algn="l">
                <a:lnSpc>
                  <a:spcPct val="90000"/>
                </a:lnSpc>
                <a:spcBef>
                  <a:spcPts val="600"/>
                </a:spcBef>
                <a:buClr>
                  <a:schemeClr val="accent2"/>
                </a:buClr>
                <a:buSzPct val="150000"/>
              </a:pPr>
              <a:endParaRPr lang="en-US" dirty="0">
                <a:latin typeface="+mn-lt"/>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Application tests ongoing </a:t>
              </a:r>
              <a:endParaRPr lang="en-US" dirty="0">
                <a:latin typeface="+mn-lt"/>
                <a:cs typeface="Arial"/>
              </a:endParaRPr>
            </a:p>
          </p:txBody>
        </p:sp>
        <p:sp>
          <p:nvSpPr>
            <p:cNvPr id="10" name="Freihandform: Form 9">
              <a:extLst>
                <a:ext uri="{FF2B5EF4-FFF2-40B4-BE49-F238E27FC236}">
                  <a16:creationId xmlns:a16="http://schemas.microsoft.com/office/drawing/2014/main" id="{FB45709A-1AEB-2E59-C154-F722B1551573}"/>
                </a:ext>
              </a:extLst>
            </p:cNvPr>
            <p:cNvSpPr/>
            <p:nvPr/>
          </p:nvSpPr>
          <p:spPr bwMode="auto">
            <a:xfrm>
              <a:off x="8413040" y="716860"/>
              <a:ext cx="2388910" cy="2331533"/>
            </a:xfrm>
            <a:custGeom>
              <a:avLst/>
              <a:gdLst>
                <a:gd name="connsiteX0" fmla="*/ 1459770 w 2404657"/>
                <a:gd name="connsiteY0" fmla="*/ 292 h 2346900"/>
                <a:gd name="connsiteX1" fmla="*/ 1729644 w 2404657"/>
                <a:gd name="connsiteY1" fmla="*/ 22628 h 2346900"/>
                <a:gd name="connsiteX2" fmla="*/ 2207456 w 2404657"/>
                <a:gd name="connsiteY2" fmla="*/ 248289 h 2346900"/>
                <a:gd name="connsiteX3" fmla="*/ 2403926 w 2404657"/>
                <a:gd name="connsiteY3" fmla="*/ 760501 h 2346900"/>
                <a:gd name="connsiteX4" fmla="*/ 2257143 w 2404657"/>
                <a:gd name="connsiteY4" fmla="*/ 1463801 h 2346900"/>
                <a:gd name="connsiteX5" fmla="*/ 1850392 w 2404657"/>
                <a:gd name="connsiteY5" fmla="*/ 2097466 h 2346900"/>
                <a:gd name="connsiteX6" fmla="*/ 1411004 w 2404657"/>
                <a:gd name="connsiteY6" fmla="*/ 2343268 h 2346900"/>
                <a:gd name="connsiteX7" fmla="*/ 1304538 w 2404657"/>
                <a:gd name="connsiteY7" fmla="*/ 2345369 h 2346900"/>
                <a:gd name="connsiteX8" fmla="*/ 992317 w 2404657"/>
                <a:gd name="connsiteY8" fmla="*/ 2260003 h 2346900"/>
                <a:gd name="connsiteX9" fmla="*/ 505563 w 2404657"/>
                <a:gd name="connsiteY9" fmla="*/ 1887796 h 2346900"/>
                <a:gd name="connsiteX10" fmla="*/ 122005 w 2404657"/>
                <a:gd name="connsiteY10" fmla="*/ 1335359 h 2346900"/>
                <a:gd name="connsiteX11" fmla="*/ 1220 w 2404657"/>
                <a:gd name="connsiteY11" fmla="*/ 900389 h 2346900"/>
                <a:gd name="connsiteX12" fmla="*/ 77052 w 2404657"/>
                <a:gd name="connsiteY12" fmla="*/ 579026 h 2346900"/>
                <a:gd name="connsiteX13" fmla="*/ 370036 w 2404657"/>
                <a:gd name="connsiteY13" fmla="*/ 309757 h 2346900"/>
                <a:gd name="connsiteX14" fmla="*/ 866829 w 2404657"/>
                <a:gd name="connsiteY14" fmla="*/ 93280 h 2346900"/>
                <a:gd name="connsiteX15" fmla="*/ 1364433 w 2404657"/>
                <a:gd name="connsiteY15" fmla="*/ 5661 h 2346900"/>
                <a:gd name="connsiteX16" fmla="*/ 1459770 w 2404657"/>
                <a:gd name="connsiteY16" fmla="*/ 292 h 234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4657" h="2346900">
                  <a:moveTo>
                    <a:pt x="1459770" y="292"/>
                  </a:moveTo>
                  <a:cubicBezTo>
                    <a:pt x="1545386" y="-1678"/>
                    <a:pt x="1610212" y="6353"/>
                    <a:pt x="1729644" y="22628"/>
                  </a:cubicBezTo>
                  <a:cubicBezTo>
                    <a:pt x="1888888" y="44326"/>
                    <a:pt x="2095077" y="125310"/>
                    <a:pt x="2207456" y="248289"/>
                  </a:cubicBezTo>
                  <a:cubicBezTo>
                    <a:pt x="2319837" y="371268"/>
                    <a:pt x="2395644" y="557916"/>
                    <a:pt x="2403926" y="760501"/>
                  </a:cubicBezTo>
                  <a:cubicBezTo>
                    <a:pt x="2412207" y="963086"/>
                    <a:pt x="2349399" y="1240973"/>
                    <a:pt x="2257143" y="1463801"/>
                  </a:cubicBezTo>
                  <a:cubicBezTo>
                    <a:pt x="2164888" y="1686628"/>
                    <a:pt x="1991416" y="1950888"/>
                    <a:pt x="1850392" y="2097466"/>
                  </a:cubicBezTo>
                  <a:cubicBezTo>
                    <a:pt x="1709369" y="2244044"/>
                    <a:pt x="1549784" y="2326758"/>
                    <a:pt x="1411004" y="2343268"/>
                  </a:cubicBezTo>
                  <a:cubicBezTo>
                    <a:pt x="1376309" y="2347395"/>
                    <a:pt x="1340572" y="2347875"/>
                    <a:pt x="1304538" y="2345369"/>
                  </a:cubicBezTo>
                  <a:cubicBezTo>
                    <a:pt x="1196435" y="2337849"/>
                    <a:pt x="1085659" y="2303447"/>
                    <a:pt x="992317" y="2260003"/>
                  </a:cubicBezTo>
                  <a:cubicBezTo>
                    <a:pt x="867861" y="2202077"/>
                    <a:pt x="682740" y="2068674"/>
                    <a:pt x="505563" y="1887796"/>
                  </a:cubicBezTo>
                  <a:cubicBezTo>
                    <a:pt x="328386" y="1706918"/>
                    <a:pt x="203385" y="1507957"/>
                    <a:pt x="122005" y="1335359"/>
                  </a:cubicBezTo>
                  <a:cubicBezTo>
                    <a:pt x="40624" y="1162761"/>
                    <a:pt x="8712" y="1026444"/>
                    <a:pt x="1220" y="900389"/>
                  </a:cubicBezTo>
                  <a:cubicBezTo>
                    <a:pt x="-6272" y="774333"/>
                    <a:pt x="20938" y="661402"/>
                    <a:pt x="77052" y="579026"/>
                  </a:cubicBezTo>
                  <a:cubicBezTo>
                    <a:pt x="133167" y="496650"/>
                    <a:pt x="238406" y="390715"/>
                    <a:pt x="370036" y="309757"/>
                  </a:cubicBezTo>
                  <a:cubicBezTo>
                    <a:pt x="501665" y="228799"/>
                    <a:pt x="622673" y="171522"/>
                    <a:pt x="866829" y="93280"/>
                  </a:cubicBezTo>
                  <a:cubicBezTo>
                    <a:pt x="1041381" y="36456"/>
                    <a:pt x="1220630" y="17436"/>
                    <a:pt x="1364433" y="5661"/>
                  </a:cubicBezTo>
                  <a:cubicBezTo>
                    <a:pt x="1400383" y="2717"/>
                    <a:pt x="1431231" y="949"/>
                    <a:pt x="1459770" y="292"/>
                  </a:cubicBezTo>
                  <a:close/>
                </a:path>
              </a:pathLst>
            </a:cu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0800000" scaled="1"/>
              <a:tileRect/>
            </a:gradFill>
            <a:ln w="6350"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horz" wrap="square" lIns="0" tIns="122400" rIns="180000" bIns="396000" numCol="1" rtlCol="0" anchor="ctr" anchorCtr="0" compatLnSpc="1">
              <a:prstTxWarp prst="textNoShape">
                <a:avLst/>
              </a:prstTxWarp>
              <a:noAutofit/>
            </a:bodyPr>
            <a:lstStyle/>
            <a:p>
              <a:r>
                <a:rPr lang="en-US" sz="2800" b="1" kern="0" dirty="0">
                  <a:solidFill>
                    <a:schemeClr val="bg1"/>
                  </a:solidFill>
                </a:rPr>
                <a:t>   Abrasion</a:t>
              </a:r>
            </a:p>
            <a:p>
              <a:r>
                <a:rPr lang="en-US" sz="2800" b="1" kern="0" dirty="0">
                  <a:solidFill>
                    <a:schemeClr val="bg1"/>
                  </a:solidFill>
                </a:rPr>
                <a:t>   resistance</a:t>
              </a:r>
              <a:endParaRPr lang="en-US" sz="2000" b="1" dirty="0">
                <a:solidFill>
                  <a:schemeClr val="bg1"/>
                </a:solidFill>
              </a:endParaRPr>
            </a:p>
          </p:txBody>
        </p:sp>
        <p:sp>
          <p:nvSpPr>
            <p:cNvPr id="14" name="Rechteck: abgerundete Ecken 9">
              <a:extLst>
                <a:ext uri="{FF2B5EF4-FFF2-40B4-BE49-F238E27FC236}">
                  <a16:creationId xmlns:a16="http://schemas.microsoft.com/office/drawing/2014/main" id="{997BA820-8BD7-D88A-D6FE-106A73EEA176}"/>
                </a:ext>
              </a:extLst>
            </p:cNvPr>
            <p:cNvSpPr/>
            <p:nvPr/>
          </p:nvSpPr>
          <p:spPr bwMode="auto">
            <a:xfrm>
              <a:off x="8229183" y="3108363"/>
              <a:ext cx="3150731" cy="422756"/>
            </a:xfrm>
            <a:prstGeom prst="roundRect">
              <a:avLst>
                <a:gd name="adj" fmla="val 12827"/>
              </a:avLst>
            </a:prstGeom>
            <a:solidFill>
              <a:schemeClr val="accent1">
                <a:lumMod val="50000"/>
              </a:schemeClr>
            </a:solidFill>
            <a:ln w="635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r>
                <a:rPr lang="en-US" sz="2000" b="1" dirty="0">
                  <a:solidFill>
                    <a:schemeClr val="bg1"/>
                  </a:solidFill>
                  <a:latin typeface="Arial"/>
                  <a:cs typeface="Arial"/>
                </a:rPr>
                <a:t>PE-WAX 1051</a:t>
              </a:r>
              <a:endParaRPr lang="en-US" sz="2000" dirty="0">
                <a:solidFill>
                  <a:schemeClr val="bg1"/>
                </a:solidFill>
              </a:endParaRPr>
            </a:p>
          </p:txBody>
        </p:sp>
      </p:grpSp>
      <p:grpSp>
        <p:nvGrpSpPr>
          <p:cNvPr id="18" name="Group 17">
            <a:extLst>
              <a:ext uri="{FF2B5EF4-FFF2-40B4-BE49-F238E27FC236}">
                <a16:creationId xmlns:a16="http://schemas.microsoft.com/office/drawing/2014/main" id="{7C8EB0C3-778B-F867-1512-92179C43018D}"/>
              </a:ext>
            </a:extLst>
          </p:cNvPr>
          <p:cNvGrpSpPr/>
          <p:nvPr/>
        </p:nvGrpSpPr>
        <p:grpSpPr>
          <a:xfrm>
            <a:off x="4359752" y="692696"/>
            <a:ext cx="3670673" cy="5664630"/>
            <a:chOff x="4359752" y="774734"/>
            <a:chExt cx="3670673" cy="5664630"/>
          </a:xfrm>
        </p:grpSpPr>
        <p:sp>
          <p:nvSpPr>
            <p:cNvPr id="19" name="Rechteck 18">
              <a:extLst>
                <a:ext uri="{FF2B5EF4-FFF2-40B4-BE49-F238E27FC236}">
                  <a16:creationId xmlns:a16="http://schemas.microsoft.com/office/drawing/2014/main" id="{54B630E8-7AA8-AAE0-5059-4C2ED31BBD6E}"/>
                </a:ext>
              </a:extLst>
            </p:cNvPr>
            <p:cNvSpPr>
              <a:spLocks/>
            </p:cNvSpPr>
            <p:nvPr/>
          </p:nvSpPr>
          <p:spPr>
            <a:xfrm>
              <a:off x="4359752" y="3315432"/>
              <a:ext cx="3670673" cy="3123932"/>
            </a:xfrm>
            <a:prstGeom prst="rect">
              <a:avLst/>
            </a:prstGeom>
            <a:ln>
              <a:noFill/>
            </a:ln>
          </p:spPr>
          <p:txBody>
            <a:bodyPr wrap="square" lIns="0" tIns="0" rIns="0" bIns="0" anchor="t">
              <a:spAutoFit/>
            </a:bodyPr>
            <a:lstStyle/>
            <a:p>
              <a:pPr algn="l">
                <a:lnSpc>
                  <a:spcPct val="90000"/>
                </a:lnSpc>
                <a:spcBef>
                  <a:spcPts val="600"/>
                </a:spcBef>
                <a:tabLst>
                  <a:tab pos="266700" algn="l"/>
                </a:tabLst>
              </a:pPr>
              <a:endParaRPr lang="en-US" sz="2000" b="1" kern="0" dirty="0">
                <a:latin typeface="Arial"/>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Surface protection good slip properties </a:t>
              </a:r>
              <a:endParaRPr lang="en-US" dirty="0">
                <a:latin typeface="+mn-lt"/>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endParaRPr lang="en-US" dirty="0">
                <a:latin typeface="+mn-lt"/>
              </a:endParaRP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Dosage level = 0.2 % - 1.0 %</a:t>
              </a:r>
              <a:endParaRPr lang="en-US" dirty="0">
                <a:latin typeface="+mn-lt"/>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endParaRPr lang="en-US" dirty="0">
                <a:latin typeface="+mn-lt"/>
              </a:endParaRP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Blooming Free</a:t>
              </a:r>
              <a:endParaRPr lang="en-US" dirty="0">
                <a:latin typeface="+mn-lt"/>
                <a:cs typeface="Arial"/>
              </a:endParaRPr>
            </a:p>
            <a:p>
              <a:pPr marL="180975" lvl="1" indent="-180975" algn="l">
                <a:lnSpc>
                  <a:spcPct val="90000"/>
                </a:lnSpc>
                <a:spcBef>
                  <a:spcPts val="600"/>
                </a:spcBef>
                <a:buClr>
                  <a:schemeClr val="accent2"/>
                </a:buClr>
                <a:buSzPct val="150000"/>
                <a:buFont typeface="Arial" panose="020B0604020202020204" pitchFamily="34" charset="0"/>
                <a:buChar char="›"/>
              </a:pPr>
              <a:endParaRPr lang="en-US" sz="200" dirty="0">
                <a:latin typeface="+mn-lt"/>
              </a:endParaRPr>
            </a:p>
            <a:p>
              <a:pPr marL="0" lvl="1" algn="l">
                <a:lnSpc>
                  <a:spcPct val="90000"/>
                </a:lnSpc>
                <a:spcBef>
                  <a:spcPts val="600"/>
                </a:spcBef>
                <a:buClr>
                  <a:schemeClr val="accent2"/>
                </a:buClr>
                <a:buSzPct val="150000"/>
              </a:pPr>
              <a:r>
                <a:rPr lang="en-US" dirty="0">
                  <a:latin typeface="+mn-lt"/>
                </a:rPr>
                <a:t> </a:t>
              </a:r>
            </a:p>
            <a:p>
              <a:pPr marL="180975" lvl="1" indent="-180975" algn="l">
                <a:lnSpc>
                  <a:spcPct val="90000"/>
                </a:lnSpc>
                <a:spcBef>
                  <a:spcPts val="600"/>
                </a:spcBef>
                <a:buClr>
                  <a:schemeClr val="accent2"/>
                </a:buClr>
                <a:buSzPct val="150000"/>
                <a:buFont typeface="Arial" panose="020B0604020202020204" pitchFamily="34" charset="0"/>
                <a:buChar char="›"/>
              </a:pPr>
              <a:r>
                <a:rPr lang="en-US" dirty="0">
                  <a:latin typeface="+mn-lt"/>
                </a:rPr>
                <a:t>Surface protection by lubrication </a:t>
              </a:r>
              <a:endParaRPr lang="en-US" sz="200" dirty="0">
                <a:latin typeface="+mn-lt"/>
              </a:endParaRPr>
            </a:p>
            <a:p>
              <a:pPr marL="0" lvl="1" algn="l">
                <a:lnSpc>
                  <a:spcPct val="90000"/>
                </a:lnSpc>
                <a:spcBef>
                  <a:spcPts val="600"/>
                </a:spcBef>
                <a:buClr>
                  <a:schemeClr val="accent2"/>
                </a:buClr>
                <a:buSzPct val="150000"/>
              </a:pPr>
              <a:endParaRPr lang="en-US" sz="1800" b="1" kern="0" dirty="0">
                <a:solidFill>
                  <a:schemeClr val="accent2"/>
                </a:solidFill>
                <a:latin typeface="Arial"/>
              </a:endParaRPr>
            </a:p>
            <a:p>
              <a:pPr marL="0" lvl="1" algn="l">
                <a:lnSpc>
                  <a:spcPct val="90000"/>
                </a:lnSpc>
                <a:spcBef>
                  <a:spcPts val="600"/>
                </a:spcBef>
                <a:buClr>
                  <a:schemeClr val="accent2"/>
                </a:buClr>
                <a:buSzPct val="150000"/>
              </a:pPr>
              <a:r>
                <a:rPr lang="en-US" sz="1800" b="1" kern="0" dirty="0">
                  <a:solidFill>
                    <a:schemeClr val="accent2"/>
                  </a:solidFill>
                  <a:latin typeface="Arial"/>
                </a:rPr>
                <a:t>R&amp;D Efforts ongoing</a:t>
              </a:r>
              <a:endParaRPr lang="en-US" sz="1800" b="1" kern="0" dirty="0">
                <a:solidFill>
                  <a:schemeClr val="accent2"/>
                </a:solidFill>
                <a:latin typeface="Arial"/>
                <a:cs typeface="Arial"/>
              </a:endParaRPr>
            </a:p>
          </p:txBody>
        </p:sp>
        <p:sp>
          <p:nvSpPr>
            <p:cNvPr id="8" name="Freihandform: Form 7">
              <a:extLst>
                <a:ext uri="{FF2B5EF4-FFF2-40B4-BE49-F238E27FC236}">
                  <a16:creationId xmlns:a16="http://schemas.microsoft.com/office/drawing/2014/main" id="{6C792612-31A1-2028-2C87-13F278709251}"/>
                </a:ext>
              </a:extLst>
            </p:cNvPr>
            <p:cNvSpPr/>
            <p:nvPr/>
          </p:nvSpPr>
          <p:spPr bwMode="auto">
            <a:xfrm>
              <a:off x="4611872" y="774734"/>
              <a:ext cx="2305693" cy="2250315"/>
            </a:xfrm>
            <a:custGeom>
              <a:avLst/>
              <a:gdLst>
                <a:gd name="connsiteX0" fmla="*/ 944887 w 2404657"/>
                <a:gd name="connsiteY0" fmla="*/ 292 h 2346900"/>
                <a:gd name="connsiteX1" fmla="*/ 1040225 w 2404657"/>
                <a:gd name="connsiteY1" fmla="*/ 5661 h 2346900"/>
                <a:gd name="connsiteX2" fmla="*/ 1537828 w 2404657"/>
                <a:gd name="connsiteY2" fmla="*/ 93280 h 2346900"/>
                <a:gd name="connsiteX3" fmla="*/ 2034621 w 2404657"/>
                <a:gd name="connsiteY3" fmla="*/ 309757 h 2346900"/>
                <a:gd name="connsiteX4" fmla="*/ 2327605 w 2404657"/>
                <a:gd name="connsiteY4" fmla="*/ 579026 h 2346900"/>
                <a:gd name="connsiteX5" fmla="*/ 2403437 w 2404657"/>
                <a:gd name="connsiteY5" fmla="*/ 900389 h 2346900"/>
                <a:gd name="connsiteX6" fmla="*/ 2282652 w 2404657"/>
                <a:gd name="connsiteY6" fmla="*/ 1335359 h 2346900"/>
                <a:gd name="connsiteX7" fmla="*/ 1899094 w 2404657"/>
                <a:gd name="connsiteY7" fmla="*/ 1887796 h 2346900"/>
                <a:gd name="connsiteX8" fmla="*/ 1412340 w 2404657"/>
                <a:gd name="connsiteY8" fmla="*/ 2260003 h 2346900"/>
                <a:gd name="connsiteX9" fmla="*/ 1100120 w 2404657"/>
                <a:gd name="connsiteY9" fmla="*/ 2345369 h 2346900"/>
                <a:gd name="connsiteX10" fmla="*/ 993653 w 2404657"/>
                <a:gd name="connsiteY10" fmla="*/ 2343268 h 2346900"/>
                <a:gd name="connsiteX11" fmla="*/ 554265 w 2404657"/>
                <a:gd name="connsiteY11" fmla="*/ 2097466 h 2346900"/>
                <a:gd name="connsiteX12" fmla="*/ 147514 w 2404657"/>
                <a:gd name="connsiteY12" fmla="*/ 1463801 h 2346900"/>
                <a:gd name="connsiteX13" fmla="*/ 731 w 2404657"/>
                <a:gd name="connsiteY13" fmla="*/ 760501 h 2346900"/>
                <a:gd name="connsiteX14" fmla="*/ 197201 w 2404657"/>
                <a:gd name="connsiteY14" fmla="*/ 248289 h 2346900"/>
                <a:gd name="connsiteX15" fmla="*/ 675013 w 2404657"/>
                <a:gd name="connsiteY15" fmla="*/ 22628 h 2346900"/>
                <a:gd name="connsiteX16" fmla="*/ 944887 w 2404657"/>
                <a:gd name="connsiteY16" fmla="*/ 292 h 234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4657" h="2346900">
                  <a:moveTo>
                    <a:pt x="944887" y="292"/>
                  </a:moveTo>
                  <a:cubicBezTo>
                    <a:pt x="973426" y="949"/>
                    <a:pt x="1004274" y="2717"/>
                    <a:pt x="1040225" y="5661"/>
                  </a:cubicBezTo>
                  <a:cubicBezTo>
                    <a:pt x="1184028" y="17436"/>
                    <a:pt x="1363276" y="36456"/>
                    <a:pt x="1537828" y="93280"/>
                  </a:cubicBezTo>
                  <a:cubicBezTo>
                    <a:pt x="1781984" y="171522"/>
                    <a:pt x="1902992" y="228799"/>
                    <a:pt x="2034621" y="309757"/>
                  </a:cubicBezTo>
                  <a:cubicBezTo>
                    <a:pt x="2166251" y="390715"/>
                    <a:pt x="2271490" y="496650"/>
                    <a:pt x="2327605" y="579026"/>
                  </a:cubicBezTo>
                  <a:cubicBezTo>
                    <a:pt x="2383719" y="661402"/>
                    <a:pt x="2410929" y="774333"/>
                    <a:pt x="2403437" y="900389"/>
                  </a:cubicBezTo>
                  <a:cubicBezTo>
                    <a:pt x="2395945" y="1026444"/>
                    <a:pt x="2364033" y="1162761"/>
                    <a:pt x="2282652" y="1335359"/>
                  </a:cubicBezTo>
                  <a:cubicBezTo>
                    <a:pt x="2201272" y="1507957"/>
                    <a:pt x="2076271" y="1706918"/>
                    <a:pt x="1899094" y="1887796"/>
                  </a:cubicBezTo>
                  <a:cubicBezTo>
                    <a:pt x="1721918" y="2068674"/>
                    <a:pt x="1536796" y="2202077"/>
                    <a:pt x="1412340" y="2260003"/>
                  </a:cubicBezTo>
                  <a:cubicBezTo>
                    <a:pt x="1318998" y="2303447"/>
                    <a:pt x="1208222" y="2337849"/>
                    <a:pt x="1100120" y="2345369"/>
                  </a:cubicBezTo>
                  <a:cubicBezTo>
                    <a:pt x="1064086" y="2347875"/>
                    <a:pt x="1028349" y="2347395"/>
                    <a:pt x="993653" y="2343268"/>
                  </a:cubicBezTo>
                  <a:cubicBezTo>
                    <a:pt x="854873" y="2326758"/>
                    <a:pt x="695289" y="2244044"/>
                    <a:pt x="554265" y="2097466"/>
                  </a:cubicBezTo>
                  <a:cubicBezTo>
                    <a:pt x="413241" y="1950888"/>
                    <a:pt x="239769" y="1686628"/>
                    <a:pt x="147514" y="1463801"/>
                  </a:cubicBezTo>
                  <a:cubicBezTo>
                    <a:pt x="55258" y="1240973"/>
                    <a:pt x="-7550" y="963086"/>
                    <a:pt x="731" y="760501"/>
                  </a:cubicBezTo>
                  <a:cubicBezTo>
                    <a:pt x="9013" y="557916"/>
                    <a:pt x="84820" y="371268"/>
                    <a:pt x="197201" y="248289"/>
                  </a:cubicBezTo>
                  <a:cubicBezTo>
                    <a:pt x="309580" y="125310"/>
                    <a:pt x="515769" y="44326"/>
                    <a:pt x="675013" y="22628"/>
                  </a:cubicBezTo>
                  <a:cubicBezTo>
                    <a:pt x="794445" y="6353"/>
                    <a:pt x="859272" y="-1678"/>
                    <a:pt x="944887" y="292"/>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square" lIns="122400" tIns="122400" rIns="122400" bIns="396000" numCol="1" rtlCol="0" anchor="ctr" anchorCtr="0" compatLnSpc="1">
              <a:prstTxWarp prst="textNoShape">
                <a:avLst/>
              </a:prstTxWarp>
              <a:noAutofit/>
            </a:bodyPr>
            <a:lstStyle/>
            <a:p>
              <a:r>
                <a:rPr lang="en-US" sz="2800" b="1" kern="0" dirty="0">
                  <a:solidFill>
                    <a:schemeClr val="bg1"/>
                  </a:solidFill>
                </a:rPr>
                <a:t>Scratch</a:t>
              </a:r>
            </a:p>
            <a:p>
              <a:r>
                <a:rPr lang="en-US" sz="2800" b="1" kern="0" dirty="0">
                  <a:solidFill>
                    <a:schemeClr val="bg1"/>
                  </a:solidFill>
                </a:rPr>
                <a:t>resistance</a:t>
              </a:r>
            </a:p>
          </p:txBody>
        </p:sp>
        <p:sp>
          <p:nvSpPr>
            <p:cNvPr id="13" name="Rechteck: abgerundete Ecken 9">
              <a:extLst>
                <a:ext uri="{FF2B5EF4-FFF2-40B4-BE49-F238E27FC236}">
                  <a16:creationId xmlns:a16="http://schemas.microsoft.com/office/drawing/2014/main" id="{03AD8EE0-83F3-C4F6-F638-05A03603ABA4}"/>
                </a:ext>
              </a:extLst>
            </p:cNvPr>
            <p:cNvSpPr/>
            <p:nvPr/>
          </p:nvSpPr>
          <p:spPr bwMode="auto">
            <a:xfrm>
              <a:off x="4363428" y="3108362"/>
              <a:ext cx="3150731" cy="422756"/>
            </a:xfrm>
            <a:prstGeom prst="roundRect">
              <a:avLst>
                <a:gd name="adj" fmla="val 12827"/>
              </a:avLst>
            </a:prstGeom>
            <a:solidFill>
              <a:schemeClr val="accent1">
                <a:lumMod val="50000"/>
              </a:schemeClr>
            </a:solidFill>
            <a:ln w="635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r>
                <a:rPr lang="en-US" sz="2000" b="1" dirty="0">
                  <a:solidFill>
                    <a:schemeClr val="bg1"/>
                  </a:solidFill>
                  <a:latin typeface="Arial"/>
                  <a:cs typeface="Arial"/>
                </a:rPr>
                <a:t>Polymer-based Slip add.</a:t>
              </a:r>
              <a:endParaRPr lang="en-US" sz="2000" dirty="0">
                <a:solidFill>
                  <a:schemeClr val="bg1"/>
                </a:solidFill>
              </a:endParaRPr>
            </a:p>
          </p:txBody>
        </p:sp>
        <p:sp>
          <p:nvSpPr>
            <p:cNvPr id="15" name="Rechteck: abgerundete Ecken 9">
              <a:extLst>
                <a:ext uri="{FF2B5EF4-FFF2-40B4-BE49-F238E27FC236}">
                  <a16:creationId xmlns:a16="http://schemas.microsoft.com/office/drawing/2014/main" id="{B4E800B7-BC16-913C-28DF-409CD66A2C64}"/>
                </a:ext>
              </a:extLst>
            </p:cNvPr>
            <p:cNvSpPr/>
            <p:nvPr/>
          </p:nvSpPr>
          <p:spPr bwMode="auto">
            <a:xfrm>
              <a:off x="4363426" y="4788574"/>
              <a:ext cx="3150731" cy="422756"/>
            </a:xfrm>
            <a:prstGeom prst="roundRect">
              <a:avLst>
                <a:gd name="adj" fmla="val 12827"/>
              </a:avLst>
            </a:prstGeom>
            <a:solidFill>
              <a:schemeClr val="accent1">
                <a:lumMod val="50000"/>
              </a:schemeClr>
            </a:solidFill>
            <a:ln w="635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r>
                <a:rPr lang="en-US" sz="2000" b="1" dirty="0">
                  <a:solidFill>
                    <a:schemeClr val="bg1"/>
                  </a:solidFill>
                  <a:latin typeface="Arial"/>
                  <a:cs typeface="Arial"/>
                </a:rPr>
                <a:t>PE-WAX 1051</a:t>
              </a:r>
              <a:endParaRPr lang="en-US" sz="2000" dirty="0">
                <a:solidFill>
                  <a:schemeClr val="bg1"/>
                </a:solidFill>
              </a:endParaRPr>
            </a:p>
          </p:txBody>
        </p:sp>
      </p:grpSp>
      <p:sp>
        <p:nvSpPr>
          <p:cNvPr id="11" name="Rechteck: abgerundete Ecken 9">
            <a:extLst>
              <a:ext uri="{FF2B5EF4-FFF2-40B4-BE49-F238E27FC236}">
                <a16:creationId xmlns:a16="http://schemas.microsoft.com/office/drawing/2014/main" id="{B37C4F75-2D87-4B15-4C14-6B45A049DE1E}"/>
              </a:ext>
            </a:extLst>
          </p:cNvPr>
          <p:cNvSpPr/>
          <p:nvPr/>
        </p:nvSpPr>
        <p:spPr bwMode="auto">
          <a:xfrm>
            <a:off x="8229183" y="3557037"/>
            <a:ext cx="3150731" cy="422756"/>
          </a:xfrm>
          <a:prstGeom prst="roundRect">
            <a:avLst>
              <a:gd name="adj" fmla="val 12827"/>
            </a:avLst>
          </a:prstGeom>
          <a:solidFill>
            <a:schemeClr val="accent1">
              <a:lumMod val="50000"/>
            </a:schemeClr>
          </a:solidFill>
          <a:ln w="635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r>
              <a:rPr lang="en-US" sz="2000" b="1" dirty="0">
                <a:solidFill>
                  <a:schemeClr val="bg1"/>
                </a:solidFill>
                <a:latin typeface="Arial"/>
                <a:cs typeface="Arial"/>
              </a:rPr>
              <a:t>HDPE-WAX 924</a:t>
            </a:r>
            <a:endParaRPr lang="en-US" sz="2000" dirty="0">
              <a:solidFill>
                <a:schemeClr val="bg1"/>
              </a:solidFill>
            </a:endParaRPr>
          </a:p>
        </p:txBody>
      </p:sp>
    </p:spTree>
    <p:extLst>
      <p:ext uri="{BB962C8B-B14F-4D97-AF65-F5344CB8AC3E}">
        <p14:creationId xmlns:p14="http://schemas.microsoft.com/office/powerpoint/2010/main" val="3201052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down)">
                                      <p:cBhvr>
                                        <p:cTn id="12" dur="500"/>
                                        <p:tgtEl>
                                          <p:spTgt spid="16"/>
                                        </p:tgtEl>
                                      </p:cBhvr>
                                    </p:animEffec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7BA6E-4C5D-0221-7D23-D525F5C49B07}"/>
            </a:ext>
          </a:extLst>
        </p:cNvPr>
        <p:cNvGrpSpPr/>
        <p:nvPr/>
      </p:nvGrpSpPr>
      <p:grpSpPr>
        <a:xfrm>
          <a:off x="0" y="0"/>
          <a:ext cx="0" cy="0"/>
          <a:chOff x="0" y="0"/>
          <a:chExt cx="0" cy="0"/>
        </a:xfrm>
      </p:grpSpPr>
      <p:sp>
        <p:nvSpPr>
          <p:cNvPr id="10" name="Freihandform: Form 16">
            <a:extLst>
              <a:ext uri="{FF2B5EF4-FFF2-40B4-BE49-F238E27FC236}">
                <a16:creationId xmlns:a16="http://schemas.microsoft.com/office/drawing/2014/main" id="{F7F45703-BFFB-D51F-102F-2E4E82500B58}"/>
              </a:ext>
            </a:extLst>
          </p:cNvPr>
          <p:cNvSpPr/>
          <p:nvPr/>
        </p:nvSpPr>
        <p:spPr bwMode="auto">
          <a:xfrm>
            <a:off x="1464415" y="0"/>
            <a:ext cx="10776520" cy="6858000"/>
          </a:xfrm>
          <a:custGeom>
            <a:avLst/>
            <a:gdLst>
              <a:gd name="connsiteX0" fmla="*/ 773955 w 10776520"/>
              <a:gd name="connsiteY0" fmla="*/ 0 h 6858000"/>
              <a:gd name="connsiteX1" fmla="*/ 10776520 w 10776520"/>
              <a:gd name="connsiteY1" fmla="*/ 0 h 6858000"/>
              <a:gd name="connsiteX2" fmla="*/ 10776520 w 10776520"/>
              <a:gd name="connsiteY2" fmla="*/ 6858000 h 6858000"/>
              <a:gd name="connsiteX3" fmla="*/ 1943153 w 10776520"/>
              <a:gd name="connsiteY3" fmla="*/ 6858000 h 6858000"/>
              <a:gd name="connsiteX4" fmla="*/ 1933497 w 10776520"/>
              <a:gd name="connsiteY4" fmla="*/ 6846459 h 6858000"/>
              <a:gd name="connsiteX5" fmla="*/ 1786123 w 10776520"/>
              <a:gd name="connsiteY5" fmla="*/ 6660128 h 6858000"/>
              <a:gd name="connsiteX6" fmla="*/ 113473 w 10776520"/>
              <a:gd name="connsiteY6" fmla="*/ 3347223 h 6858000"/>
              <a:gd name="connsiteX7" fmla="*/ 408965 w 10776520"/>
              <a:gd name="connsiteY7" fmla="*/ 528850 h 6858000"/>
              <a:gd name="connsiteX8" fmla="*/ 682700 w 10776520"/>
              <a:gd name="connsiteY8" fmla="*/ 109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6520" h="6858000">
                <a:moveTo>
                  <a:pt x="773955" y="0"/>
                </a:moveTo>
                <a:lnTo>
                  <a:pt x="10776520" y="0"/>
                </a:lnTo>
                <a:lnTo>
                  <a:pt x="10776520" y="6858000"/>
                </a:lnTo>
                <a:lnTo>
                  <a:pt x="1943153" y="6858000"/>
                </a:lnTo>
                <a:lnTo>
                  <a:pt x="1933497" y="6846459"/>
                </a:lnTo>
                <a:cubicBezTo>
                  <a:pt x="1882700" y="6784070"/>
                  <a:pt x="1833512" y="6721907"/>
                  <a:pt x="1786123" y="6660128"/>
                </a:cubicBezTo>
                <a:cubicBezTo>
                  <a:pt x="1027900" y="5671660"/>
                  <a:pt x="343000" y="4369104"/>
                  <a:pt x="113473" y="3347223"/>
                </a:cubicBezTo>
                <a:cubicBezTo>
                  <a:pt x="-116052" y="2325343"/>
                  <a:pt x="12655" y="1292705"/>
                  <a:pt x="408965" y="528850"/>
                </a:cubicBezTo>
                <a:cubicBezTo>
                  <a:pt x="483273" y="385627"/>
                  <a:pt x="576011" y="245361"/>
                  <a:pt x="682700" y="109862"/>
                </a:cubicBezTo>
                <a:close/>
              </a:path>
            </a:pathLst>
          </a:custGeom>
          <a:solidFill>
            <a:srgbClr val="CCEDFB"/>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p:txBody>
      </p:sp>
      <p:sp>
        <p:nvSpPr>
          <p:cNvPr id="13" name="Freihandform: Form 18">
            <a:extLst>
              <a:ext uri="{FF2B5EF4-FFF2-40B4-BE49-F238E27FC236}">
                <a16:creationId xmlns:a16="http://schemas.microsoft.com/office/drawing/2014/main" id="{65DF622C-CFF4-1798-B246-3416E873311C}"/>
              </a:ext>
            </a:extLst>
          </p:cNvPr>
          <p:cNvSpPr>
            <a:spLocks noChangeAspect="1"/>
          </p:cNvSpPr>
          <p:nvPr/>
        </p:nvSpPr>
        <p:spPr>
          <a:xfrm rot="13106022">
            <a:off x="16578" y="894566"/>
            <a:ext cx="4690011" cy="5053200"/>
          </a:xfrm>
          <a:custGeom>
            <a:avLst/>
            <a:gdLst>
              <a:gd name="connsiteX0" fmla="*/ 11872558 w 11872558"/>
              <a:gd name="connsiteY0" fmla="*/ 5045928 h 11317166"/>
              <a:gd name="connsiteX1" fmla="*/ 3969777 w 11872558"/>
              <a:gd name="connsiteY1" fmla="*/ 11317166 h 11317166"/>
              <a:gd name="connsiteX2" fmla="*/ 0 w 11872558"/>
              <a:gd name="connsiteY2" fmla="*/ 6314601 h 11317166"/>
              <a:gd name="connsiteX3" fmla="*/ 112788 w 11872558"/>
              <a:gd name="connsiteY3" fmla="*/ 5835154 h 11317166"/>
              <a:gd name="connsiteX4" fmla="*/ 188307 w 11872558"/>
              <a:gd name="connsiteY4" fmla="*/ 5562992 h 11317166"/>
              <a:gd name="connsiteX5" fmla="*/ 7198583 w 11872558"/>
              <a:gd name="connsiteY5" fmla="*/ 0 h 11317166"/>
              <a:gd name="connsiteX6" fmla="*/ 7452936 w 11872558"/>
              <a:gd name="connsiteY6" fmla="*/ 107571 h 11317166"/>
              <a:gd name="connsiteX7" fmla="*/ 8402082 w 11872558"/>
              <a:gd name="connsiteY7" fmla="*/ 673089 h 11317166"/>
              <a:gd name="connsiteX8" fmla="*/ 9913250 w 11872558"/>
              <a:gd name="connsiteY8" fmla="*/ 2050080 h 11317166"/>
              <a:gd name="connsiteX9" fmla="*/ 11534364 w 11872558"/>
              <a:gd name="connsiteY9" fmla="*/ 4364107 h 11317166"/>
              <a:gd name="connsiteX10" fmla="*/ 11863095 w 11872558"/>
              <a:gd name="connsiteY10" fmla="*/ 5025726 h 11317166"/>
              <a:gd name="connsiteX0" fmla="*/ 11698816 w 11863138"/>
              <a:gd name="connsiteY0" fmla="*/ 5848529 h 11317166"/>
              <a:gd name="connsiteX1" fmla="*/ 3969777 w 11863138"/>
              <a:gd name="connsiteY1" fmla="*/ 11317166 h 11317166"/>
              <a:gd name="connsiteX2" fmla="*/ 0 w 11863138"/>
              <a:gd name="connsiteY2" fmla="*/ 6314601 h 11317166"/>
              <a:gd name="connsiteX3" fmla="*/ 112788 w 11863138"/>
              <a:gd name="connsiteY3" fmla="*/ 5835154 h 11317166"/>
              <a:gd name="connsiteX4" fmla="*/ 188307 w 11863138"/>
              <a:gd name="connsiteY4" fmla="*/ 5562992 h 11317166"/>
              <a:gd name="connsiteX5" fmla="*/ 7198583 w 11863138"/>
              <a:gd name="connsiteY5" fmla="*/ 0 h 11317166"/>
              <a:gd name="connsiteX6" fmla="*/ 7452936 w 11863138"/>
              <a:gd name="connsiteY6" fmla="*/ 107571 h 11317166"/>
              <a:gd name="connsiteX7" fmla="*/ 8402082 w 11863138"/>
              <a:gd name="connsiteY7" fmla="*/ 673089 h 11317166"/>
              <a:gd name="connsiteX8" fmla="*/ 9913250 w 11863138"/>
              <a:gd name="connsiteY8" fmla="*/ 2050080 h 11317166"/>
              <a:gd name="connsiteX9" fmla="*/ 11534364 w 11863138"/>
              <a:gd name="connsiteY9" fmla="*/ 4364107 h 11317166"/>
              <a:gd name="connsiteX10" fmla="*/ 11863095 w 11863138"/>
              <a:gd name="connsiteY10" fmla="*/ 5025726 h 11317166"/>
              <a:gd name="connsiteX11" fmla="*/ 11698816 w 11863138"/>
              <a:gd name="connsiteY11" fmla="*/ 5848529 h 11317166"/>
              <a:gd name="connsiteX0" fmla="*/ 11698816 w 11863138"/>
              <a:gd name="connsiteY0" fmla="*/ 5848529 h 11317166"/>
              <a:gd name="connsiteX1" fmla="*/ 3969777 w 11863138"/>
              <a:gd name="connsiteY1" fmla="*/ 11317166 h 11317166"/>
              <a:gd name="connsiteX2" fmla="*/ 0 w 11863138"/>
              <a:gd name="connsiteY2" fmla="*/ 6314601 h 11317166"/>
              <a:gd name="connsiteX3" fmla="*/ 112788 w 11863138"/>
              <a:gd name="connsiteY3" fmla="*/ 5835154 h 11317166"/>
              <a:gd name="connsiteX4" fmla="*/ 188307 w 11863138"/>
              <a:gd name="connsiteY4" fmla="*/ 5562992 h 11317166"/>
              <a:gd name="connsiteX5" fmla="*/ 7198583 w 11863138"/>
              <a:gd name="connsiteY5" fmla="*/ 0 h 11317166"/>
              <a:gd name="connsiteX6" fmla="*/ 7452936 w 11863138"/>
              <a:gd name="connsiteY6" fmla="*/ 107571 h 11317166"/>
              <a:gd name="connsiteX7" fmla="*/ 8402082 w 11863138"/>
              <a:gd name="connsiteY7" fmla="*/ 673089 h 11317166"/>
              <a:gd name="connsiteX8" fmla="*/ 9913250 w 11863138"/>
              <a:gd name="connsiteY8" fmla="*/ 2050080 h 11317166"/>
              <a:gd name="connsiteX9" fmla="*/ 11534364 w 11863138"/>
              <a:gd name="connsiteY9" fmla="*/ 4364107 h 11317166"/>
              <a:gd name="connsiteX10" fmla="*/ 11863095 w 11863138"/>
              <a:gd name="connsiteY10" fmla="*/ 5025726 h 11317166"/>
              <a:gd name="connsiteX11" fmla="*/ 11790256 w 11863138"/>
              <a:gd name="connsiteY11" fmla="*/ 5939969 h 11317166"/>
              <a:gd name="connsiteX0" fmla="*/ 11698816 w 11863095"/>
              <a:gd name="connsiteY0" fmla="*/ 5848529 h 11317166"/>
              <a:gd name="connsiteX1" fmla="*/ 3969777 w 11863095"/>
              <a:gd name="connsiteY1" fmla="*/ 11317166 h 11317166"/>
              <a:gd name="connsiteX2" fmla="*/ 0 w 11863095"/>
              <a:gd name="connsiteY2" fmla="*/ 6314601 h 11317166"/>
              <a:gd name="connsiteX3" fmla="*/ 112788 w 11863095"/>
              <a:gd name="connsiteY3" fmla="*/ 5835154 h 11317166"/>
              <a:gd name="connsiteX4" fmla="*/ 188307 w 11863095"/>
              <a:gd name="connsiteY4" fmla="*/ 5562992 h 11317166"/>
              <a:gd name="connsiteX5" fmla="*/ 7198583 w 11863095"/>
              <a:gd name="connsiteY5" fmla="*/ 0 h 11317166"/>
              <a:gd name="connsiteX6" fmla="*/ 7452936 w 11863095"/>
              <a:gd name="connsiteY6" fmla="*/ 107571 h 11317166"/>
              <a:gd name="connsiteX7" fmla="*/ 8402082 w 11863095"/>
              <a:gd name="connsiteY7" fmla="*/ 673089 h 11317166"/>
              <a:gd name="connsiteX8" fmla="*/ 9913250 w 11863095"/>
              <a:gd name="connsiteY8" fmla="*/ 2050080 h 11317166"/>
              <a:gd name="connsiteX9" fmla="*/ 11534364 w 11863095"/>
              <a:gd name="connsiteY9" fmla="*/ 4364107 h 11317166"/>
              <a:gd name="connsiteX10" fmla="*/ 11863095 w 11863095"/>
              <a:gd name="connsiteY10" fmla="*/ 5025726 h 11317166"/>
              <a:gd name="connsiteX0" fmla="*/ 3969777 w 11863095"/>
              <a:gd name="connsiteY0" fmla="*/ 11317166 h 11317166"/>
              <a:gd name="connsiteX1" fmla="*/ 0 w 11863095"/>
              <a:gd name="connsiteY1" fmla="*/ 6314601 h 11317166"/>
              <a:gd name="connsiteX2" fmla="*/ 112788 w 11863095"/>
              <a:gd name="connsiteY2" fmla="*/ 5835154 h 11317166"/>
              <a:gd name="connsiteX3" fmla="*/ 188307 w 11863095"/>
              <a:gd name="connsiteY3" fmla="*/ 5562992 h 11317166"/>
              <a:gd name="connsiteX4" fmla="*/ 7198583 w 11863095"/>
              <a:gd name="connsiteY4" fmla="*/ 0 h 11317166"/>
              <a:gd name="connsiteX5" fmla="*/ 7452936 w 11863095"/>
              <a:gd name="connsiteY5" fmla="*/ 107571 h 11317166"/>
              <a:gd name="connsiteX6" fmla="*/ 8402082 w 11863095"/>
              <a:gd name="connsiteY6" fmla="*/ 673089 h 11317166"/>
              <a:gd name="connsiteX7" fmla="*/ 9913250 w 11863095"/>
              <a:gd name="connsiteY7" fmla="*/ 2050080 h 11317166"/>
              <a:gd name="connsiteX8" fmla="*/ 11534364 w 11863095"/>
              <a:gd name="connsiteY8" fmla="*/ 4364107 h 11317166"/>
              <a:gd name="connsiteX9" fmla="*/ 11863095 w 11863095"/>
              <a:gd name="connsiteY9" fmla="*/ 5025726 h 11317166"/>
              <a:gd name="connsiteX0" fmla="*/ 3856989 w 11750307"/>
              <a:gd name="connsiteY0" fmla="*/ 11317166 h 11317166"/>
              <a:gd name="connsiteX1" fmla="*/ 0 w 11750307"/>
              <a:gd name="connsiteY1" fmla="*/ 5835154 h 11317166"/>
              <a:gd name="connsiteX2" fmla="*/ 75519 w 11750307"/>
              <a:gd name="connsiteY2" fmla="*/ 5562992 h 11317166"/>
              <a:gd name="connsiteX3" fmla="*/ 7085795 w 11750307"/>
              <a:gd name="connsiteY3" fmla="*/ 0 h 11317166"/>
              <a:gd name="connsiteX4" fmla="*/ 7340148 w 11750307"/>
              <a:gd name="connsiteY4" fmla="*/ 107571 h 11317166"/>
              <a:gd name="connsiteX5" fmla="*/ 8289294 w 11750307"/>
              <a:gd name="connsiteY5" fmla="*/ 673089 h 11317166"/>
              <a:gd name="connsiteX6" fmla="*/ 9800462 w 11750307"/>
              <a:gd name="connsiteY6" fmla="*/ 2050080 h 11317166"/>
              <a:gd name="connsiteX7" fmla="*/ 11421576 w 11750307"/>
              <a:gd name="connsiteY7" fmla="*/ 4364107 h 11317166"/>
              <a:gd name="connsiteX8" fmla="*/ 11750307 w 11750307"/>
              <a:gd name="connsiteY8" fmla="*/ 5025726 h 11317166"/>
              <a:gd name="connsiteX0" fmla="*/ 0 w 11750307"/>
              <a:gd name="connsiteY0" fmla="*/ 5835154 h 5835154"/>
              <a:gd name="connsiteX1" fmla="*/ 75519 w 11750307"/>
              <a:gd name="connsiteY1" fmla="*/ 5562992 h 5835154"/>
              <a:gd name="connsiteX2" fmla="*/ 7085795 w 11750307"/>
              <a:gd name="connsiteY2" fmla="*/ 0 h 5835154"/>
              <a:gd name="connsiteX3" fmla="*/ 7340148 w 11750307"/>
              <a:gd name="connsiteY3" fmla="*/ 107571 h 5835154"/>
              <a:gd name="connsiteX4" fmla="*/ 8289294 w 11750307"/>
              <a:gd name="connsiteY4" fmla="*/ 673089 h 5835154"/>
              <a:gd name="connsiteX5" fmla="*/ 9800462 w 11750307"/>
              <a:gd name="connsiteY5" fmla="*/ 2050080 h 5835154"/>
              <a:gd name="connsiteX6" fmla="*/ 11421576 w 11750307"/>
              <a:gd name="connsiteY6" fmla="*/ 4364107 h 5835154"/>
              <a:gd name="connsiteX7" fmla="*/ 11750307 w 11750307"/>
              <a:gd name="connsiteY7" fmla="*/ 5025726 h 5835154"/>
              <a:gd name="connsiteX0" fmla="*/ 0 w 11674788"/>
              <a:gd name="connsiteY0" fmla="*/ 5562992 h 5562992"/>
              <a:gd name="connsiteX1" fmla="*/ 7010276 w 11674788"/>
              <a:gd name="connsiteY1" fmla="*/ 0 h 5562992"/>
              <a:gd name="connsiteX2" fmla="*/ 7264629 w 11674788"/>
              <a:gd name="connsiteY2" fmla="*/ 107571 h 5562992"/>
              <a:gd name="connsiteX3" fmla="*/ 8213775 w 11674788"/>
              <a:gd name="connsiteY3" fmla="*/ 673089 h 5562992"/>
              <a:gd name="connsiteX4" fmla="*/ 9724943 w 11674788"/>
              <a:gd name="connsiteY4" fmla="*/ 2050080 h 5562992"/>
              <a:gd name="connsiteX5" fmla="*/ 11346057 w 11674788"/>
              <a:gd name="connsiteY5" fmla="*/ 4364107 h 5562992"/>
              <a:gd name="connsiteX6" fmla="*/ 11674788 w 11674788"/>
              <a:gd name="connsiteY6" fmla="*/ 5025726 h 5562992"/>
              <a:gd name="connsiteX0" fmla="*/ 0 w 4664512"/>
              <a:gd name="connsiteY0" fmla="*/ 0 h 5025726"/>
              <a:gd name="connsiteX1" fmla="*/ 254353 w 4664512"/>
              <a:gd name="connsiteY1" fmla="*/ 107571 h 5025726"/>
              <a:gd name="connsiteX2" fmla="*/ 1203499 w 4664512"/>
              <a:gd name="connsiteY2" fmla="*/ 673089 h 5025726"/>
              <a:gd name="connsiteX3" fmla="*/ 2714667 w 4664512"/>
              <a:gd name="connsiteY3" fmla="*/ 2050080 h 5025726"/>
              <a:gd name="connsiteX4" fmla="*/ 4335781 w 4664512"/>
              <a:gd name="connsiteY4" fmla="*/ 4364107 h 5025726"/>
              <a:gd name="connsiteX5" fmla="*/ 4664512 w 4664512"/>
              <a:gd name="connsiteY5" fmla="*/ 5025726 h 502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4512" h="5025726">
                <a:moveTo>
                  <a:pt x="0" y="0"/>
                </a:moveTo>
                <a:lnTo>
                  <a:pt x="254353" y="107571"/>
                </a:lnTo>
                <a:cubicBezTo>
                  <a:pt x="607834" y="272053"/>
                  <a:pt x="935201" y="469140"/>
                  <a:pt x="1203499" y="673089"/>
                </a:cubicBezTo>
                <a:cubicBezTo>
                  <a:pt x="1918960" y="1216951"/>
                  <a:pt x="2192621" y="1434910"/>
                  <a:pt x="2714667" y="2050080"/>
                </a:cubicBezTo>
                <a:cubicBezTo>
                  <a:pt x="3236715" y="2665250"/>
                  <a:pt x="3870277" y="3449221"/>
                  <a:pt x="4335781" y="4364107"/>
                </a:cubicBezTo>
                <a:cubicBezTo>
                  <a:pt x="4458788" y="4603130"/>
                  <a:pt x="4567591" y="4822119"/>
                  <a:pt x="4664512" y="5025726"/>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dirty="0"/>
          </a:p>
        </p:txBody>
      </p:sp>
      <p:sp>
        <p:nvSpPr>
          <p:cNvPr id="15" name="Freihandform: Form 23">
            <a:extLst>
              <a:ext uri="{FF2B5EF4-FFF2-40B4-BE49-F238E27FC236}">
                <a16:creationId xmlns:a16="http://schemas.microsoft.com/office/drawing/2014/main" id="{427007E7-1C3F-DC11-F406-43BC39B702C4}"/>
              </a:ext>
            </a:extLst>
          </p:cNvPr>
          <p:cNvSpPr/>
          <p:nvPr/>
        </p:nvSpPr>
        <p:spPr bwMode="auto">
          <a:xfrm>
            <a:off x="1085684" y="-15667"/>
            <a:ext cx="2213971" cy="6873666"/>
          </a:xfrm>
          <a:custGeom>
            <a:avLst/>
            <a:gdLst>
              <a:gd name="connsiteX0" fmla="*/ 949764 w 3473617"/>
              <a:gd name="connsiteY0" fmla="*/ 0 h 6873666"/>
              <a:gd name="connsiteX1" fmla="*/ 3473617 w 3473617"/>
              <a:gd name="connsiteY1" fmla="*/ 0 h 6873666"/>
              <a:gd name="connsiteX2" fmla="*/ 3473617 w 3473617"/>
              <a:gd name="connsiteY2" fmla="*/ 6873666 h 6873666"/>
              <a:gd name="connsiteX3" fmla="*/ 2213971 w 3473617"/>
              <a:gd name="connsiteY3" fmla="*/ 6873666 h 6873666"/>
              <a:gd name="connsiteX4" fmla="*/ 1957654 w 3473617"/>
              <a:gd name="connsiteY4" fmla="*/ 6609514 h 6873666"/>
              <a:gd name="connsiteX5" fmla="*/ 503386 w 3473617"/>
              <a:gd name="connsiteY5" fmla="*/ 4588136 h 6873666"/>
              <a:gd name="connsiteX6" fmla="*/ 112983 w 3473617"/>
              <a:gd name="connsiteY6" fmla="*/ 1508390 h 6873666"/>
              <a:gd name="connsiteX7" fmla="*/ 813282 w 3473617"/>
              <a:gd name="connsiteY7" fmla="*/ 164308 h 6873666"/>
              <a:gd name="connsiteX0" fmla="*/ 3473617 w 3565057"/>
              <a:gd name="connsiteY0" fmla="*/ 0 h 6873666"/>
              <a:gd name="connsiteX1" fmla="*/ 3473617 w 3565057"/>
              <a:gd name="connsiteY1" fmla="*/ 6873666 h 6873666"/>
              <a:gd name="connsiteX2" fmla="*/ 2213971 w 3565057"/>
              <a:gd name="connsiteY2" fmla="*/ 6873666 h 6873666"/>
              <a:gd name="connsiteX3" fmla="*/ 1957654 w 3565057"/>
              <a:gd name="connsiteY3" fmla="*/ 6609514 h 6873666"/>
              <a:gd name="connsiteX4" fmla="*/ 503386 w 3565057"/>
              <a:gd name="connsiteY4" fmla="*/ 4588136 h 6873666"/>
              <a:gd name="connsiteX5" fmla="*/ 112983 w 3565057"/>
              <a:gd name="connsiteY5" fmla="*/ 1508390 h 6873666"/>
              <a:gd name="connsiteX6" fmla="*/ 813282 w 3565057"/>
              <a:gd name="connsiteY6" fmla="*/ 164308 h 6873666"/>
              <a:gd name="connsiteX7" fmla="*/ 949764 w 3565057"/>
              <a:gd name="connsiteY7" fmla="*/ 0 h 6873666"/>
              <a:gd name="connsiteX8" fmla="*/ 3565057 w 3565057"/>
              <a:gd name="connsiteY8" fmla="*/ 91440 h 6873666"/>
              <a:gd name="connsiteX0" fmla="*/ 3473617 w 3473617"/>
              <a:gd name="connsiteY0" fmla="*/ 0 h 6873666"/>
              <a:gd name="connsiteX1" fmla="*/ 3473617 w 3473617"/>
              <a:gd name="connsiteY1" fmla="*/ 6873666 h 6873666"/>
              <a:gd name="connsiteX2" fmla="*/ 2213971 w 3473617"/>
              <a:gd name="connsiteY2" fmla="*/ 6873666 h 6873666"/>
              <a:gd name="connsiteX3" fmla="*/ 1957654 w 3473617"/>
              <a:gd name="connsiteY3" fmla="*/ 6609514 h 6873666"/>
              <a:gd name="connsiteX4" fmla="*/ 503386 w 3473617"/>
              <a:gd name="connsiteY4" fmla="*/ 4588136 h 6873666"/>
              <a:gd name="connsiteX5" fmla="*/ 112983 w 3473617"/>
              <a:gd name="connsiteY5" fmla="*/ 1508390 h 6873666"/>
              <a:gd name="connsiteX6" fmla="*/ 813282 w 3473617"/>
              <a:gd name="connsiteY6" fmla="*/ 164308 h 6873666"/>
              <a:gd name="connsiteX7" fmla="*/ 949764 w 3473617"/>
              <a:gd name="connsiteY7" fmla="*/ 0 h 6873666"/>
              <a:gd name="connsiteX0" fmla="*/ 3473617 w 3473617"/>
              <a:gd name="connsiteY0" fmla="*/ 6873666 h 6873666"/>
              <a:gd name="connsiteX1" fmla="*/ 2213971 w 3473617"/>
              <a:gd name="connsiteY1" fmla="*/ 6873666 h 6873666"/>
              <a:gd name="connsiteX2" fmla="*/ 1957654 w 3473617"/>
              <a:gd name="connsiteY2" fmla="*/ 6609514 h 6873666"/>
              <a:gd name="connsiteX3" fmla="*/ 503386 w 3473617"/>
              <a:gd name="connsiteY3" fmla="*/ 4588136 h 6873666"/>
              <a:gd name="connsiteX4" fmla="*/ 112983 w 3473617"/>
              <a:gd name="connsiteY4" fmla="*/ 1508390 h 6873666"/>
              <a:gd name="connsiteX5" fmla="*/ 813282 w 3473617"/>
              <a:gd name="connsiteY5" fmla="*/ 164308 h 6873666"/>
              <a:gd name="connsiteX6" fmla="*/ 949764 w 3473617"/>
              <a:gd name="connsiteY6" fmla="*/ 0 h 6873666"/>
              <a:gd name="connsiteX0" fmla="*/ 2213971 w 2213971"/>
              <a:gd name="connsiteY0" fmla="*/ 6873666 h 6873666"/>
              <a:gd name="connsiteX1" fmla="*/ 1957654 w 2213971"/>
              <a:gd name="connsiteY1" fmla="*/ 6609514 h 6873666"/>
              <a:gd name="connsiteX2" fmla="*/ 503386 w 2213971"/>
              <a:gd name="connsiteY2" fmla="*/ 4588136 h 6873666"/>
              <a:gd name="connsiteX3" fmla="*/ 112983 w 2213971"/>
              <a:gd name="connsiteY3" fmla="*/ 1508390 h 6873666"/>
              <a:gd name="connsiteX4" fmla="*/ 813282 w 2213971"/>
              <a:gd name="connsiteY4" fmla="*/ 164308 h 6873666"/>
              <a:gd name="connsiteX5" fmla="*/ 949764 w 2213971"/>
              <a:gd name="connsiteY5" fmla="*/ 0 h 68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3971" h="6873666">
                <a:moveTo>
                  <a:pt x="2213971" y="6873666"/>
                </a:moveTo>
                <a:lnTo>
                  <a:pt x="1957654" y="6609514"/>
                </a:lnTo>
                <a:cubicBezTo>
                  <a:pt x="1346294" y="5950997"/>
                  <a:pt x="816263" y="5233367"/>
                  <a:pt x="503386" y="4588136"/>
                </a:cubicBezTo>
                <a:cubicBezTo>
                  <a:pt x="2785" y="3555767"/>
                  <a:pt x="-118458" y="2422247"/>
                  <a:pt x="112983" y="1508390"/>
                </a:cubicBezTo>
                <a:cubicBezTo>
                  <a:pt x="228704" y="1051462"/>
                  <a:pt x="489455" y="584154"/>
                  <a:pt x="813282" y="164308"/>
                </a:cubicBezTo>
                <a:lnTo>
                  <a:pt x="949764"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rtl="0"/>
            <a:endParaRPr lang="en-US" dirty="0">
              <a:solidFill>
                <a:schemeClr val="lt1"/>
              </a:solidFill>
              <a:latin typeface="+mn-lt"/>
            </a:endParaRPr>
          </a:p>
        </p:txBody>
      </p:sp>
      <p:sp>
        <p:nvSpPr>
          <p:cNvPr id="8" name="Oval 7">
            <a:extLst>
              <a:ext uri="{FF2B5EF4-FFF2-40B4-BE49-F238E27FC236}">
                <a16:creationId xmlns:a16="http://schemas.microsoft.com/office/drawing/2014/main" id="{0A1EB080-707B-967D-C36B-DA79401017BC}"/>
              </a:ext>
            </a:extLst>
          </p:cNvPr>
          <p:cNvSpPr/>
          <p:nvPr/>
        </p:nvSpPr>
        <p:spPr bwMode="auto">
          <a:xfrm>
            <a:off x="2939195" y="1511089"/>
            <a:ext cx="3085368" cy="3168188"/>
          </a:xfrm>
          <a:prstGeom prst="ellipse">
            <a:avLst/>
          </a:prstGeom>
          <a:solidFill>
            <a:schemeClr val="accent2"/>
          </a:solidFill>
          <a:ln w="6350" cap="flat" cmpd="sng" algn="ctr">
            <a:noFill/>
            <a:prstDash val="solid"/>
            <a:round/>
            <a:headEnd type="none" w="med" len="med"/>
            <a:tailEnd type="none" w="med" len="med"/>
          </a:ln>
          <a:effectLst/>
        </p:spPr>
        <p:txBody>
          <a:bodyPr vert="horz" wrap="none" lIns="108000" tIns="108000" rIns="108000" bIns="108000" numCol="1" rtlCol="0" anchor="ctr" anchorCtr="0" compatLnSpc="1">
            <a:prstTxWarp prst="textNoShape">
              <a:avLst/>
            </a:prstTxWarp>
          </a:bodyPr>
          <a:lstStyle/>
          <a:p>
            <a:pPr marL="270000" marR="0" indent="-270000" algn="ctr" defTabSz="914400" rtl="0" eaLnBrk="1" fontAlgn="base" latinLnBrk="0" hangingPunct="1">
              <a:lnSpc>
                <a:spcPct val="100000"/>
              </a:lnSpc>
              <a:spcBef>
                <a:spcPct val="0"/>
              </a:spcBef>
              <a:spcAft>
                <a:spcPct val="0"/>
              </a:spcAft>
              <a:buClr>
                <a:schemeClr val="accent2"/>
              </a:buClr>
              <a:buSzPct val="150000"/>
              <a:buFont typeface="Arial" panose="020B0604020202020204" pitchFamily="34" charset="0"/>
              <a:buChar char="›"/>
              <a:tabLst/>
            </a:pPr>
            <a:endParaRPr kumimoji="0" lang="en-US" sz="2000" b="0" i="0" u="none" strike="noStrike" cap="none" normalizeH="0" baseline="0" dirty="0">
              <a:ln>
                <a:noFill/>
              </a:ln>
              <a:solidFill>
                <a:schemeClr val="tx1"/>
              </a:solidFill>
              <a:effectLst/>
              <a:latin typeface="Arial" charset="0"/>
            </a:endParaRPr>
          </a:p>
        </p:txBody>
      </p:sp>
      <p:sp>
        <p:nvSpPr>
          <p:cNvPr id="6" name="TextBox 5">
            <a:extLst>
              <a:ext uri="{FF2B5EF4-FFF2-40B4-BE49-F238E27FC236}">
                <a16:creationId xmlns:a16="http://schemas.microsoft.com/office/drawing/2014/main" id="{61797234-D916-3E4B-4EC7-5F2956F24F14}"/>
              </a:ext>
            </a:extLst>
          </p:cNvPr>
          <p:cNvSpPr txBox="1"/>
          <p:nvPr/>
        </p:nvSpPr>
        <p:spPr>
          <a:xfrm>
            <a:off x="6578559" y="1882318"/>
            <a:ext cx="3654696" cy="954107"/>
          </a:xfrm>
          <a:prstGeom prst="rect">
            <a:avLst/>
          </a:prstGeom>
          <a:noFill/>
        </p:spPr>
        <p:txBody>
          <a:bodyPr wrap="square">
            <a:spAutoFit/>
          </a:bodyPr>
          <a:lstStyle/>
          <a:p>
            <a:pPr algn="l"/>
            <a:r>
              <a:rPr lang="en-US" sz="2800" dirty="0">
                <a:solidFill>
                  <a:schemeClr val="accent1"/>
                </a:solidFill>
              </a:rPr>
              <a:t>Chat with me at the BYK Booth!</a:t>
            </a:r>
          </a:p>
        </p:txBody>
      </p:sp>
      <p:pic>
        <p:nvPicPr>
          <p:cNvPr id="18" name="Grafik 6">
            <a:extLst>
              <a:ext uri="{FF2B5EF4-FFF2-40B4-BE49-F238E27FC236}">
                <a16:creationId xmlns:a16="http://schemas.microsoft.com/office/drawing/2014/main" id="{BECD9B74-7446-6775-AFD6-83B1F44D339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90324" y="6477145"/>
            <a:ext cx="696770" cy="187200"/>
          </a:xfrm>
          <a:prstGeom prst="rect">
            <a:avLst/>
          </a:prstGeom>
        </p:spPr>
      </p:pic>
      <p:pic>
        <p:nvPicPr>
          <p:cNvPr id="2" name="Picture Placeholder 15">
            <a:extLst>
              <a:ext uri="{FF2B5EF4-FFF2-40B4-BE49-F238E27FC236}">
                <a16:creationId xmlns:a16="http://schemas.microsoft.com/office/drawing/2014/main" id="{8E6A616D-C4D4-0C97-C367-340E5B11D846}"/>
              </a:ext>
            </a:extLst>
          </p:cNvPr>
          <p:cNvPicPr>
            <a:picLocks noChangeAspect="1"/>
          </p:cNvPicPr>
          <p:nvPr/>
        </p:nvPicPr>
        <p:blipFill>
          <a:blip r:embed="rId3"/>
          <a:srcRect l="10753" r="10753"/>
          <a:stretch/>
        </p:blipFill>
        <p:spPr bwMode="gray">
          <a:xfrm>
            <a:off x="931515" y="1393179"/>
            <a:ext cx="4602831" cy="4544568"/>
          </a:xfrm>
          <a:custGeom>
            <a:avLst/>
            <a:gdLst>
              <a:gd name="connsiteX0" fmla="*/ 434982 w 911634"/>
              <a:gd name="connsiteY0" fmla="*/ 404 h 900000"/>
              <a:gd name="connsiteX1" fmla="*/ 508078 w 911634"/>
              <a:gd name="connsiteY1" fmla="*/ 6013 h 900000"/>
              <a:gd name="connsiteX2" fmla="*/ 769769 w 911634"/>
              <a:gd name="connsiteY2" fmla="*/ 92111 h 900000"/>
              <a:gd name="connsiteX3" fmla="*/ 902195 w 911634"/>
              <a:gd name="connsiteY3" fmla="*/ 255558 h 900000"/>
              <a:gd name="connsiteX4" fmla="*/ 885525 w 911634"/>
              <a:gd name="connsiteY4" fmla="*/ 457493 h 900000"/>
              <a:gd name="connsiteX5" fmla="*/ 821138 w 911634"/>
              <a:gd name="connsiteY5" fmla="*/ 582026 h 900000"/>
              <a:gd name="connsiteX6" fmla="*/ 696638 w 911634"/>
              <a:gd name="connsiteY6" fmla="*/ 730469 h 900000"/>
              <a:gd name="connsiteX7" fmla="*/ 529503 w 911634"/>
              <a:gd name="connsiteY7" fmla="*/ 853940 h 900000"/>
              <a:gd name="connsiteX8" fmla="*/ 383912 w 911634"/>
              <a:gd name="connsiteY8" fmla="*/ 899608 h 900000"/>
              <a:gd name="connsiteX9" fmla="*/ 262656 w 911634"/>
              <a:gd name="connsiteY9" fmla="*/ 863176 h 900000"/>
              <a:gd name="connsiteX10" fmla="*/ 141370 w 911634"/>
              <a:gd name="connsiteY10" fmla="*/ 739671 h 900000"/>
              <a:gd name="connsiteX11" fmla="*/ 31455 w 911634"/>
              <a:gd name="connsiteY11" fmla="*/ 506384 h 900000"/>
              <a:gd name="connsiteX12" fmla="*/ 1176 w 911634"/>
              <a:gd name="connsiteY12" fmla="*/ 273382 h 900000"/>
              <a:gd name="connsiteX13" fmla="*/ 53799 w 911634"/>
              <a:gd name="connsiteY13" fmla="*/ 118381 h 900000"/>
              <a:gd name="connsiteX14" fmla="*/ 219666 w 911634"/>
              <a:gd name="connsiteY14" fmla="*/ 19597 h 900000"/>
              <a:gd name="connsiteX15" fmla="*/ 434982 w 911634"/>
              <a:gd name="connsiteY15" fmla="*/ 404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1634" h="900000">
                <a:moveTo>
                  <a:pt x="434982" y="404"/>
                </a:moveTo>
                <a:cubicBezTo>
                  <a:pt x="460402" y="1160"/>
                  <a:pt x="485157" y="2992"/>
                  <a:pt x="508078" y="6013"/>
                </a:cubicBezTo>
                <a:cubicBezTo>
                  <a:pt x="599761" y="18099"/>
                  <a:pt x="704083" y="50520"/>
                  <a:pt x="769769" y="92111"/>
                </a:cubicBezTo>
                <a:cubicBezTo>
                  <a:pt x="835456" y="133702"/>
                  <a:pt x="882903" y="194660"/>
                  <a:pt x="902195" y="255558"/>
                </a:cubicBezTo>
                <a:cubicBezTo>
                  <a:pt x="921488" y="316455"/>
                  <a:pt x="908849" y="400452"/>
                  <a:pt x="885525" y="457493"/>
                </a:cubicBezTo>
                <a:cubicBezTo>
                  <a:pt x="862199" y="514535"/>
                  <a:pt x="852619" y="536529"/>
                  <a:pt x="821138" y="582026"/>
                </a:cubicBezTo>
                <a:cubicBezTo>
                  <a:pt x="789657" y="627522"/>
                  <a:pt x="748974" y="683400"/>
                  <a:pt x="696638" y="730469"/>
                </a:cubicBezTo>
                <a:cubicBezTo>
                  <a:pt x="623845" y="796548"/>
                  <a:pt x="581624" y="825750"/>
                  <a:pt x="529503" y="853940"/>
                </a:cubicBezTo>
                <a:cubicBezTo>
                  <a:pt x="477382" y="882129"/>
                  <a:pt x="422026" y="896766"/>
                  <a:pt x="383912" y="899608"/>
                </a:cubicBezTo>
                <a:cubicBezTo>
                  <a:pt x="345799" y="902448"/>
                  <a:pt x="303080" y="889832"/>
                  <a:pt x="262656" y="863176"/>
                </a:cubicBezTo>
                <a:cubicBezTo>
                  <a:pt x="222232" y="836520"/>
                  <a:pt x="183083" y="799787"/>
                  <a:pt x="141370" y="739671"/>
                </a:cubicBezTo>
                <a:cubicBezTo>
                  <a:pt x="99656" y="679555"/>
                  <a:pt x="57552" y="599900"/>
                  <a:pt x="31455" y="506384"/>
                </a:cubicBezTo>
                <a:cubicBezTo>
                  <a:pt x="5359" y="412869"/>
                  <a:pt x="-3449" y="325817"/>
                  <a:pt x="1176" y="273382"/>
                </a:cubicBezTo>
                <a:cubicBezTo>
                  <a:pt x="5802" y="220947"/>
                  <a:pt x="21709" y="161303"/>
                  <a:pt x="53799" y="118381"/>
                </a:cubicBezTo>
                <a:cubicBezTo>
                  <a:pt x="85889" y="75461"/>
                  <a:pt x="143953" y="38325"/>
                  <a:pt x="219666" y="19597"/>
                </a:cubicBezTo>
                <a:cubicBezTo>
                  <a:pt x="276452" y="5550"/>
                  <a:pt x="358718" y="-1865"/>
                  <a:pt x="434982" y="404"/>
                </a:cubicBezTo>
                <a:close/>
              </a:path>
            </a:pathLst>
          </a:cu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2">
            <a:extLst>
              <a:ext uri="{FF2B5EF4-FFF2-40B4-BE49-F238E27FC236}">
                <a16:creationId xmlns:a16="http://schemas.microsoft.com/office/drawing/2014/main" id="{A3690EB0-4B27-E9FB-2A69-B6FCAEDDFF9C}"/>
              </a:ext>
            </a:extLst>
          </p:cNvPr>
          <p:cNvSpPr txBox="1">
            <a:spLocks/>
          </p:cNvSpPr>
          <p:nvPr/>
        </p:nvSpPr>
        <p:spPr bwMode="gray">
          <a:xfrm>
            <a:off x="6704765" y="3365188"/>
            <a:ext cx="4155582" cy="656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25200" rIns="0" bIns="0" numCol="1" anchor="ctr" anchorCtr="0" compatLnSpc="1">
            <a:prstTxWarp prst="textNoShape">
              <a:avLst/>
            </a:prstTxWarp>
            <a:spAutoFit/>
          </a:bodyPr>
          <a:lstStyle>
            <a:lvl1pPr marL="0" indent="0" algn="l" rtl="0" eaLnBrk="1" fontAlgn="base" hangingPunct="1">
              <a:lnSpc>
                <a:spcPct val="90000"/>
              </a:lnSpc>
              <a:spcBef>
                <a:spcPts val="600"/>
              </a:spcBef>
              <a:spcAft>
                <a:spcPct val="0"/>
              </a:spcAft>
              <a:buFont typeface="Arial" panose="020B0604020202020204" pitchFamily="34" charset="0"/>
              <a:buNone/>
              <a:tabLst>
                <a:tab pos="266700" algn="l"/>
              </a:tabLst>
              <a:defRPr sz="2000" b="1">
                <a:solidFill>
                  <a:schemeClr val="tx1"/>
                </a:solidFill>
                <a:latin typeface="+mn-lt"/>
                <a:ea typeface="+mn-ea"/>
                <a:cs typeface="+mn-cs"/>
              </a:defRPr>
            </a:lvl1pPr>
            <a:lvl2pPr marL="0" indent="0" algn="l" rtl="0" eaLnBrk="1" fontAlgn="base" hangingPunct="1">
              <a:lnSpc>
                <a:spcPct val="90000"/>
              </a:lnSpc>
              <a:spcBef>
                <a:spcPts val="600"/>
              </a:spcBef>
              <a:spcAft>
                <a:spcPct val="0"/>
              </a:spcAft>
              <a:buClr>
                <a:schemeClr val="accent2"/>
              </a:buClr>
              <a:buSzPct val="150000"/>
              <a:buFont typeface="Arial" panose="020B0604020202020204" pitchFamily="34" charset="0"/>
              <a:buNone/>
              <a:tabLst/>
              <a:defRPr sz="1400">
                <a:solidFill>
                  <a:schemeClr val="tx1"/>
                </a:solidFill>
                <a:latin typeface="+mn-lt"/>
              </a:defRPr>
            </a:lvl2pPr>
            <a:lvl3pPr marL="0" indent="0" algn="l" rtl="0" eaLnBrk="1" fontAlgn="base" hangingPunct="1">
              <a:lnSpc>
                <a:spcPct val="90000"/>
              </a:lnSpc>
              <a:spcBef>
                <a:spcPts val="600"/>
              </a:spcBef>
              <a:spcAft>
                <a:spcPct val="0"/>
              </a:spcAft>
              <a:buClr>
                <a:schemeClr val="accent2"/>
              </a:buClr>
              <a:buSzPct val="150000"/>
              <a:buFont typeface="Arial" panose="020B0604020202020204" pitchFamily="34" charset="0"/>
              <a:buNone/>
              <a:tabLst/>
              <a:defRPr sz="2000">
                <a:solidFill>
                  <a:schemeClr val="tx1"/>
                </a:solidFill>
                <a:latin typeface="+mn-lt"/>
              </a:defRPr>
            </a:lvl3pPr>
            <a:lvl4pPr marL="0" indent="0" algn="l" rtl="0" eaLnBrk="1" fontAlgn="base" hangingPunct="1">
              <a:lnSpc>
                <a:spcPct val="90000"/>
              </a:lnSpc>
              <a:spcBef>
                <a:spcPts val="600"/>
              </a:spcBef>
              <a:spcAft>
                <a:spcPct val="0"/>
              </a:spcAft>
              <a:buClr>
                <a:schemeClr val="accent2"/>
              </a:buClr>
              <a:buSzPct val="150000"/>
              <a:buFont typeface="Arial" panose="020B0604020202020204" pitchFamily="34" charset="0"/>
              <a:buNone/>
              <a:tabLst/>
              <a:defRPr sz="2000">
                <a:solidFill>
                  <a:schemeClr val="tx1"/>
                </a:solidFill>
                <a:latin typeface="+mn-lt"/>
              </a:defRPr>
            </a:lvl4pPr>
            <a:lvl5pPr marL="0" indent="0" algn="l" rtl="0" eaLnBrk="1" fontAlgn="base" hangingPunct="1">
              <a:lnSpc>
                <a:spcPct val="90000"/>
              </a:lnSpc>
              <a:spcBef>
                <a:spcPts val="600"/>
              </a:spcBef>
              <a:spcAft>
                <a:spcPct val="0"/>
              </a:spcAft>
              <a:buClr>
                <a:schemeClr val="accent2"/>
              </a:buClr>
              <a:buSzPct val="150000"/>
              <a:buFont typeface="Arial" panose="020B0604020202020204" pitchFamily="34" charset="0"/>
              <a:buNone/>
              <a:tabLst/>
              <a:defRPr sz="2000">
                <a:solidFill>
                  <a:schemeClr val="tx1"/>
                </a:solidFill>
                <a:latin typeface="+mn-lt"/>
              </a:defRPr>
            </a:lvl5pPr>
            <a:lvl6pPr marL="1080000" indent="-270000" algn="l" rtl="0" eaLnBrk="1" fontAlgn="base" hangingPunct="1">
              <a:lnSpc>
                <a:spcPct val="90000"/>
              </a:lnSpc>
              <a:spcBef>
                <a:spcPts val="600"/>
              </a:spcBef>
              <a:spcAft>
                <a:spcPct val="0"/>
              </a:spcAft>
              <a:buClr>
                <a:schemeClr val="accent2"/>
              </a:buClr>
              <a:buSzPct val="150000"/>
              <a:buFont typeface="Arial" panose="020B0604020202020204" pitchFamily="34" charset="0"/>
              <a:buChar char="›"/>
              <a:tabLst>
                <a:tab pos="271463" algn="l"/>
              </a:tabLst>
              <a:defRPr sz="2400">
                <a:solidFill>
                  <a:schemeClr val="tx1"/>
                </a:solidFill>
                <a:latin typeface="+mn-lt"/>
              </a:defRPr>
            </a:lvl6pPr>
            <a:lvl7pPr marL="1080000" indent="-270000" algn="l" rtl="0" eaLnBrk="1" fontAlgn="base" hangingPunct="1">
              <a:lnSpc>
                <a:spcPct val="90000"/>
              </a:lnSpc>
              <a:spcBef>
                <a:spcPts val="600"/>
              </a:spcBef>
              <a:spcAft>
                <a:spcPct val="0"/>
              </a:spcAft>
              <a:buClr>
                <a:schemeClr val="accent2"/>
              </a:buClr>
              <a:buSzPct val="150000"/>
              <a:buFont typeface="Arial" panose="020B0604020202020204" pitchFamily="34" charset="0"/>
              <a:buChar char="›"/>
              <a:tabLst>
                <a:tab pos="271463" algn="l"/>
              </a:tabLst>
              <a:defRPr sz="2400">
                <a:solidFill>
                  <a:schemeClr val="tx1"/>
                </a:solidFill>
                <a:latin typeface="+mn-lt"/>
              </a:defRPr>
            </a:lvl7pPr>
            <a:lvl8pPr marL="1080000" indent="-270000" algn="l" rtl="0" eaLnBrk="1" fontAlgn="base" hangingPunct="1">
              <a:lnSpc>
                <a:spcPct val="90000"/>
              </a:lnSpc>
              <a:spcBef>
                <a:spcPts val="600"/>
              </a:spcBef>
              <a:spcAft>
                <a:spcPct val="0"/>
              </a:spcAft>
              <a:buClr>
                <a:schemeClr val="accent2"/>
              </a:buClr>
              <a:buSzPct val="150000"/>
              <a:buFont typeface="Arial" panose="020B0604020202020204" pitchFamily="34" charset="0"/>
              <a:buChar char="›"/>
              <a:tabLst>
                <a:tab pos="271463" algn="l"/>
              </a:tabLst>
              <a:defRPr sz="2400">
                <a:solidFill>
                  <a:schemeClr val="tx1"/>
                </a:solidFill>
                <a:latin typeface="+mn-lt"/>
              </a:defRPr>
            </a:lvl8pPr>
            <a:lvl9pPr marL="1080000" indent="-270000" algn="l" rtl="0" eaLnBrk="1" fontAlgn="base" hangingPunct="1">
              <a:lnSpc>
                <a:spcPct val="90000"/>
              </a:lnSpc>
              <a:spcBef>
                <a:spcPts val="600"/>
              </a:spcBef>
              <a:spcAft>
                <a:spcPct val="0"/>
              </a:spcAft>
              <a:buClr>
                <a:schemeClr val="accent2"/>
              </a:buClr>
              <a:buSzPct val="150000"/>
              <a:buFont typeface="Arial" panose="020B0604020202020204" pitchFamily="34" charset="0"/>
              <a:buChar char="›"/>
              <a:tabLst>
                <a:tab pos="271463" algn="l"/>
              </a:tabLst>
              <a:defRPr sz="2400">
                <a:solidFill>
                  <a:schemeClr val="tx1"/>
                </a:solidFill>
                <a:latin typeface="+mn-lt"/>
              </a:defRPr>
            </a:lvl9pPr>
          </a:lstStyle>
          <a:p>
            <a:r>
              <a:rPr lang="en-US" kern="0" dirty="0">
                <a:solidFill>
                  <a:schemeClr val="accent1"/>
                </a:solidFill>
              </a:rPr>
              <a:t>Derick Forcha</a:t>
            </a:r>
          </a:p>
          <a:p>
            <a:r>
              <a:rPr lang="en-US" kern="0" dirty="0">
                <a:solidFill>
                  <a:schemeClr val="accent1"/>
                </a:solidFill>
              </a:rPr>
              <a:t>Derick.Forcha@altana.com</a:t>
            </a:r>
          </a:p>
        </p:txBody>
      </p:sp>
    </p:spTree>
    <p:extLst>
      <p:ext uri="{BB962C8B-B14F-4D97-AF65-F5344CB8AC3E}">
        <p14:creationId xmlns:p14="http://schemas.microsoft.com/office/powerpoint/2010/main" val="19926938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CDBF5C-A4BC-49DA-8865-53F4B42B7151}"/>
            </a:ext>
          </a:extLst>
        </p:cNvPr>
        <p:cNvGrpSpPr/>
        <p:nvPr/>
      </p:nvGrpSpPr>
      <p:grpSpPr>
        <a:xfrm>
          <a:off x="0" y="0"/>
          <a:ext cx="0" cy="0"/>
          <a:chOff x="0" y="0"/>
          <a:chExt cx="0" cy="0"/>
        </a:xfrm>
      </p:grpSpPr>
      <p:sp>
        <p:nvSpPr>
          <p:cNvPr id="8" name="Oval 7">
            <a:extLst>
              <a:ext uri="{FF2B5EF4-FFF2-40B4-BE49-F238E27FC236}">
                <a16:creationId xmlns:a16="http://schemas.microsoft.com/office/drawing/2014/main" id="{1D1F5A7D-A860-2D52-AA5B-9D1EF32927DA}"/>
              </a:ext>
            </a:extLst>
          </p:cNvPr>
          <p:cNvSpPr/>
          <p:nvPr/>
        </p:nvSpPr>
        <p:spPr bwMode="auto">
          <a:xfrm>
            <a:off x="2164846" y="4267130"/>
            <a:ext cx="2078885" cy="2078885"/>
          </a:xfrm>
          <a:prstGeom prst="ellipse">
            <a:avLst/>
          </a:prstGeom>
          <a:solidFill>
            <a:schemeClr val="accent2"/>
          </a:solidFill>
          <a:ln w="6350" cap="flat" cmpd="sng" algn="ctr">
            <a:noFill/>
            <a:prstDash val="solid"/>
            <a:round/>
            <a:headEnd type="none" w="med" len="med"/>
            <a:tailEnd type="none" w="med" len="med"/>
          </a:ln>
          <a:effectLst/>
        </p:spPr>
        <p:txBody>
          <a:bodyPr vert="horz" wrap="none" lIns="108000" tIns="108000" rIns="108000" bIns="108000" numCol="1" rtlCol="0" anchor="ctr" anchorCtr="0" compatLnSpc="1">
            <a:prstTxWarp prst="textNoShape">
              <a:avLst/>
            </a:prstTxWarp>
          </a:bodyPr>
          <a:lstStyle/>
          <a:p>
            <a:pPr marL="270000" marR="0" indent="-270000" algn="ctr" defTabSz="914400" rtl="0" eaLnBrk="1" fontAlgn="base" latinLnBrk="0" hangingPunct="1">
              <a:lnSpc>
                <a:spcPct val="100000"/>
              </a:lnSpc>
              <a:spcBef>
                <a:spcPct val="0"/>
              </a:spcBef>
              <a:spcAft>
                <a:spcPct val="0"/>
              </a:spcAft>
              <a:buClr>
                <a:schemeClr val="accent2"/>
              </a:buClr>
              <a:buSzPct val="150000"/>
              <a:buFont typeface="Arial" panose="020B0604020202020204" pitchFamily="34" charset="0"/>
              <a:buChar char="›"/>
              <a:tabLst/>
            </a:pPr>
            <a:endParaRPr kumimoji="0" lang="en-US" sz="2000" b="0" i="0" u="none" strike="noStrike" cap="none" normalizeH="0" baseline="0" dirty="0">
              <a:ln>
                <a:noFill/>
              </a:ln>
              <a:solidFill>
                <a:schemeClr val="tx1"/>
              </a:solidFill>
              <a:effectLst/>
              <a:latin typeface="Arial" charset="0"/>
            </a:endParaRPr>
          </a:p>
        </p:txBody>
      </p:sp>
      <p:sp>
        <p:nvSpPr>
          <p:cNvPr id="7" name="Oval 6">
            <a:extLst>
              <a:ext uri="{FF2B5EF4-FFF2-40B4-BE49-F238E27FC236}">
                <a16:creationId xmlns:a16="http://schemas.microsoft.com/office/drawing/2014/main" id="{8527237B-466C-84A1-FA29-DBFBF3EA2807}"/>
              </a:ext>
            </a:extLst>
          </p:cNvPr>
          <p:cNvSpPr/>
          <p:nvPr/>
        </p:nvSpPr>
        <p:spPr bwMode="auto">
          <a:xfrm>
            <a:off x="1766080" y="874021"/>
            <a:ext cx="2078885" cy="2078885"/>
          </a:xfrm>
          <a:prstGeom prst="ellipse">
            <a:avLst/>
          </a:prstGeom>
          <a:solidFill>
            <a:schemeClr val="accent2"/>
          </a:solidFill>
          <a:ln w="6350" cap="flat" cmpd="sng" algn="ctr">
            <a:noFill/>
            <a:prstDash val="solid"/>
            <a:round/>
            <a:headEnd type="none" w="med" len="med"/>
            <a:tailEnd type="none" w="med" len="med"/>
          </a:ln>
          <a:effectLst/>
        </p:spPr>
        <p:txBody>
          <a:bodyPr vert="horz" wrap="none" lIns="108000" tIns="108000" rIns="108000" bIns="108000" numCol="1" rtlCol="0" anchor="ctr" anchorCtr="0" compatLnSpc="1">
            <a:prstTxWarp prst="textNoShape">
              <a:avLst/>
            </a:prstTxWarp>
          </a:bodyPr>
          <a:lstStyle/>
          <a:p>
            <a:pPr marL="270000" marR="0" indent="-270000" algn="ctr" defTabSz="914400" rtl="0" eaLnBrk="1" fontAlgn="base" latinLnBrk="0" hangingPunct="1">
              <a:lnSpc>
                <a:spcPct val="100000"/>
              </a:lnSpc>
              <a:spcBef>
                <a:spcPct val="0"/>
              </a:spcBef>
              <a:spcAft>
                <a:spcPct val="0"/>
              </a:spcAft>
              <a:buClr>
                <a:schemeClr val="accent2"/>
              </a:buClr>
              <a:buSzPct val="150000"/>
              <a:buFont typeface="Arial" panose="020B0604020202020204" pitchFamily="34" charset="0"/>
              <a:buChar char="›"/>
              <a:tabLst/>
            </a:pPr>
            <a:endParaRPr kumimoji="0" lang="en-US" sz="2000" b="0" i="0" u="none" strike="noStrike" cap="none" normalizeH="0" baseline="0" dirty="0">
              <a:ln>
                <a:noFill/>
              </a:ln>
              <a:solidFill>
                <a:schemeClr val="tx1"/>
              </a:solidFill>
              <a:effectLst/>
              <a:latin typeface="Arial" charset="0"/>
            </a:endParaRPr>
          </a:p>
        </p:txBody>
      </p:sp>
      <p:sp>
        <p:nvSpPr>
          <p:cNvPr id="3" name="Text Placeholder 2">
            <a:extLst>
              <a:ext uri="{FF2B5EF4-FFF2-40B4-BE49-F238E27FC236}">
                <a16:creationId xmlns:a16="http://schemas.microsoft.com/office/drawing/2014/main" id="{9E44AB0F-6EEA-2B2D-24FB-83BE8B18F879}"/>
              </a:ext>
            </a:extLst>
          </p:cNvPr>
          <p:cNvSpPr>
            <a:spLocks noGrp="1"/>
          </p:cNvSpPr>
          <p:nvPr>
            <p:ph type="body" sz="quarter" idx="19"/>
          </p:nvPr>
        </p:nvSpPr>
        <p:spPr>
          <a:xfrm>
            <a:off x="5743231" y="5652337"/>
            <a:ext cx="4155582" cy="656388"/>
          </a:xfrm>
        </p:spPr>
        <p:txBody>
          <a:bodyPr/>
          <a:lstStyle/>
          <a:p>
            <a:r>
              <a:rPr lang="en-US" dirty="0">
                <a:solidFill>
                  <a:schemeClr val="accent1"/>
                </a:solidFill>
              </a:rPr>
              <a:t>Derick Forcha</a:t>
            </a:r>
          </a:p>
          <a:p>
            <a:r>
              <a:rPr lang="en-US" dirty="0">
                <a:solidFill>
                  <a:schemeClr val="accent1"/>
                </a:solidFill>
              </a:rPr>
              <a:t>Derick.Forcha@altana.com</a:t>
            </a:r>
          </a:p>
        </p:txBody>
      </p:sp>
      <p:pic>
        <p:nvPicPr>
          <p:cNvPr id="16" name="Picture Placeholder 15">
            <a:extLst>
              <a:ext uri="{FF2B5EF4-FFF2-40B4-BE49-F238E27FC236}">
                <a16:creationId xmlns:a16="http://schemas.microsoft.com/office/drawing/2014/main" id="{00558818-47D1-F031-2A9D-B4F59F69A2A8}"/>
              </a:ext>
            </a:extLst>
          </p:cNvPr>
          <p:cNvPicPr>
            <a:picLocks noGrp="1" noChangeAspect="1"/>
          </p:cNvPicPr>
          <p:nvPr>
            <p:ph type="pic" sz="quarter" idx="24"/>
          </p:nvPr>
        </p:nvPicPr>
        <p:blipFill>
          <a:blip r:embed="rId2"/>
          <a:srcRect l="10753" r="10753"/>
          <a:stretch/>
        </p:blipFill>
        <p:spPr>
          <a:xfrm>
            <a:off x="2458883" y="3464257"/>
            <a:ext cx="3206231" cy="3165646"/>
          </a:xfrm>
        </p:spPr>
      </p:pic>
      <p:sp>
        <p:nvSpPr>
          <p:cNvPr id="4" name="Text Placeholder 3">
            <a:extLst>
              <a:ext uri="{FF2B5EF4-FFF2-40B4-BE49-F238E27FC236}">
                <a16:creationId xmlns:a16="http://schemas.microsoft.com/office/drawing/2014/main" id="{65E7F746-2B20-ADF4-7096-E1D57AA3FF59}"/>
              </a:ext>
            </a:extLst>
          </p:cNvPr>
          <p:cNvSpPr>
            <a:spLocks noGrp="1"/>
          </p:cNvSpPr>
          <p:nvPr>
            <p:ph type="body" sz="quarter" idx="18"/>
          </p:nvPr>
        </p:nvSpPr>
        <p:spPr>
          <a:xfrm>
            <a:off x="4062000" y="1908564"/>
            <a:ext cx="4068000" cy="656388"/>
          </a:xfrm>
        </p:spPr>
        <p:txBody>
          <a:bodyPr/>
          <a:lstStyle/>
          <a:p>
            <a:r>
              <a:rPr lang="en-US" dirty="0">
                <a:solidFill>
                  <a:schemeClr val="accent1"/>
                </a:solidFill>
              </a:rPr>
              <a:t>Smriti Arora</a:t>
            </a:r>
          </a:p>
          <a:p>
            <a:r>
              <a:rPr lang="en-US" dirty="0">
                <a:solidFill>
                  <a:schemeClr val="accent1"/>
                </a:solidFill>
              </a:rPr>
              <a:t>Smriti.Arora@altana.com</a:t>
            </a:r>
          </a:p>
        </p:txBody>
      </p:sp>
      <p:sp>
        <p:nvSpPr>
          <p:cNvPr id="11" name="TextBox 10">
            <a:extLst>
              <a:ext uri="{FF2B5EF4-FFF2-40B4-BE49-F238E27FC236}">
                <a16:creationId xmlns:a16="http://schemas.microsoft.com/office/drawing/2014/main" id="{0E9400C3-D075-6B62-A83A-6AAD70A18C8D}"/>
              </a:ext>
            </a:extLst>
          </p:cNvPr>
          <p:cNvSpPr txBox="1"/>
          <p:nvPr/>
        </p:nvSpPr>
        <p:spPr>
          <a:xfrm>
            <a:off x="4061999" y="1301635"/>
            <a:ext cx="4285037" cy="856034"/>
          </a:xfrm>
          <a:prstGeom prst="rect">
            <a:avLst/>
          </a:prstGeom>
          <a:noFill/>
        </p:spPr>
        <p:txBody>
          <a:bodyPr wrap="square" lIns="0" tIns="0" rIns="0" bIns="0" rtlCol="0">
            <a:noAutofit/>
          </a:bodyPr>
          <a:lstStyle/>
          <a:p>
            <a:pPr algn="l">
              <a:buClr>
                <a:schemeClr val="accent2"/>
              </a:buClr>
              <a:buSzPct val="150000"/>
            </a:pPr>
            <a:r>
              <a:rPr lang="en-US" sz="2400" dirty="0">
                <a:solidFill>
                  <a:schemeClr val="accent1"/>
                </a:solidFill>
              </a:rPr>
              <a:t>Chat with us at the BYK booth! </a:t>
            </a:r>
          </a:p>
        </p:txBody>
      </p:sp>
      <p:sp>
        <p:nvSpPr>
          <p:cNvPr id="12" name="TextBox 11">
            <a:extLst>
              <a:ext uri="{FF2B5EF4-FFF2-40B4-BE49-F238E27FC236}">
                <a16:creationId xmlns:a16="http://schemas.microsoft.com/office/drawing/2014/main" id="{404C5A04-BECB-4834-38DC-8D14BA5E87FD}"/>
              </a:ext>
            </a:extLst>
          </p:cNvPr>
          <p:cNvSpPr txBox="1"/>
          <p:nvPr/>
        </p:nvSpPr>
        <p:spPr>
          <a:xfrm>
            <a:off x="5743231" y="3886283"/>
            <a:ext cx="5672629" cy="1044046"/>
          </a:xfrm>
          <a:prstGeom prst="rect">
            <a:avLst/>
          </a:prstGeom>
          <a:noFill/>
        </p:spPr>
        <p:txBody>
          <a:bodyPr wrap="square" lIns="0" tIns="0" rIns="0" bIns="0" rtlCol="0">
            <a:noAutofit/>
          </a:bodyPr>
          <a:lstStyle/>
          <a:p>
            <a:pPr algn="l">
              <a:buClr>
                <a:schemeClr val="accent2"/>
              </a:buClr>
              <a:buSzPct val="150000"/>
            </a:pPr>
            <a:r>
              <a:rPr lang="en-US" sz="2400" b="1" dirty="0">
                <a:solidFill>
                  <a:schemeClr val="accent1"/>
                </a:solidFill>
              </a:rPr>
              <a:t>Achieving Robust Sand Textures in Powder Coatings Formulations with PTFE-Free Additives</a:t>
            </a:r>
            <a:endParaRPr lang="en-US" sz="1800" b="1" dirty="0">
              <a:solidFill>
                <a:schemeClr val="accent1"/>
              </a:solidFill>
            </a:endParaRPr>
          </a:p>
        </p:txBody>
      </p:sp>
      <p:pic>
        <p:nvPicPr>
          <p:cNvPr id="13" name="Grafik 6">
            <a:extLst>
              <a:ext uri="{FF2B5EF4-FFF2-40B4-BE49-F238E27FC236}">
                <a16:creationId xmlns:a16="http://schemas.microsoft.com/office/drawing/2014/main" id="{50A6C113-B75E-8FDD-78E3-96B5963C7E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90324" y="6477145"/>
            <a:ext cx="696770" cy="187200"/>
          </a:xfrm>
          <a:prstGeom prst="rect">
            <a:avLst/>
          </a:prstGeom>
        </p:spPr>
      </p:pic>
      <p:pic>
        <p:nvPicPr>
          <p:cNvPr id="2" name="Picture Placeholder 13">
            <a:extLst>
              <a:ext uri="{FF2B5EF4-FFF2-40B4-BE49-F238E27FC236}">
                <a16:creationId xmlns:a16="http://schemas.microsoft.com/office/drawing/2014/main" id="{3D000C81-334D-34C9-206F-EF9EC45719BA}"/>
              </a:ext>
            </a:extLst>
          </p:cNvPr>
          <p:cNvPicPr>
            <a:picLocks noChangeAspect="1"/>
          </p:cNvPicPr>
          <p:nvPr/>
        </p:nvPicPr>
        <p:blipFill>
          <a:blip r:embed="rId4"/>
          <a:srcRect l="10327" r="10327"/>
          <a:stretch/>
        </p:blipFill>
        <p:spPr bwMode="gray">
          <a:xfrm>
            <a:off x="162965" y="827036"/>
            <a:ext cx="3206231" cy="3165313"/>
          </a:xfrm>
          <a:custGeom>
            <a:avLst/>
            <a:gdLst>
              <a:gd name="connsiteX0" fmla="*/ 434982 w 911634"/>
              <a:gd name="connsiteY0" fmla="*/ 404 h 900000"/>
              <a:gd name="connsiteX1" fmla="*/ 508078 w 911634"/>
              <a:gd name="connsiteY1" fmla="*/ 6013 h 900000"/>
              <a:gd name="connsiteX2" fmla="*/ 769769 w 911634"/>
              <a:gd name="connsiteY2" fmla="*/ 92111 h 900000"/>
              <a:gd name="connsiteX3" fmla="*/ 902195 w 911634"/>
              <a:gd name="connsiteY3" fmla="*/ 255558 h 900000"/>
              <a:gd name="connsiteX4" fmla="*/ 885525 w 911634"/>
              <a:gd name="connsiteY4" fmla="*/ 457493 h 900000"/>
              <a:gd name="connsiteX5" fmla="*/ 821138 w 911634"/>
              <a:gd name="connsiteY5" fmla="*/ 582025 h 900000"/>
              <a:gd name="connsiteX6" fmla="*/ 696638 w 911634"/>
              <a:gd name="connsiteY6" fmla="*/ 730469 h 900000"/>
              <a:gd name="connsiteX7" fmla="*/ 529503 w 911634"/>
              <a:gd name="connsiteY7" fmla="*/ 853940 h 900000"/>
              <a:gd name="connsiteX8" fmla="*/ 383912 w 911634"/>
              <a:gd name="connsiteY8" fmla="*/ 899608 h 900000"/>
              <a:gd name="connsiteX9" fmla="*/ 262656 w 911634"/>
              <a:gd name="connsiteY9" fmla="*/ 863176 h 900000"/>
              <a:gd name="connsiteX10" fmla="*/ 141370 w 911634"/>
              <a:gd name="connsiteY10" fmla="*/ 739671 h 900000"/>
              <a:gd name="connsiteX11" fmla="*/ 31455 w 911634"/>
              <a:gd name="connsiteY11" fmla="*/ 506384 h 900000"/>
              <a:gd name="connsiteX12" fmla="*/ 1176 w 911634"/>
              <a:gd name="connsiteY12" fmla="*/ 273382 h 900000"/>
              <a:gd name="connsiteX13" fmla="*/ 53799 w 911634"/>
              <a:gd name="connsiteY13" fmla="*/ 118381 h 900000"/>
              <a:gd name="connsiteX14" fmla="*/ 219666 w 911634"/>
              <a:gd name="connsiteY14" fmla="*/ 19597 h 900000"/>
              <a:gd name="connsiteX15" fmla="*/ 434982 w 911634"/>
              <a:gd name="connsiteY15" fmla="*/ 404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1634" h="900000">
                <a:moveTo>
                  <a:pt x="434982" y="404"/>
                </a:moveTo>
                <a:cubicBezTo>
                  <a:pt x="460402" y="1160"/>
                  <a:pt x="485157" y="2992"/>
                  <a:pt x="508078" y="6013"/>
                </a:cubicBezTo>
                <a:cubicBezTo>
                  <a:pt x="599761" y="18099"/>
                  <a:pt x="704083" y="50520"/>
                  <a:pt x="769769" y="92111"/>
                </a:cubicBezTo>
                <a:cubicBezTo>
                  <a:pt x="835456" y="133702"/>
                  <a:pt x="882903" y="194660"/>
                  <a:pt x="902195" y="255558"/>
                </a:cubicBezTo>
                <a:cubicBezTo>
                  <a:pt x="921488" y="316455"/>
                  <a:pt x="908849" y="400452"/>
                  <a:pt x="885525" y="457493"/>
                </a:cubicBezTo>
                <a:cubicBezTo>
                  <a:pt x="862199" y="514535"/>
                  <a:pt x="852619" y="536529"/>
                  <a:pt x="821138" y="582025"/>
                </a:cubicBezTo>
                <a:cubicBezTo>
                  <a:pt x="789657" y="627522"/>
                  <a:pt x="748974" y="683400"/>
                  <a:pt x="696638" y="730469"/>
                </a:cubicBezTo>
                <a:cubicBezTo>
                  <a:pt x="623845" y="796548"/>
                  <a:pt x="581624" y="825750"/>
                  <a:pt x="529503" y="853940"/>
                </a:cubicBezTo>
                <a:cubicBezTo>
                  <a:pt x="477382" y="882129"/>
                  <a:pt x="422026" y="896766"/>
                  <a:pt x="383912" y="899608"/>
                </a:cubicBezTo>
                <a:cubicBezTo>
                  <a:pt x="345799" y="902448"/>
                  <a:pt x="303080" y="889832"/>
                  <a:pt x="262656" y="863176"/>
                </a:cubicBezTo>
                <a:cubicBezTo>
                  <a:pt x="222232" y="836520"/>
                  <a:pt x="183083" y="799787"/>
                  <a:pt x="141370" y="739671"/>
                </a:cubicBezTo>
                <a:cubicBezTo>
                  <a:pt x="99656" y="679555"/>
                  <a:pt x="57552" y="599900"/>
                  <a:pt x="31455" y="506384"/>
                </a:cubicBezTo>
                <a:cubicBezTo>
                  <a:pt x="5359" y="412869"/>
                  <a:pt x="-3449" y="325817"/>
                  <a:pt x="1176" y="273382"/>
                </a:cubicBezTo>
                <a:cubicBezTo>
                  <a:pt x="5802" y="220947"/>
                  <a:pt x="21709" y="161302"/>
                  <a:pt x="53799" y="118381"/>
                </a:cubicBezTo>
                <a:cubicBezTo>
                  <a:pt x="85889" y="75461"/>
                  <a:pt x="143953" y="38325"/>
                  <a:pt x="219666" y="19597"/>
                </a:cubicBezTo>
                <a:cubicBezTo>
                  <a:pt x="276452" y="5550"/>
                  <a:pt x="358718" y="-1865"/>
                  <a:pt x="434982" y="404"/>
                </a:cubicBezTo>
                <a:close/>
              </a:path>
            </a:pathLst>
          </a:cu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a:extLst>
              <a:ext uri="{FF2B5EF4-FFF2-40B4-BE49-F238E27FC236}">
                <a16:creationId xmlns:a16="http://schemas.microsoft.com/office/drawing/2014/main" id="{56F1772B-1EAE-D3BE-B558-00801F869808}"/>
              </a:ext>
            </a:extLst>
          </p:cNvPr>
          <p:cNvSpPr txBox="1"/>
          <p:nvPr/>
        </p:nvSpPr>
        <p:spPr>
          <a:xfrm>
            <a:off x="5743231" y="3479000"/>
            <a:ext cx="5851737" cy="433663"/>
          </a:xfrm>
          <a:prstGeom prst="rect">
            <a:avLst/>
          </a:prstGeom>
          <a:noFill/>
        </p:spPr>
        <p:txBody>
          <a:bodyPr wrap="square" lIns="0" tIns="0" rIns="0" bIns="0" rtlCol="0">
            <a:noAutofit/>
          </a:bodyPr>
          <a:lstStyle/>
          <a:p>
            <a:pPr algn="l">
              <a:buClr>
                <a:schemeClr val="accent2"/>
              </a:buClr>
              <a:buSzPct val="150000"/>
            </a:pPr>
            <a:r>
              <a:rPr lang="en-US" sz="2400" dirty="0">
                <a:solidFill>
                  <a:schemeClr val="accent1"/>
                </a:solidFill>
              </a:rPr>
              <a:t>Friday, September 5, 8:30-9:00am</a:t>
            </a:r>
          </a:p>
          <a:p>
            <a:pPr algn="l">
              <a:buClr>
                <a:schemeClr val="accent2"/>
              </a:buClr>
              <a:buSzPct val="150000"/>
            </a:pPr>
            <a:endParaRPr lang="en-US" sz="2400" dirty="0">
              <a:solidFill>
                <a:schemeClr val="accent1"/>
              </a:solidFill>
            </a:endParaRPr>
          </a:p>
        </p:txBody>
      </p:sp>
    </p:spTree>
    <p:extLst>
      <p:ext uri="{BB962C8B-B14F-4D97-AF65-F5344CB8AC3E}">
        <p14:creationId xmlns:p14="http://schemas.microsoft.com/office/powerpoint/2010/main" val="23323134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05A3A0-46A7-7C9B-6628-4EAE8A7A9C67}"/>
              </a:ext>
            </a:extLst>
          </p:cNvPr>
          <p:cNvSpPr>
            <a:spLocks noGrp="1"/>
          </p:cNvSpPr>
          <p:nvPr>
            <p:ph type="body" sz="quarter" idx="10"/>
          </p:nvPr>
        </p:nvSpPr>
        <p:spPr>
          <a:xfrm>
            <a:off x="3683000" y="2262940"/>
            <a:ext cx="4826000" cy="1052596"/>
          </a:xfrm>
        </p:spPr>
        <p:txBody>
          <a:bodyPr/>
          <a:lstStyle/>
          <a:p>
            <a:r>
              <a:rPr lang="en-US" noProof="0" dirty="0"/>
              <a:t>Thank you for </a:t>
            </a:r>
            <a:br>
              <a:rPr lang="en-US" noProof="0" dirty="0"/>
            </a:br>
            <a:r>
              <a:rPr lang="en-US" noProof="0" dirty="0"/>
              <a:t>your attention.</a:t>
            </a:r>
          </a:p>
        </p:txBody>
      </p:sp>
    </p:spTree>
    <p:extLst>
      <p:ext uri="{BB962C8B-B14F-4D97-AF65-F5344CB8AC3E}">
        <p14:creationId xmlns:p14="http://schemas.microsoft.com/office/powerpoint/2010/main" val="35135708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B36A32-5D02-8017-DB51-B4C5CE0DFC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think-cell data - do not delete" hidden="1">
                        <a:extLst>
                          <a:ext uri="{FF2B5EF4-FFF2-40B4-BE49-F238E27FC236}">
                            <a16:creationId xmlns:a16="http://schemas.microsoft.com/office/drawing/2014/main" id="{6FB36A32-5D02-8017-DB51-B4C5CE0DFC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A28E99DD-9B7A-F0A7-F0AA-FDC39636E769}"/>
              </a:ext>
            </a:extLst>
          </p:cNvPr>
          <p:cNvSpPr>
            <a:spLocks noGrp="1"/>
          </p:cNvSpPr>
          <p:nvPr>
            <p:ph type="body" sz="quarter" idx="13"/>
          </p:nvPr>
        </p:nvSpPr>
        <p:spPr>
          <a:xfrm>
            <a:off x="407368" y="1268413"/>
            <a:ext cx="6740684" cy="5040312"/>
          </a:xfrm>
        </p:spPr>
        <p:txBody>
          <a:bodyPr/>
          <a:lstStyle/>
          <a:p>
            <a:r>
              <a:rPr lang="en-US" dirty="0"/>
              <a:t>ANTI-TERRA</a:t>
            </a:r>
            <a:r>
              <a:rPr lang="en-US" baseline="30000" dirty="0"/>
              <a:t>®</a:t>
            </a:r>
            <a:r>
              <a:rPr lang="en-US" dirty="0"/>
              <a:t>, AQUACER</a:t>
            </a:r>
            <a:r>
              <a:rPr lang="en-US" baseline="30000" dirty="0"/>
              <a:t>®</a:t>
            </a:r>
            <a:r>
              <a:rPr lang="en-US" dirty="0"/>
              <a:t>, AQUAMAT</a:t>
            </a:r>
            <a:r>
              <a:rPr lang="en-US" baseline="30000" dirty="0"/>
              <a:t>®</a:t>
            </a:r>
            <a:r>
              <a:rPr lang="en-US" dirty="0"/>
              <a:t>, AQUATIX</a:t>
            </a:r>
            <a:r>
              <a:rPr lang="en-US" baseline="30000" dirty="0"/>
              <a:t>®</a:t>
            </a:r>
            <a:r>
              <a:rPr lang="en-US" dirty="0"/>
              <a:t>, BENTOLITE</a:t>
            </a:r>
            <a:r>
              <a:rPr lang="en-US" baseline="30000" dirty="0"/>
              <a:t>®</a:t>
            </a:r>
            <a:r>
              <a:rPr lang="en-US" dirty="0"/>
              <a:t>, BYK</a:t>
            </a:r>
            <a:r>
              <a:rPr lang="en-US" baseline="30000" dirty="0"/>
              <a:t>®</a:t>
            </a:r>
            <a:r>
              <a:rPr lang="en-US" dirty="0"/>
              <a:t>, </a:t>
            </a:r>
            <a:br>
              <a:rPr lang="en-US" dirty="0"/>
            </a:br>
            <a:r>
              <a:rPr lang="en-US" dirty="0"/>
              <a:t>BYK-AQUAGEL</a:t>
            </a:r>
            <a:r>
              <a:rPr lang="en-US" baseline="30000" dirty="0"/>
              <a:t>®</a:t>
            </a:r>
            <a:r>
              <a:rPr lang="en-US" dirty="0"/>
              <a:t>, BYK</a:t>
            </a:r>
            <a:r>
              <a:rPr lang="en-US" baseline="30000" dirty="0"/>
              <a:t>®</a:t>
            </a:r>
            <a:r>
              <a:rPr lang="en-US" dirty="0"/>
              <a:t>-DYNWET</a:t>
            </a:r>
            <a:r>
              <a:rPr lang="en-US" baseline="30000" dirty="0"/>
              <a:t>®</a:t>
            </a:r>
            <a:r>
              <a:rPr lang="en-US" dirty="0"/>
              <a:t>, BYK‑MAX</a:t>
            </a:r>
            <a:r>
              <a:rPr lang="en-US" baseline="30000" dirty="0"/>
              <a:t>®</a:t>
            </a:r>
            <a:r>
              <a:rPr lang="en-US" dirty="0"/>
              <a:t>, BYK</a:t>
            </a:r>
            <a:r>
              <a:rPr lang="en-US" baseline="30000" dirty="0"/>
              <a:t>®</a:t>
            </a:r>
            <a:r>
              <a:rPr lang="en-US" dirty="0"/>
              <a:t>‑SILCLEAN</a:t>
            </a:r>
            <a:r>
              <a:rPr lang="en-US" baseline="30000" dirty="0"/>
              <a:t>®</a:t>
            </a:r>
            <a:r>
              <a:rPr lang="en-US" dirty="0"/>
              <a:t>, BYKANOL</a:t>
            </a:r>
            <a:r>
              <a:rPr lang="en-US" baseline="30000" dirty="0"/>
              <a:t>®</a:t>
            </a:r>
            <a:r>
              <a:rPr lang="en-US" dirty="0"/>
              <a:t>, BYKCARE</a:t>
            </a:r>
            <a:r>
              <a:rPr lang="en-US" baseline="30000" dirty="0"/>
              <a:t>®</a:t>
            </a:r>
            <a:r>
              <a:rPr lang="en-US" dirty="0"/>
              <a:t>, BYKETOL</a:t>
            </a:r>
            <a:r>
              <a:rPr lang="en-US" baseline="30000" dirty="0"/>
              <a:t>®</a:t>
            </a:r>
            <a:r>
              <a:rPr lang="en-US" dirty="0"/>
              <a:t>, BYKJET</a:t>
            </a:r>
            <a:r>
              <a:rPr lang="en-US" baseline="30000" dirty="0"/>
              <a:t>®</a:t>
            </a:r>
            <a:r>
              <a:rPr lang="en-US" dirty="0"/>
              <a:t>, BYKONITE</a:t>
            </a:r>
            <a:r>
              <a:rPr lang="en-US" baseline="30000" dirty="0"/>
              <a:t>®</a:t>
            </a:r>
            <a:r>
              <a:rPr lang="en-US" dirty="0"/>
              <a:t>, BYKOPLAST</a:t>
            </a:r>
            <a:r>
              <a:rPr lang="en-US" baseline="30000" dirty="0"/>
              <a:t>®</a:t>
            </a:r>
            <a:r>
              <a:rPr lang="en-US" dirty="0"/>
              <a:t>, BYKUMEN</a:t>
            </a:r>
            <a:r>
              <a:rPr lang="en-US" baseline="30000" dirty="0"/>
              <a:t>®</a:t>
            </a:r>
            <a:r>
              <a:rPr lang="en-US" dirty="0"/>
              <a:t>, CARBOBYK</a:t>
            </a:r>
            <a:r>
              <a:rPr lang="en-US" baseline="30000" dirty="0"/>
              <a:t>®</a:t>
            </a:r>
            <a:r>
              <a:rPr lang="en-US" dirty="0"/>
              <a:t>, CERACOL</a:t>
            </a:r>
            <a:r>
              <a:rPr lang="en-US" baseline="30000" dirty="0"/>
              <a:t>®</a:t>
            </a:r>
            <a:r>
              <a:rPr lang="en-US" dirty="0"/>
              <a:t>, CERAFAK</a:t>
            </a:r>
            <a:r>
              <a:rPr lang="en-US" baseline="30000" dirty="0"/>
              <a:t>®</a:t>
            </a:r>
            <a:r>
              <a:rPr lang="en-US" dirty="0"/>
              <a:t>, CERAFLOUR</a:t>
            </a:r>
            <a:r>
              <a:rPr lang="en-US" baseline="30000" dirty="0"/>
              <a:t>®</a:t>
            </a:r>
            <a:r>
              <a:rPr lang="en-US" dirty="0"/>
              <a:t>, CERAMAT</a:t>
            </a:r>
            <a:r>
              <a:rPr lang="en-US" baseline="30000" dirty="0"/>
              <a:t>®</a:t>
            </a:r>
            <a:r>
              <a:rPr lang="en-US" dirty="0"/>
              <a:t>, CERATIX</a:t>
            </a:r>
            <a:r>
              <a:rPr lang="en-US" baseline="30000" dirty="0"/>
              <a:t>®</a:t>
            </a:r>
            <a:r>
              <a:rPr lang="en-US" dirty="0"/>
              <a:t>, CLAYTONE</a:t>
            </a:r>
            <a:r>
              <a:rPr lang="en-US" baseline="30000" dirty="0"/>
              <a:t>®</a:t>
            </a:r>
            <a:r>
              <a:rPr lang="en-US" dirty="0"/>
              <a:t>, CLOISITE</a:t>
            </a:r>
            <a:r>
              <a:rPr lang="en-US" baseline="30000" dirty="0"/>
              <a:t>®</a:t>
            </a:r>
            <a:r>
              <a:rPr lang="en-US" dirty="0"/>
              <a:t>, DISPERBYK</a:t>
            </a:r>
            <a:r>
              <a:rPr lang="en-US" baseline="30000" dirty="0"/>
              <a:t>®</a:t>
            </a:r>
            <a:r>
              <a:rPr lang="en-US" dirty="0"/>
              <a:t>, DISPERPLAST</a:t>
            </a:r>
            <a:r>
              <a:rPr lang="en-US" baseline="30000" dirty="0"/>
              <a:t>®</a:t>
            </a:r>
            <a:r>
              <a:rPr lang="en-US" dirty="0"/>
              <a:t>, FULACOLOR</a:t>
            </a:r>
            <a:r>
              <a:rPr lang="en-US" baseline="30000" dirty="0"/>
              <a:t>®</a:t>
            </a:r>
            <a:r>
              <a:rPr lang="en-US" dirty="0"/>
              <a:t>, FULCAT</a:t>
            </a:r>
            <a:r>
              <a:rPr lang="en-US" baseline="30000" dirty="0"/>
              <a:t>®</a:t>
            </a:r>
            <a:r>
              <a:rPr lang="en-US" dirty="0"/>
              <a:t>, GARAMITE</a:t>
            </a:r>
            <a:r>
              <a:rPr lang="en-US" baseline="30000" dirty="0"/>
              <a:t>®</a:t>
            </a:r>
            <a:r>
              <a:rPr lang="en-US" dirty="0"/>
              <a:t>, GELWHITE</a:t>
            </a:r>
            <a:r>
              <a:rPr lang="en-US" baseline="30000" dirty="0"/>
              <a:t>®</a:t>
            </a:r>
            <a:r>
              <a:rPr lang="en-US" dirty="0"/>
              <a:t>, HORDAMER</a:t>
            </a:r>
            <a:r>
              <a:rPr lang="en-US" baseline="30000" dirty="0"/>
              <a:t>®</a:t>
            </a:r>
            <a:r>
              <a:rPr lang="en-US" dirty="0"/>
              <a:t>, LACTIMON</a:t>
            </a:r>
            <a:r>
              <a:rPr lang="en-US" baseline="30000" dirty="0"/>
              <a:t>®</a:t>
            </a:r>
            <a:r>
              <a:rPr lang="en-US" dirty="0"/>
              <a:t>, LAPONITE</a:t>
            </a:r>
            <a:r>
              <a:rPr lang="en-US" baseline="30000" dirty="0"/>
              <a:t>®</a:t>
            </a:r>
            <a:r>
              <a:rPr lang="en-US" dirty="0"/>
              <a:t>, NANOBYK</a:t>
            </a:r>
            <a:r>
              <a:rPr lang="en-US" baseline="30000" dirty="0"/>
              <a:t>®</a:t>
            </a:r>
            <a:r>
              <a:rPr lang="en-US" dirty="0"/>
              <a:t>, OPTIBENT</a:t>
            </a:r>
            <a:r>
              <a:rPr lang="en-US" baseline="30000" dirty="0"/>
              <a:t>®</a:t>
            </a:r>
            <a:r>
              <a:rPr lang="en-US" dirty="0"/>
              <a:t>, OPTIGEL</a:t>
            </a:r>
            <a:r>
              <a:rPr lang="en-US" baseline="30000" dirty="0"/>
              <a:t>®</a:t>
            </a:r>
            <a:r>
              <a:rPr lang="en-US" dirty="0"/>
              <a:t>, PURABYK</a:t>
            </a:r>
            <a:r>
              <a:rPr lang="en-US" baseline="30000" dirty="0"/>
              <a:t>®</a:t>
            </a:r>
            <a:r>
              <a:rPr lang="en-US" dirty="0"/>
              <a:t>, RECYCLOBYK</a:t>
            </a:r>
            <a:r>
              <a:rPr lang="en-US" baseline="30000" dirty="0"/>
              <a:t>®</a:t>
            </a:r>
            <a:r>
              <a:rPr lang="en-US" dirty="0"/>
              <a:t>, RHEOBYK</a:t>
            </a:r>
            <a:r>
              <a:rPr lang="en-US" baseline="30000" dirty="0"/>
              <a:t>®</a:t>
            </a:r>
            <a:r>
              <a:rPr lang="en-US" dirty="0"/>
              <a:t>, SCONA</a:t>
            </a:r>
            <a:r>
              <a:rPr lang="en-US" baseline="30000" dirty="0"/>
              <a:t>®</a:t>
            </a:r>
            <a:r>
              <a:rPr lang="en-US" dirty="0"/>
              <a:t>, SILBYK</a:t>
            </a:r>
            <a:r>
              <a:rPr lang="en-US" baseline="30000" dirty="0"/>
              <a:t>®</a:t>
            </a:r>
            <a:r>
              <a:rPr lang="en-US" dirty="0"/>
              <a:t>, TIXOGEL</a:t>
            </a:r>
            <a:r>
              <a:rPr lang="en-US" baseline="30000" dirty="0"/>
              <a:t>®</a:t>
            </a:r>
            <a:r>
              <a:rPr lang="en-US" dirty="0"/>
              <a:t> and VISCOBYK</a:t>
            </a:r>
            <a:r>
              <a:rPr lang="en-US" baseline="30000" dirty="0"/>
              <a:t>®</a:t>
            </a:r>
            <a:r>
              <a:rPr lang="en-US" dirty="0"/>
              <a:t> </a:t>
            </a:r>
            <a:br>
              <a:rPr lang="en-US" dirty="0"/>
            </a:br>
            <a:r>
              <a:rPr lang="en-US" b="1" dirty="0"/>
              <a:t>are registered trademarks of the BYK group.</a:t>
            </a:r>
            <a:br>
              <a:rPr lang="en-US" b="1" dirty="0"/>
            </a:br>
            <a:br>
              <a:rPr lang="en-US" dirty="0"/>
            </a:br>
            <a:r>
              <a:rPr lang="en-US" dirty="0"/>
              <a:t>The information contained herein is based on our current knowledge and experience. No warranties, guarantees and/or assurances of any kind, either express or implied, including warranties of merchantability or fitness for a particular purpose, are made regarding any products mentioned herein and data or information set forth, or that such products, data or information may be used without infringing intellectual property rights of third parties. </a:t>
            </a:r>
            <a:br>
              <a:rPr lang="en-US" dirty="0"/>
            </a:br>
            <a:r>
              <a:rPr lang="en-US" dirty="0"/>
              <a:t>Any information about suitability, use or application of the products is non-binding </a:t>
            </a:r>
            <a:br>
              <a:rPr lang="en-US" dirty="0"/>
            </a:br>
            <a:r>
              <a:rPr lang="en-US" dirty="0"/>
              <a:t>and does not constitute a commitment regarding the products’ properties, use or application. Contractual terms and conditions, in particular agreed product specifications, always take precedence. </a:t>
            </a:r>
            <a:br>
              <a:rPr lang="en-US" dirty="0"/>
            </a:br>
            <a:r>
              <a:rPr lang="en-US" dirty="0"/>
              <a:t>We recommend that you test our products in preliminary trials to determine their suitability for your intended purpose prior to use. We reserve the right to make any changes and to update the information herein without notice.</a:t>
            </a:r>
          </a:p>
        </p:txBody>
      </p:sp>
      <p:sp>
        <p:nvSpPr>
          <p:cNvPr id="6" name="Titel 5">
            <a:extLst>
              <a:ext uri="{FF2B5EF4-FFF2-40B4-BE49-F238E27FC236}">
                <a16:creationId xmlns:a16="http://schemas.microsoft.com/office/drawing/2014/main" id="{79E582CB-60B3-6071-730C-BF58763B653B}"/>
              </a:ext>
            </a:extLst>
          </p:cNvPr>
          <p:cNvSpPr>
            <a:spLocks noGrp="1"/>
          </p:cNvSpPr>
          <p:nvPr>
            <p:ph type="title"/>
          </p:nvPr>
        </p:nvSpPr>
        <p:spPr/>
        <p:txBody>
          <a:bodyPr vert="horz"/>
          <a:lstStyle/>
          <a:p>
            <a:r>
              <a:rPr lang="en-US" dirty="0"/>
              <a:t>Disclaimer</a:t>
            </a:r>
          </a:p>
        </p:txBody>
      </p:sp>
    </p:spTree>
    <p:extLst>
      <p:ext uri="{BB962C8B-B14F-4D97-AF65-F5344CB8AC3E}">
        <p14:creationId xmlns:p14="http://schemas.microsoft.com/office/powerpoint/2010/main" val="4416074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9A9C5123-E611-5673-70C0-E28E9B73F6D3}"/>
              </a:ext>
            </a:extLst>
          </p:cNvPr>
          <p:cNvSpPr>
            <a:spLocks noGrp="1"/>
          </p:cNvSpPr>
          <p:nvPr>
            <p:ph type="title"/>
          </p:nvPr>
        </p:nvSpPr>
        <p:spPr>
          <a:xfrm>
            <a:off x="407987" y="152636"/>
            <a:ext cx="9180000" cy="1008062"/>
          </a:xfrm>
        </p:spPr>
        <p:txBody>
          <a:bodyPr wrap="square" anchor="t">
            <a:normAutofit/>
          </a:bodyPr>
          <a:lstStyle/>
          <a:p>
            <a:r>
              <a:rPr lang="en-US" dirty="0"/>
              <a:t>Regulatory Pressures and PFAS Concerns</a:t>
            </a:r>
          </a:p>
        </p:txBody>
      </p:sp>
      <p:sp>
        <p:nvSpPr>
          <p:cNvPr id="7" name="Date Placeholder 6">
            <a:extLst>
              <a:ext uri="{FF2B5EF4-FFF2-40B4-BE49-F238E27FC236}">
                <a16:creationId xmlns:a16="http://schemas.microsoft.com/office/drawing/2014/main" id="{86B27794-3CAD-DD07-6867-7585FC81DCB0}"/>
              </a:ext>
            </a:extLst>
          </p:cNvPr>
          <p:cNvSpPr>
            <a:spLocks noGrp="1"/>
          </p:cNvSpPr>
          <p:nvPr>
            <p:ph type="dt" sz="half" idx="10"/>
          </p:nvPr>
        </p:nvSpPr>
        <p:spPr>
          <a:xfrm>
            <a:off x="1127448" y="6523883"/>
            <a:ext cx="792088" cy="123111"/>
          </a:xfrm>
        </p:spPr>
        <p:txBody>
          <a:bodyPr wrap="square" anchor="ctr">
            <a:normAutofit/>
          </a:bodyPr>
          <a:lstStyle/>
          <a:p>
            <a:pPr>
              <a:spcAft>
                <a:spcPts val="600"/>
              </a:spcAft>
            </a:pPr>
            <a:r>
              <a:rPr lang="en-US"/>
              <a:t>September 2025</a:t>
            </a:r>
          </a:p>
        </p:txBody>
      </p:sp>
      <p:sp>
        <p:nvSpPr>
          <p:cNvPr id="8" name="Footer Placeholder 7">
            <a:extLst>
              <a:ext uri="{FF2B5EF4-FFF2-40B4-BE49-F238E27FC236}">
                <a16:creationId xmlns:a16="http://schemas.microsoft.com/office/drawing/2014/main" id="{8B78898B-6250-27E7-B663-CD1EFC883D4C}"/>
              </a:ext>
            </a:extLst>
          </p:cNvPr>
          <p:cNvSpPr>
            <a:spLocks noGrp="1"/>
          </p:cNvSpPr>
          <p:nvPr>
            <p:ph type="ftr" sz="quarter" idx="11"/>
          </p:nvPr>
        </p:nvSpPr>
        <p:spPr>
          <a:xfrm>
            <a:off x="1992796" y="6523884"/>
            <a:ext cx="8207660" cy="123111"/>
          </a:xfrm>
        </p:spPr>
        <p:txBody>
          <a:bodyPr wrap="square" anchor="ctr">
            <a:normAutofit/>
          </a:bodyPr>
          <a:lstStyle/>
          <a:p>
            <a:r>
              <a:rPr lang="en-US"/>
              <a:t>Achieving robust textures with PTFE-free additives</a:t>
            </a:r>
            <a:endParaRPr lang="en-US" dirty="0"/>
          </a:p>
        </p:txBody>
      </p:sp>
      <p:sp>
        <p:nvSpPr>
          <p:cNvPr id="9" name="Slide Number Placeholder 8">
            <a:extLst>
              <a:ext uri="{FF2B5EF4-FFF2-40B4-BE49-F238E27FC236}">
                <a16:creationId xmlns:a16="http://schemas.microsoft.com/office/drawing/2014/main" id="{7CA707D1-2391-3014-E192-C236EC941F52}"/>
              </a:ext>
            </a:extLst>
          </p:cNvPr>
          <p:cNvSpPr>
            <a:spLocks noGrp="1"/>
          </p:cNvSpPr>
          <p:nvPr>
            <p:ph type="sldNum" sz="quarter" idx="12"/>
          </p:nvPr>
        </p:nvSpPr>
        <p:spPr>
          <a:xfrm>
            <a:off x="407986" y="6523884"/>
            <a:ext cx="646202" cy="123111"/>
          </a:xfrm>
        </p:spPr>
        <p:txBody>
          <a:bodyPr wrap="square" anchor="ctr">
            <a:normAutofit/>
          </a:bodyPr>
          <a:lstStyle/>
          <a:p>
            <a:pPr>
              <a:spcAft>
                <a:spcPts val="600"/>
              </a:spcAft>
            </a:pPr>
            <a:r>
              <a:rPr lang="en-US"/>
              <a:t>Page </a:t>
            </a:r>
            <a:fld id="{F833201C-4142-4F26-B8B7-249C87787C9A}" type="slidenum">
              <a:rPr lang="en-US" smtClean="0"/>
              <a:pPr>
                <a:spcAft>
                  <a:spcPts val="600"/>
                </a:spcAft>
              </a:pPr>
              <a:t>4</a:t>
            </a:fld>
            <a:endParaRPr lang="en-US"/>
          </a:p>
        </p:txBody>
      </p:sp>
      <p:graphicFrame>
        <p:nvGraphicFramePr>
          <p:cNvPr id="19" name="Content Placeholder 14">
            <a:extLst>
              <a:ext uri="{FF2B5EF4-FFF2-40B4-BE49-F238E27FC236}">
                <a16:creationId xmlns:a16="http://schemas.microsoft.com/office/drawing/2014/main" id="{81CBC860-F70D-C0DB-91F5-96BC80275673}"/>
              </a:ext>
            </a:extLst>
          </p:cNvPr>
          <p:cNvGraphicFramePr>
            <a:graphicFrameLocks noGrp="1"/>
          </p:cNvGraphicFramePr>
          <p:nvPr>
            <p:ph idx="1"/>
            <p:extLst>
              <p:ext uri="{D42A27DB-BD31-4B8C-83A1-F6EECF244321}">
                <p14:modId xmlns:p14="http://schemas.microsoft.com/office/powerpoint/2010/main" val="1968362257"/>
              </p:ext>
            </p:extLst>
          </p:nvPr>
        </p:nvGraphicFramePr>
        <p:xfrm>
          <a:off x="407986" y="633743"/>
          <a:ext cx="9792469" cy="56691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 name="Picture 19">
            <a:extLst>
              <a:ext uri="{FF2B5EF4-FFF2-40B4-BE49-F238E27FC236}">
                <a16:creationId xmlns:a16="http://schemas.microsoft.com/office/drawing/2014/main" id="{700271B0-5352-2BF0-0089-828D366DAB6B}"/>
              </a:ext>
            </a:extLst>
          </p:cNvPr>
          <p:cNvPicPr>
            <a:picLocks noChangeAspect="1"/>
          </p:cNvPicPr>
          <p:nvPr/>
        </p:nvPicPr>
        <p:blipFill>
          <a:blip r:embed="rId7"/>
          <a:stretch>
            <a:fillRect/>
          </a:stretch>
        </p:blipFill>
        <p:spPr>
          <a:xfrm>
            <a:off x="9414617" y="1417921"/>
            <a:ext cx="2369397" cy="1569723"/>
          </a:xfrm>
          <a:prstGeom prst="rect">
            <a:avLst/>
          </a:prstGeom>
        </p:spPr>
      </p:pic>
      <p:pic>
        <p:nvPicPr>
          <p:cNvPr id="23" name="Picture 22">
            <a:extLst>
              <a:ext uri="{FF2B5EF4-FFF2-40B4-BE49-F238E27FC236}">
                <a16:creationId xmlns:a16="http://schemas.microsoft.com/office/drawing/2014/main" id="{BF797096-24CD-6056-37F1-ED4E201F06FB}"/>
              </a:ext>
            </a:extLst>
          </p:cNvPr>
          <p:cNvPicPr>
            <a:picLocks noChangeAspect="1"/>
          </p:cNvPicPr>
          <p:nvPr/>
        </p:nvPicPr>
        <p:blipFill>
          <a:blip r:embed="rId8"/>
          <a:stretch>
            <a:fillRect/>
          </a:stretch>
        </p:blipFill>
        <p:spPr>
          <a:xfrm>
            <a:off x="9414617" y="3732132"/>
            <a:ext cx="2369397" cy="2025872"/>
          </a:xfrm>
          <a:prstGeom prst="rect">
            <a:avLst/>
          </a:prstGeom>
        </p:spPr>
      </p:pic>
    </p:spTree>
    <p:extLst>
      <p:ext uri="{BB962C8B-B14F-4D97-AF65-F5344CB8AC3E}">
        <p14:creationId xmlns:p14="http://schemas.microsoft.com/office/powerpoint/2010/main" val="3349724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F55AC-251A-5611-2026-DD65F7EFDB07}"/>
              </a:ext>
            </a:extLst>
          </p:cNvPr>
          <p:cNvSpPr>
            <a:spLocks noGrp="1"/>
          </p:cNvSpPr>
          <p:nvPr>
            <p:ph type="title"/>
          </p:nvPr>
        </p:nvSpPr>
        <p:spPr>
          <a:xfrm>
            <a:off x="407987" y="188913"/>
            <a:ext cx="9180000" cy="1008062"/>
          </a:xfrm>
        </p:spPr>
        <p:txBody>
          <a:bodyPr wrap="square" anchor="t">
            <a:normAutofit/>
          </a:bodyPr>
          <a:lstStyle/>
          <a:p>
            <a:r>
              <a:rPr lang="en-US" dirty="0"/>
              <a:t>California </a:t>
            </a:r>
          </a:p>
        </p:txBody>
      </p:sp>
      <p:sp>
        <p:nvSpPr>
          <p:cNvPr id="3" name="Content Placeholder 2">
            <a:extLst>
              <a:ext uri="{FF2B5EF4-FFF2-40B4-BE49-F238E27FC236}">
                <a16:creationId xmlns:a16="http://schemas.microsoft.com/office/drawing/2014/main" id="{9ADD0B81-0B1B-D18A-046B-49A6DEF5E89B}"/>
              </a:ext>
            </a:extLst>
          </p:cNvPr>
          <p:cNvSpPr>
            <a:spLocks noGrp="1"/>
          </p:cNvSpPr>
          <p:nvPr>
            <p:ph idx="1"/>
          </p:nvPr>
        </p:nvSpPr>
        <p:spPr>
          <a:xfrm>
            <a:off x="407986" y="1131127"/>
            <a:ext cx="9612449" cy="5502229"/>
          </a:xfrm>
        </p:spPr>
        <p:txBody>
          <a:bodyPr wrap="square" anchor="t">
            <a:normAutofit/>
          </a:bodyPr>
          <a:lstStyle/>
          <a:p>
            <a:r>
              <a:rPr lang="en-US" sz="2000" b="1" dirty="0"/>
              <a:t>CURRENTLY PENDING Legislation</a:t>
            </a:r>
          </a:p>
          <a:p>
            <a:endParaRPr lang="en-US" sz="2000" dirty="0"/>
          </a:p>
          <a:p>
            <a:r>
              <a:rPr lang="en-US" sz="2000" dirty="0"/>
              <a:t>Jan. 1, 2027: Prohibits cleaning products, cookware, dental floss, juvenile products, food packaging, or ski wax that contains intentionally added PFAS.</a:t>
            </a:r>
          </a:p>
          <a:p>
            <a:endParaRPr lang="en-US" sz="2000" dirty="0"/>
          </a:p>
          <a:p>
            <a:r>
              <a:rPr lang="en-US" sz="2000" dirty="0"/>
              <a:t>January 1, 2035, prohibit a person from distributing, selling, or offering for sale any other product with intentionally added PFAS, unless covered by another section of the bill.</a:t>
            </a:r>
          </a:p>
          <a:p>
            <a:endParaRPr lang="en-US" sz="2000" dirty="0"/>
          </a:p>
          <a:p>
            <a:r>
              <a:rPr lang="en-US" sz="2000" dirty="0"/>
              <a:t>Jan. 1, 2040: Prohibits refrigerants, </a:t>
            </a:r>
            <a:r>
              <a:rPr lang="en-US" sz="2000" b="1" dirty="0"/>
              <a:t>solvents, </a:t>
            </a:r>
            <a:r>
              <a:rPr lang="en-US" sz="2000" dirty="0"/>
              <a:t>propellants, and clean fire suppressants with intentionally added PFAS, unless the department has determined that the use of PFAS in the product is a currently unavoidable use.</a:t>
            </a:r>
          </a:p>
          <a:p>
            <a:endParaRPr lang="en-US" sz="2000" dirty="0"/>
          </a:p>
          <a:p>
            <a:r>
              <a:rPr lang="en-US" sz="2000" dirty="0"/>
              <a:t>Agency to adopt regulations by Jan.1, 2029</a:t>
            </a:r>
          </a:p>
          <a:p>
            <a:endParaRPr lang="en-US" dirty="0"/>
          </a:p>
          <a:p>
            <a:pPr marL="0" indent="0">
              <a:buNone/>
            </a:pPr>
            <a:endParaRPr lang="en-US" dirty="0"/>
          </a:p>
        </p:txBody>
      </p:sp>
      <p:sp>
        <p:nvSpPr>
          <p:cNvPr id="4" name="Date Placeholder 3">
            <a:extLst>
              <a:ext uri="{FF2B5EF4-FFF2-40B4-BE49-F238E27FC236}">
                <a16:creationId xmlns:a16="http://schemas.microsoft.com/office/drawing/2014/main" id="{00A7D89B-570A-8524-C159-13C21A110811}"/>
              </a:ext>
            </a:extLst>
          </p:cNvPr>
          <p:cNvSpPr>
            <a:spLocks noGrp="1"/>
          </p:cNvSpPr>
          <p:nvPr>
            <p:ph type="dt" sz="half" idx="10"/>
          </p:nvPr>
        </p:nvSpPr>
        <p:spPr>
          <a:xfrm>
            <a:off x="1127448" y="6523883"/>
            <a:ext cx="792088" cy="123111"/>
          </a:xfrm>
        </p:spPr>
        <p:txBody>
          <a:bodyPr wrap="square" anchor="ctr">
            <a:normAutofit/>
          </a:bodyPr>
          <a:lstStyle/>
          <a:p>
            <a:pPr>
              <a:spcAft>
                <a:spcPts val="600"/>
              </a:spcAft>
            </a:pPr>
            <a:r>
              <a:rPr lang="en-US"/>
              <a:t>September 2025</a:t>
            </a:r>
            <a:endParaRPr lang="en-US" dirty="0"/>
          </a:p>
        </p:txBody>
      </p:sp>
      <p:sp>
        <p:nvSpPr>
          <p:cNvPr id="5" name="Footer Placeholder 4">
            <a:extLst>
              <a:ext uri="{FF2B5EF4-FFF2-40B4-BE49-F238E27FC236}">
                <a16:creationId xmlns:a16="http://schemas.microsoft.com/office/drawing/2014/main" id="{73844D2C-316D-104B-2050-0FCF600BA5E6}"/>
              </a:ext>
            </a:extLst>
          </p:cNvPr>
          <p:cNvSpPr>
            <a:spLocks noGrp="1"/>
          </p:cNvSpPr>
          <p:nvPr>
            <p:ph type="ftr" sz="quarter" idx="11"/>
          </p:nvPr>
        </p:nvSpPr>
        <p:spPr>
          <a:xfrm>
            <a:off x="1992796" y="6523884"/>
            <a:ext cx="8207660" cy="123111"/>
          </a:xfrm>
        </p:spPr>
        <p:txBody>
          <a:bodyPr wrap="square" anchor="ctr">
            <a:normAutofit/>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98C23A03-9BF9-41C6-357C-05299FA002DB}"/>
              </a:ext>
            </a:extLst>
          </p:cNvPr>
          <p:cNvSpPr>
            <a:spLocks noGrp="1"/>
          </p:cNvSpPr>
          <p:nvPr>
            <p:ph type="sldNum" sz="quarter" idx="12"/>
          </p:nvPr>
        </p:nvSpPr>
        <p:spPr>
          <a:xfrm>
            <a:off x="407986" y="6523884"/>
            <a:ext cx="646202" cy="123111"/>
          </a:xfrm>
        </p:spPr>
        <p:txBody>
          <a:bodyPr wrap="square" anchor="ctr">
            <a:normAutofit/>
          </a:bodyPr>
          <a:lstStyle/>
          <a:p>
            <a:pPr>
              <a:spcAft>
                <a:spcPts val="600"/>
              </a:spcAft>
            </a:pPr>
            <a:r>
              <a:rPr lang="en-US"/>
              <a:t>Page </a:t>
            </a:r>
            <a:fld id="{F833201C-4142-4F26-B8B7-249C87787C9A}" type="slidenum">
              <a:rPr lang="en-US" smtClean="0"/>
              <a:pPr>
                <a:spcAft>
                  <a:spcPts val="600"/>
                </a:spcAft>
              </a:pPr>
              <a:t>5</a:t>
            </a:fld>
            <a:endParaRPr lang="en-US"/>
          </a:p>
        </p:txBody>
      </p:sp>
    </p:spTree>
    <p:extLst>
      <p:ext uri="{BB962C8B-B14F-4D97-AF65-F5344CB8AC3E}">
        <p14:creationId xmlns:p14="http://schemas.microsoft.com/office/powerpoint/2010/main" val="39271483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97891-AB6E-F112-AC8F-450D7265AEFA}"/>
              </a:ext>
            </a:extLst>
          </p:cNvPr>
          <p:cNvSpPr>
            <a:spLocks noGrp="1"/>
          </p:cNvSpPr>
          <p:nvPr>
            <p:ph type="title"/>
          </p:nvPr>
        </p:nvSpPr>
        <p:spPr/>
        <p:txBody>
          <a:bodyPr/>
          <a:lstStyle/>
          <a:p>
            <a:r>
              <a:rPr lang="en-US" dirty="0"/>
              <a:t>BYK will stops supplying PFAS-containing additives by end of 2025</a:t>
            </a:r>
            <a:endParaRPr lang="de-DE" dirty="0"/>
          </a:p>
        </p:txBody>
      </p:sp>
      <p:sp>
        <p:nvSpPr>
          <p:cNvPr id="13" name="Inhaltsplatzhalter 12">
            <a:extLst>
              <a:ext uri="{FF2B5EF4-FFF2-40B4-BE49-F238E27FC236}">
                <a16:creationId xmlns:a16="http://schemas.microsoft.com/office/drawing/2014/main" id="{4A9D4B7B-4B9B-3C1B-FDA1-2C47A86975AB}"/>
              </a:ext>
            </a:extLst>
          </p:cNvPr>
          <p:cNvSpPr>
            <a:spLocks noGrp="1"/>
          </p:cNvSpPr>
          <p:nvPr>
            <p:ph idx="1"/>
          </p:nvPr>
        </p:nvSpPr>
        <p:spPr>
          <a:xfrm>
            <a:off x="407988" y="1212215"/>
            <a:ext cx="5613055" cy="5096510"/>
          </a:xfrm>
        </p:spPr>
        <p:txBody>
          <a:bodyPr/>
          <a:lstStyle/>
          <a:p>
            <a:pPr marL="0" indent="0">
              <a:buFont typeface="Arial" pitchFamily="34" charset="0"/>
              <a:buNone/>
            </a:pPr>
            <a:r>
              <a:rPr lang="en-US" dirty="0"/>
              <a:t>With </a:t>
            </a:r>
            <a:r>
              <a:rPr lang="en-US" sz="2000" kern="0" dirty="0"/>
              <a:t>years of active research efforts, </a:t>
            </a:r>
            <a:r>
              <a:rPr lang="en-US" dirty="0"/>
              <a:t>BYK will be </a:t>
            </a:r>
            <a:r>
              <a:rPr lang="en-US" sz="2000" kern="0" dirty="0"/>
              <a:t> replacing its per- and polyfluoroalkyl additives with more environmentally compatible alternatives. </a:t>
            </a:r>
          </a:p>
          <a:p>
            <a:pPr marL="0" indent="0">
              <a:buFont typeface="Arial" pitchFamily="34" charset="0"/>
              <a:buNone/>
            </a:pPr>
            <a:endParaRPr lang="en-US" dirty="0"/>
          </a:p>
          <a:p>
            <a:pPr marL="0" indent="0">
              <a:buFont typeface="Arial" pitchFamily="34" charset="0"/>
              <a:buNone/>
            </a:pPr>
            <a:r>
              <a:rPr lang="en-US" sz="2000" kern="0" dirty="0"/>
              <a:t>We have now reached a point that allows us to offer our customers pioneering, sustainable PFAS-free solutions </a:t>
            </a:r>
            <a:r>
              <a:rPr lang="en-US" dirty="0"/>
              <a:t>for Powder Coatings additives and beyond</a:t>
            </a:r>
            <a:r>
              <a:rPr lang="en-US" sz="2000" kern="0" dirty="0"/>
              <a:t>.</a:t>
            </a:r>
            <a:endParaRPr lang="de-DE" sz="1000" kern="0" dirty="0"/>
          </a:p>
          <a:p>
            <a:pPr marL="0" indent="0">
              <a:buFont typeface="Arial" pitchFamily="34" charset="0"/>
              <a:buNone/>
            </a:pPr>
            <a:endParaRPr lang="de-DE" sz="2000" kern="0" dirty="0"/>
          </a:p>
          <a:p>
            <a:pPr marL="0" indent="0">
              <a:buFont typeface="Arial" pitchFamily="34" charset="0"/>
              <a:buNone/>
            </a:pPr>
            <a:endParaRPr lang="de-DE" sz="2000" kern="0" dirty="0"/>
          </a:p>
          <a:p>
            <a:pPr marL="0" indent="0">
              <a:buNone/>
            </a:pPr>
            <a:endParaRPr lang="de-DE" dirty="0"/>
          </a:p>
        </p:txBody>
      </p:sp>
      <p:sp>
        <p:nvSpPr>
          <p:cNvPr id="3" name="Datumsplatzhalter 2">
            <a:extLst>
              <a:ext uri="{FF2B5EF4-FFF2-40B4-BE49-F238E27FC236}">
                <a16:creationId xmlns:a16="http://schemas.microsoft.com/office/drawing/2014/main" id="{09221059-EF02-E04A-3409-E826160750E3}"/>
              </a:ext>
            </a:extLst>
          </p:cNvPr>
          <p:cNvSpPr>
            <a:spLocks noGrp="1"/>
          </p:cNvSpPr>
          <p:nvPr>
            <p:ph type="dt" sz="half" idx="10"/>
          </p:nvPr>
        </p:nvSpPr>
        <p:spPr>
          <a:xfrm>
            <a:off x="1127448" y="6513439"/>
            <a:ext cx="2772308" cy="144000"/>
          </a:xfrm>
        </p:spPr>
        <p:txBody>
          <a:bodyPr/>
          <a:lstStyle/>
          <a:p>
            <a:r>
              <a:rPr lang="en-US"/>
              <a:t>September 2025</a:t>
            </a:r>
            <a:endParaRPr lang="de-DE" dirty="0"/>
          </a:p>
        </p:txBody>
      </p:sp>
      <p:sp>
        <p:nvSpPr>
          <p:cNvPr id="5" name="Foliennummernplatzhalter 4">
            <a:extLst>
              <a:ext uri="{FF2B5EF4-FFF2-40B4-BE49-F238E27FC236}">
                <a16:creationId xmlns:a16="http://schemas.microsoft.com/office/drawing/2014/main" id="{83F1E5E8-2246-3167-A1AD-7BD48D508698}"/>
              </a:ext>
            </a:extLst>
          </p:cNvPr>
          <p:cNvSpPr>
            <a:spLocks noGrp="1"/>
          </p:cNvSpPr>
          <p:nvPr>
            <p:ph type="sldNum" sz="quarter" idx="12"/>
          </p:nvPr>
        </p:nvSpPr>
        <p:spPr/>
        <p:txBody>
          <a:bodyPr/>
          <a:lstStyle/>
          <a:p>
            <a:r>
              <a:rPr lang="de-DE"/>
              <a:t>Page </a:t>
            </a:r>
            <a:fld id="{8F63C9D9-3015-4EB3-9DF0-04DE0400ED04}" type="slidenum">
              <a:rPr smtClean="0"/>
              <a:pPr/>
              <a:t>6</a:t>
            </a:fld>
            <a:endParaRPr dirty="0"/>
          </a:p>
        </p:txBody>
      </p:sp>
      <p:sp>
        <p:nvSpPr>
          <p:cNvPr id="6" name="Inhaltsplatzhalter 1">
            <a:extLst>
              <a:ext uri="{FF2B5EF4-FFF2-40B4-BE49-F238E27FC236}">
                <a16:creationId xmlns:a16="http://schemas.microsoft.com/office/drawing/2014/main" id="{0B6137B4-5AD2-02C5-61B7-9490BAAAC7D6}"/>
              </a:ext>
            </a:extLst>
          </p:cNvPr>
          <p:cNvSpPr txBox="1">
            <a:spLocks/>
          </p:cNvSpPr>
          <p:nvPr/>
        </p:nvSpPr>
        <p:spPr>
          <a:xfrm>
            <a:off x="407988" y="1212215"/>
            <a:ext cx="11376026" cy="3645011"/>
          </a:xfrm>
          <a:prstGeom prst="rect">
            <a:avLst/>
          </a:prstGeom>
        </p:spPr>
        <p:txBody>
          <a:bodyPr lIns="0" tIns="0" rIns="0" bIns="0"/>
          <a:lstStyle>
            <a:lvl1pPr marL="266700" indent="-266700" algn="l" rtl="0" fontAlgn="base">
              <a:lnSpc>
                <a:spcPct val="90000"/>
              </a:lnSpc>
              <a:spcBef>
                <a:spcPts val="600"/>
              </a:spcBef>
              <a:spcAft>
                <a:spcPct val="0"/>
              </a:spcAft>
              <a:buFont typeface="Arial" pitchFamily="34" charset="0"/>
              <a:buChar char="•"/>
              <a:tabLst>
                <a:tab pos="266700" algn="l"/>
              </a:tabLst>
              <a:defRPr sz="2400">
                <a:solidFill>
                  <a:schemeClr val="tx1"/>
                </a:solidFill>
                <a:latin typeface="+mn-lt"/>
                <a:ea typeface="+mn-ea"/>
                <a:cs typeface="+mn-cs"/>
              </a:defRPr>
            </a:lvl1pPr>
            <a:lvl2pPr marL="546100" indent="-269875" algn="l" rtl="0" fontAlgn="base">
              <a:lnSpc>
                <a:spcPct val="90000"/>
              </a:lnSpc>
              <a:spcBef>
                <a:spcPts val="600"/>
              </a:spcBef>
              <a:spcAft>
                <a:spcPct val="0"/>
              </a:spcAft>
              <a:buFont typeface="Arial" pitchFamily="34" charset="0"/>
              <a:buChar char="•"/>
              <a:tabLst/>
              <a:defRPr sz="2400">
                <a:solidFill>
                  <a:schemeClr val="tx1"/>
                </a:solidFill>
                <a:latin typeface="+mn-lt"/>
              </a:defRPr>
            </a:lvl2pPr>
            <a:lvl3pPr marL="809625" indent="-266700" algn="l" rtl="0" fontAlgn="base">
              <a:lnSpc>
                <a:spcPct val="90000"/>
              </a:lnSpc>
              <a:spcBef>
                <a:spcPts val="600"/>
              </a:spcBef>
              <a:spcAft>
                <a:spcPct val="0"/>
              </a:spcAft>
              <a:buChar char="•"/>
              <a:tabLst/>
              <a:defRPr sz="2400">
                <a:solidFill>
                  <a:schemeClr val="tx1"/>
                </a:solidFill>
                <a:latin typeface="+mn-lt"/>
              </a:defRPr>
            </a:lvl3pPr>
            <a:lvl4pPr marL="1071563" indent="-261938" algn="l" rtl="0" fontAlgn="base">
              <a:lnSpc>
                <a:spcPct val="90000"/>
              </a:lnSpc>
              <a:spcBef>
                <a:spcPts val="600"/>
              </a:spcBef>
              <a:spcAft>
                <a:spcPct val="0"/>
              </a:spcAft>
              <a:buChar char="•"/>
              <a:tabLst/>
              <a:defRPr sz="2400">
                <a:solidFill>
                  <a:schemeClr val="tx1"/>
                </a:solidFill>
                <a:latin typeface="+mn-lt"/>
              </a:defRPr>
            </a:lvl4pPr>
            <a:lvl5pPr marL="1438275" indent="-276225" algn="l" rtl="0" fontAlgn="base">
              <a:lnSpc>
                <a:spcPct val="90000"/>
              </a:lnSpc>
              <a:spcBef>
                <a:spcPts val="600"/>
              </a:spcBef>
              <a:spcAft>
                <a:spcPct val="0"/>
              </a:spcAft>
              <a:buChar char="•"/>
              <a:tabLst/>
              <a:defRPr sz="2400">
                <a:solidFill>
                  <a:schemeClr val="tx1"/>
                </a:solidFill>
                <a:latin typeface="+mn-lt"/>
              </a:defRPr>
            </a:lvl5pPr>
            <a:lvl6pPr marL="1441450" indent="-177800" algn="l" rtl="0" fontAlgn="base">
              <a:lnSpc>
                <a:spcPct val="90000"/>
              </a:lnSpc>
              <a:spcBef>
                <a:spcPct val="20000"/>
              </a:spcBef>
              <a:spcAft>
                <a:spcPct val="0"/>
              </a:spcAft>
              <a:buChar char="•"/>
              <a:tabLst>
                <a:tab pos="271463" algn="l"/>
              </a:tabLst>
              <a:defRPr sz="2400">
                <a:solidFill>
                  <a:schemeClr val="tx1"/>
                </a:solidFill>
                <a:latin typeface="+mn-lt"/>
              </a:defRPr>
            </a:lvl6pPr>
            <a:lvl7pPr marL="1898650" indent="-177800" algn="l" rtl="0" fontAlgn="base">
              <a:lnSpc>
                <a:spcPct val="90000"/>
              </a:lnSpc>
              <a:spcBef>
                <a:spcPct val="20000"/>
              </a:spcBef>
              <a:spcAft>
                <a:spcPct val="0"/>
              </a:spcAft>
              <a:buChar char="•"/>
              <a:tabLst>
                <a:tab pos="271463" algn="l"/>
              </a:tabLst>
              <a:defRPr sz="2400">
                <a:solidFill>
                  <a:schemeClr val="tx1"/>
                </a:solidFill>
                <a:latin typeface="+mn-lt"/>
              </a:defRPr>
            </a:lvl7pPr>
            <a:lvl8pPr marL="2355850" indent="-177800" algn="l" rtl="0" fontAlgn="base">
              <a:lnSpc>
                <a:spcPct val="90000"/>
              </a:lnSpc>
              <a:spcBef>
                <a:spcPct val="20000"/>
              </a:spcBef>
              <a:spcAft>
                <a:spcPct val="0"/>
              </a:spcAft>
              <a:buChar char="•"/>
              <a:tabLst>
                <a:tab pos="271463" algn="l"/>
              </a:tabLst>
              <a:defRPr sz="2400">
                <a:solidFill>
                  <a:schemeClr val="tx1"/>
                </a:solidFill>
                <a:latin typeface="+mn-lt"/>
              </a:defRPr>
            </a:lvl8pPr>
            <a:lvl9pPr marL="2813050" indent="-177800" algn="l" rtl="0" fontAlgn="base">
              <a:lnSpc>
                <a:spcPct val="90000"/>
              </a:lnSpc>
              <a:spcBef>
                <a:spcPct val="20000"/>
              </a:spcBef>
              <a:spcAft>
                <a:spcPct val="0"/>
              </a:spcAft>
              <a:buChar char="•"/>
              <a:tabLst>
                <a:tab pos="271463" algn="l"/>
              </a:tabLst>
              <a:defRPr sz="2400">
                <a:solidFill>
                  <a:schemeClr val="tx1"/>
                </a:solidFill>
                <a:latin typeface="+mn-lt"/>
              </a:defRPr>
            </a:lvl9pPr>
          </a:lstStyle>
          <a:p>
            <a:pPr marL="0" indent="0">
              <a:buFont typeface="Arial" pitchFamily="34" charset="0"/>
              <a:buNone/>
            </a:pPr>
            <a:endParaRPr lang="de-DE" sz="2000" kern="0" dirty="0"/>
          </a:p>
        </p:txBody>
      </p:sp>
      <p:pic>
        <p:nvPicPr>
          <p:cNvPr id="7" name="Grafik 6" descr="Ein Bild, das Seifenblasen, Flüssigkeitstropfen, Wasser, Farbigkeit enthält.&#10;&#10;KI-generierte Inhalte können fehlerhaft sein.">
            <a:extLst>
              <a:ext uri="{FF2B5EF4-FFF2-40B4-BE49-F238E27FC236}">
                <a16:creationId xmlns:a16="http://schemas.microsoft.com/office/drawing/2014/main" id="{DE0C329B-C120-2250-F108-9148240EDFC6}"/>
              </a:ext>
            </a:extLst>
          </p:cNvPr>
          <p:cNvPicPr>
            <a:picLocks noChangeAspect="1"/>
          </p:cNvPicPr>
          <p:nvPr/>
        </p:nvPicPr>
        <p:blipFill>
          <a:blip r:embed="rId2" cstate="print">
            <a:extLst>
              <a:ext uri="{28A0092B-C50C-407E-A947-70E740481C1C}">
                <a14:useLocalDpi xmlns:a14="http://schemas.microsoft.com/office/drawing/2010/main" val="0"/>
              </a:ext>
            </a:extLst>
          </a:blip>
          <a:srcRect t="8587" b="15612"/>
          <a:stretch/>
        </p:blipFill>
        <p:spPr>
          <a:xfrm>
            <a:off x="6167817" y="1275125"/>
            <a:ext cx="5613055" cy="3342007"/>
          </a:xfrm>
          <a:prstGeom prst="rect">
            <a:avLst/>
          </a:prstGeom>
        </p:spPr>
      </p:pic>
      <p:sp>
        <p:nvSpPr>
          <p:cNvPr id="8" name="Textfeld 7">
            <a:extLst>
              <a:ext uri="{FF2B5EF4-FFF2-40B4-BE49-F238E27FC236}">
                <a16:creationId xmlns:a16="http://schemas.microsoft.com/office/drawing/2014/main" id="{0B45119E-A71F-DDD2-71DD-0AF36EA83ECA}"/>
              </a:ext>
            </a:extLst>
          </p:cNvPr>
          <p:cNvSpPr txBox="1"/>
          <p:nvPr/>
        </p:nvSpPr>
        <p:spPr>
          <a:xfrm>
            <a:off x="1014212" y="5107176"/>
            <a:ext cx="11021838" cy="538609"/>
          </a:xfrm>
          <a:prstGeom prst="rect">
            <a:avLst/>
          </a:prstGeom>
          <a:noFill/>
        </p:spPr>
        <p:txBody>
          <a:bodyPr wrap="square" lIns="0" tIns="0" rIns="0" bIns="0" rtlCol="0">
            <a:spAutoFit/>
          </a:bodyPr>
          <a:lstStyle/>
          <a:p>
            <a:pPr algn="l">
              <a:tabLst>
                <a:tab pos="5738813" algn="l"/>
              </a:tabLst>
            </a:pPr>
            <a:r>
              <a:rPr lang="de-DE" sz="1500" dirty="0"/>
              <a:t>	</a:t>
            </a:r>
          </a:p>
          <a:p>
            <a:pPr algn="l">
              <a:tabLst>
                <a:tab pos="5738813" algn="l"/>
              </a:tabLst>
            </a:pPr>
            <a:r>
              <a:rPr lang="de-DE" sz="2000" dirty="0"/>
              <a:t>PFAS-free additives – ORGANOCLAY TYPE-C &amp; ORGANOCLAY TYPE-G, wax &amp; other products	</a:t>
            </a:r>
          </a:p>
        </p:txBody>
      </p:sp>
      <p:pic>
        <p:nvPicPr>
          <p:cNvPr id="12" name="Grafik 11" descr="Ein Bild, das Kreis, Farbigkeit, Kugel, Kreativität enthält.&#10;&#10;KI-generierte Inhalte können fehlerhaft sein.">
            <a:extLst>
              <a:ext uri="{FF2B5EF4-FFF2-40B4-BE49-F238E27FC236}">
                <a16:creationId xmlns:a16="http://schemas.microsoft.com/office/drawing/2014/main" id="{2BAA81D0-597A-CEC3-0F5D-3F5169C410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5340" y="4977172"/>
            <a:ext cx="762174" cy="762174"/>
          </a:xfrm>
          <a:prstGeom prst="rect">
            <a:avLst/>
          </a:prstGeom>
        </p:spPr>
      </p:pic>
      <p:sp>
        <p:nvSpPr>
          <p:cNvPr id="4" name="Footer Placeholder 3">
            <a:extLst>
              <a:ext uri="{FF2B5EF4-FFF2-40B4-BE49-F238E27FC236}">
                <a16:creationId xmlns:a16="http://schemas.microsoft.com/office/drawing/2014/main" id="{8D2D814D-99E9-D53C-4B64-34DB8A2A2619}"/>
              </a:ext>
            </a:extLst>
          </p:cNvPr>
          <p:cNvSpPr>
            <a:spLocks noGrp="1"/>
          </p:cNvSpPr>
          <p:nvPr>
            <p:ph type="ftr" sz="quarter" idx="11"/>
          </p:nvPr>
        </p:nvSpPr>
        <p:spPr/>
        <p:txBody>
          <a:bodyPr/>
          <a:lstStyle/>
          <a:p>
            <a:r>
              <a:rPr lang="en-US"/>
              <a:t>Achieving robust textures with PTFE-free additives</a:t>
            </a:r>
            <a:endParaRPr lang="de-DE" dirty="0"/>
          </a:p>
        </p:txBody>
      </p:sp>
    </p:spTree>
    <p:extLst>
      <p:ext uri="{BB962C8B-B14F-4D97-AF65-F5344CB8AC3E}">
        <p14:creationId xmlns:p14="http://schemas.microsoft.com/office/powerpoint/2010/main" val="12964034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F4B56-B9F4-0131-2765-D1C499DD28DD}"/>
              </a:ext>
            </a:extLst>
          </p:cNvPr>
          <p:cNvSpPr>
            <a:spLocks noGrp="1"/>
          </p:cNvSpPr>
          <p:nvPr>
            <p:ph type="title"/>
          </p:nvPr>
        </p:nvSpPr>
        <p:spPr>
          <a:xfrm>
            <a:off x="407987" y="188913"/>
            <a:ext cx="11376026" cy="1008062"/>
          </a:xfrm>
        </p:spPr>
        <p:txBody>
          <a:bodyPr wrap="square" anchor="t">
            <a:normAutofit/>
          </a:bodyPr>
          <a:lstStyle/>
          <a:p>
            <a:r>
              <a:rPr lang="en-US" dirty="0"/>
              <a:t>Functional Role of PTFE in Powder Coatings</a:t>
            </a:r>
            <a:br>
              <a:rPr lang="en-US" dirty="0"/>
            </a:br>
            <a:endParaRPr lang="en-US" dirty="0"/>
          </a:p>
        </p:txBody>
      </p:sp>
      <p:sp>
        <p:nvSpPr>
          <p:cNvPr id="4" name="Date Placeholder 3">
            <a:extLst>
              <a:ext uri="{FF2B5EF4-FFF2-40B4-BE49-F238E27FC236}">
                <a16:creationId xmlns:a16="http://schemas.microsoft.com/office/drawing/2014/main" id="{0F680418-F26B-2DDA-BEF3-94E37A5D4C0E}"/>
              </a:ext>
            </a:extLst>
          </p:cNvPr>
          <p:cNvSpPr>
            <a:spLocks noGrp="1"/>
          </p:cNvSpPr>
          <p:nvPr>
            <p:ph type="dt" sz="half" idx="10"/>
          </p:nvPr>
        </p:nvSpPr>
        <p:spPr>
          <a:xfrm>
            <a:off x="1127448" y="6513439"/>
            <a:ext cx="792088" cy="144000"/>
          </a:xfrm>
        </p:spPr>
        <p:txBody>
          <a:bodyPr wrap="square" anchor="t">
            <a:normAutofit/>
          </a:bodyPr>
          <a:lstStyle/>
          <a:p>
            <a:r>
              <a:rPr lang="en-US"/>
              <a:t>September 2025</a:t>
            </a:r>
            <a:endParaRPr lang="en-US" dirty="0"/>
          </a:p>
        </p:txBody>
      </p:sp>
      <p:sp>
        <p:nvSpPr>
          <p:cNvPr id="5" name="Footer Placeholder 4">
            <a:extLst>
              <a:ext uri="{FF2B5EF4-FFF2-40B4-BE49-F238E27FC236}">
                <a16:creationId xmlns:a16="http://schemas.microsoft.com/office/drawing/2014/main" id="{B9CDABDB-C373-721A-819D-4D123A4379CE}"/>
              </a:ext>
            </a:extLst>
          </p:cNvPr>
          <p:cNvSpPr>
            <a:spLocks noGrp="1"/>
          </p:cNvSpPr>
          <p:nvPr>
            <p:ph type="ftr" sz="quarter" idx="11"/>
          </p:nvPr>
        </p:nvSpPr>
        <p:spPr>
          <a:xfrm>
            <a:off x="1992796" y="6513440"/>
            <a:ext cx="8207660" cy="144000"/>
          </a:xfrm>
        </p:spPr>
        <p:txBody>
          <a:bodyPr wrap="square" anchor="t">
            <a:normAutofit/>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FADD0996-ECC4-9BD8-C250-43BB88630DA4}"/>
              </a:ext>
            </a:extLst>
          </p:cNvPr>
          <p:cNvSpPr>
            <a:spLocks noGrp="1"/>
          </p:cNvSpPr>
          <p:nvPr>
            <p:ph type="sldNum" sz="quarter" idx="12"/>
          </p:nvPr>
        </p:nvSpPr>
        <p:spPr>
          <a:xfrm>
            <a:off x="407368" y="6513439"/>
            <a:ext cx="620466" cy="144000"/>
          </a:xfrm>
        </p:spPr>
        <p:txBody>
          <a:bodyPr wrap="square" anchor="t">
            <a:normAutofit/>
          </a:bodyPr>
          <a:lstStyle/>
          <a:p>
            <a:pPr>
              <a:spcAft>
                <a:spcPts val="600"/>
              </a:spcAft>
            </a:pPr>
            <a:r>
              <a:rPr lang="de-DE"/>
              <a:t>Page </a:t>
            </a:r>
            <a:fld id="{8F63C9D9-3015-4EB3-9DF0-04DE0400ED04}" type="slidenum">
              <a:rPr smtClean="0"/>
              <a:pPr>
                <a:spcAft>
                  <a:spcPts val="600"/>
                </a:spcAft>
              </a:pPr>
              <a:t>7</a:t>
            </a:fld>
            <a:endParaRPr lang="en-US"/>
          </a:p>
        </p:txBody>
      </p:sp>
      <p:graphicFrame>
        <p:nvGraphicFramePr>
          <p:cNvPr id="9" name="Rectangle 1">
            <a:extLst>
              <a:ext uri="{FF2B5EF4-FFF2-40B4-BE49-F238E27FC236}">
                <a16:creationId xmlns:a16="http://schemas.microsoft.com/office/drawing/2014/main" id="{085BA72B-C3CA-DF2D-C816-2B88B597A222}"/>
              </a:ext>
            </a:extLst>
          </p:cNvPr>
          <p:cNvGraphicFramePr>
            <a:graphicFrameLocks noGrp="1"/>
          </p:cNvGraphicFramePr>
          <p:nvPr>
            <p:ph idx="1"/>
            <p:extLst>
              <p:ext uri="{D42A27DB-BD31-4B8C-83A1-F6EECF244321}">
                <p14:modId xmlns:p14="http://schemas.microsoft.com/office/powerpoint/2010/main" val="3745004058"/>
              </p:ext>
            </p:extLst>
          </p:nvPr>
        </p:nvGraphicFramePr>
        <p:xfrm>
          <a:off x="407368" y="1201738"/>
          <a:ext cx="11376646" cy="51069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551811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056A28-80F7-E6B3-CF87-0AC6B6BF838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4F9E719-9FD8-F702-02EF-0CCCD40E2E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think-cell data - do not delete" hidden="1">
                        <a:extLst>
                          <a:ext uri="{FF2B5EF4-FFF2-40B4-BE49-F238E27FC236}">
                            <a16:creationId xmlns:a16="http://schemas.microsoft.com/office/drawing/2014/main" id="{44F9E719-9FD8-F702-02EF-0CCCD40E2E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346" name="Rectangle 2">
            <a:extLst>
              <a:ext uri="{FF2B5EF4-FFF2-40B4-BE49-F238E27FC236}">
                <a16:creationId xmlns:a16="http://schemas.microsoft.com/office/drawing/2014/main" id="{46B473F0-8B1E-5A41-D916-038E0B762E69}"/>
              </a:ext>
            </a:extLst>
          </p:cNvPr>
          <p:cNvSpPr>
            <a:spLocks noGrp="1" noChangeArrowheads="1"/>
          </p:cNvSpPr>
          <p:nvPr>
            <p:ph type="title"/>
          </p:nvPr>
        </p:nvSpPr>
        <p:spPr>
          <a:xfrm>
            <a:off x="407987" y="188913"/>
            <a:ext cx="11376026" cy="1008062"/>
          </a:xfrm>
        </p:spPr>
        <p:txBody>
          <a:bodyPr vert="horz"/>
          <a:lstStyle/>
          <a:p>
            <a:r>
              <a:rPr lang="en-US" dirty="0"/>
              <a:t>Our current PTFE-free solutions</a:t>
            </a:r>
            <a:br>
              <a:rPr lang="en-US" dirty="0"/>
            </a:br>
            <a:r>
              <a:rPr lang="en-US" b="0" dirty="0"/>
              <a:t>Slip/Scratch Additive and Modified PE/WAX</a:t>
            </a:r>
            <a:endParaRPr lang="en-US" b="0" kern="0" dirty="0"/>
          </a:p>
        </p:txBody>
      </p:sp>
      <p:sp>
        <p:nvSpPr>
          <p:cNvPr id="10" name="Freihandform: Form 9">
            <a:extLst>
              <a:ext uri="{FF2B5EF4-FFF2-40B4-BE49-F238E27FC236}">
                <a16:creationId xmlns:a16="http://schemas.microsoft.com/office/drawing/2014/main" id="{DD2837E5-DB8E-AF6E-5A79-131E154A4D5C}"/>
              </a:ext>
            </a:extLst>
          </p:cNvPr>
          <p:cNvSpPr>
            <a:spLocks noChangeAspect="1"/>
          </p:cNvSpPr>
          <p:nvPr/>
        </p:nvSpPr>
        <p:spPr>
          <a:xfrm rot="12456207">
            <a:off x="8741032" y="376746"/>
            <a:ext cx="3164127" cy="6260550"/>
          </a:xfrm>
          <a:custGeom>
            <a:avLst/>
            <a:gdLst>
              <a:gd name="connsiteX0" fmla="*/ 5002445 w 5002445"/>
              <a:gd name="connsiteY0" fmla="*/ 5372063 h 6763397"/>
              <a:gd name="connsiteX1" fmla="*/ 3249139 w 5002445"/>
              <a:gd name="connsiteY1" fmla="*/ 6763397 h 6763397"/>
              <a:gd name="connsiteX2" fmla="*/ 3211242 w 5002445"/>
              <a:gd name="connsiteY2" fmla="*/ 6754119 h 6763397"/>
              <a:gd name="connsiteX3" fmla="*/ 2751334 w 5002445"/>
              <a:gd name="connsiteY3" fmla="*/ 6613380 h 6763397"/>
              <a:gd name="connsiteX4" fmla="*/ 766573 w 5002445"/>
              <a:gd name="connsiteY4" fmla="*/ 5287092 h 6763397"/>
              <a:gd name="connsiteX5" fmla="*/ 1116 w 5002445"/>
              <a:gd name="connsiteY5" fmla="*/ 2577788 h 6763397"/>
              <a:gd name="connsiteX6" fmla="*/ 264361 w 5002445"/>
              <a:gd name="connsiteY6" fmla="*/ 561585 h 6763397"/>
              <a:gd name="connsiteX7" fmla="*/ 317749 w 5002445"/>
              <a:gd name="connsiteY7" fmla="*/ 334643 h 6763397"/>
              <a:gd name="connsiteX8" fmla="*/ 739454 w 5002445"/>
              <a:gd name="connsiteY8" fmla="*/ 0 h 6763397"/>
              <a:gd name="connsiteX0" fmla="*/ 5002445 w 5093885"/>
              <a:gd name="connsiteY0" fmla="*/ 5372063 h 6763397"/>
              <a:gd name="connsiteX1" fmla="*/ 3249139 w 5093885"/>
              <a:gd name="connsiteY1" fmla="*/ 6763397 h 6763397"/>
              <a:gd name="connsiteX2" fmla="*/ 3211242 w 5093885"/>
              <a:gd name="connsiteY2" fmla="*/ 6754119 h 6763397"/>
              <a:gd name="connsiteX3" fmla="*/ 2751334 w 5093885"/>
              <a:gd name="connsiteY3" fmla="*/ 6613380 h 6763397"/>
              <a:gd name="connsiteX4" fmla="*/ 766573 w 5093885"/>
              <a:gd name="connsiteY4" fmla="*/ 5287092 h 6763397"/>
              <a:gd name="connsiteX5" fmla="*/ 1116 w 5093885"/>
              <a:gd name="connsiteY5" fmla="*/ 2577788 h 6763397"/>
              <a:gd name="connsiteX6" fmla="*/ 264361 w 5093885"/>
              <a:gd name="connsiteY6" fmla="*/ 561585 h 6763397"/>
              <a:gd name="connsiteX7" fmla="*/ 317749 w 5093885"/>
              <a:gd name="connsiteY7" fmla="*/ 334643 h 6763397"/>
              <a:gd name="connsiteX8" fmla="*/ 739454 w 5093885"/>
              <a:gd name="connsiteY8" fmla="*/ 0 h 6763397"/>
              <a:gd name="connsiteX9" fmla="*/ 5093885 w 5093885"/>
              <a:gd name="connsiteY9" fmla="*/ 5463503 h 6763397"/>
              <a:gd name="connsiteX0" fmla="*/ 5002445 w 5002445"/>
              <a:gd name="connsiteY0" fmla="*/ 5372063 h 6763397"/>
              <a:gd name="connsiteX1" fmla="*/ 3249139 w 5002445"/>
              <a:gd name="connsiteY1" fmla="*/ 6763397 h 6763397"/>
              <a:gd name="connsiteX2" fmla="*/ 3211242 w 5002445"/>
              <a:gd name="connsiteY2" fmla="*/ 6754119 h 6763397"/>
              <a:gd name="connsiteX3" fmla="*/ 2751334 w 5002445"/>
              <a:gd name="connsiteY3" fmla="*/ 6613380 h 6763397"/>
              <a:gd name="connsiteX4" fmla="*/ 766573 w 5002445"/>
              <a:gd name="connsiteY4" fmla="*/ 5287092 h 6763397"/>
              <a:gd name="connsiteX5" fmla="*/ 1116 w 5002445"/>
              <a:gd name="connsiteY5" fmla="*/ 2577788 h 6763397"/>
              <a:gd name="connsiteX6" fmla="*/ 264361 w 5002445"/>
              <a:gd name="connsiteY6" fmla="*/ 561585 h 6763397"/>
              <a:gd name="connsiteX7" fmla="*/ 317749 w 5002445"/>
              <a:gd name="connsiteY7" fmla="*/ 334643 h 6763397"/>
              <a:gd name="connsiteX8" fmla="*/ 739454 w 5002445"/>
              <a:gd name="connsiteY8" fmla="*/ 0 h 6763397"/>
              <a:gd name="connsiteX0" fmla="*/ 3249139 w 3249139"/>
              <a:gd name="connsiteY0" fmla="*/ 6763397 h 6763397"/>
              <a:gd name="connsiteX1" fmla="*/ 3211242 w 3249139"/>
              <a:gd name="connsiteY1" fmla="*/ 6754119 h 6763397"/>
              <a:gd name="connsiteX2" fmla="*/ 2751334 w 3249139"/>
              <a:gd name="connsiteY2" fmla="*/ 6613380 h 6763397"/>
              <a:gd name="connsiteX3" fmla="*/ 766573 w 3249139"/>
              <a:gd name="connsiteY3" fmla="*/ 5287092 h 6763397"/>
              <a:gd name="connsiteX4" fmla="*/ 1116 w 3249139"/>
              <a:gd name="connsiteY4" fmla="*/ 2577788 h 6763397"/>
              <a:gd name="connsiteX5" fmla="*/ 264361 w 3249139"/>
              <a:gd name="connsiteY5" fmla="*/ 561585 h 6763397"/>
              <a:gd name="connsiteX6" fmla="*/ 317749 w 3249139"/>
              <a:gd name="connsiteY6" fmla="*/ 334643 h 6763397"/>
              <a:gd name="connsiteX7" fmla="*/ 739454 w 3249139"/>
              <a:gd name="connsiteY7" fmla="*/ 0 h 6763397"/>
              <a:gd name="connsiteX0" fmla="*/ 3249139 w 3249139"/>
              <a:gd name="connsiteY0" fmla="*/ 6428754 h 6428754"/>
              <a:gd name="connsiteX1" fmla="*/ 3211242 w 3249139"/>
              <a:gd name="connsiteY1" fmla="*/ 6419476 h 6428754"/>
              <a:gd name="connsiteX2" fmla="*/ 2751334 w 3249139"/>
              <a:gd name="connsiteY2" fmla="*/ 6278737 h 6428754"/>
              <a:gd name="connsiteX3" fmla="*/ 766573 w 3249139"/>
              <a:gd name="connsiteY3" fmla="*/ 4952449 h 6428754"/>
              <a:gd name="connsiteX4" fmla="*/ 1116 w 3249139"/>
              <a:gd name="connsiteY4" fmla="*/ 2243145 h 6428754"/>
              <a:gd name="connsiteX5" fmla="*/ 264361 w 3249139"/>
              <a:gd name="connsiteY5" fmla="*/ 226942 h 6428754"/>
              <a:gd name="connsiteX6" fmla="*/ 317749 w 3249139"/>
              <a:gd name="connsiteY6" fmla="*/ 0 h 642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9139" h="6428754">
                <a:moveTo>
                  <a:pt x="3249139" y="6428754"/>
                </a:moveTo>
                <a:lnTo>
                  <a:pt x="3211242" y="6419476"/>
                </a:lnTo>
                <a:cubicBezTo>
                  <a:pt x="3040693" y="6375327"/>
                  <a:pt x="2886551" y="6328062"/>
                  <a:pt x="2751334" y="6278737"/>
                </a:cubicBezTo>
                <a:cubicBezTo>
                  <a:pt x="2030179" y="6015670"/>
                  <a:pt x="1250044" y="5566480"/>
                  <a:pt x="766573" y="4952449"/>
                </a:cubicBezTo>
                <a:cubicBezTo>
                  <a:pt x="283103" y="4338418"/>
                  <a:pt x="-20847" y="3380348"/>
                  <a:pt x="1116" y="2243145"/>
                </a:cubicBezTo>
                <a:cubicBezTo>
                  <a:pt x="12097" y="1674544"/>
                  <a:pt x="107334" y="957535"/>
                  <a:pt x="264361" y="226942"/>
                </a:cubicBezTo>
                <a:lnTo>
                  <a:pt x="317749" y="0"/>
                </a:ln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a:p>
        </p:txBody>
      </p:sp>
      <p:sp>
        <p:nvSpPr>
          <p:cNvPr id="11" name="Freihandform: Form 10">
            <a:extLst>
              <a:ext uri="{FF2B5EF4-FFF2-40B4-BE49-F238E27FC236}">
                <a16:creationId xmlns:a16="http://schemas.microsoft.com/office/drawing/2014/main" id="{2368577C-F74C-CDA0-0513-E9E8D0740848}"/>
              </a:ext>
            </a:extLst>
          </p:cNvPr>
          <p:cNvSpPr>
            <a:spLocks noChangeAspect="1"/>
          </p:cNvSpPr>
          <p:nvPr/>
        </p:nvSpPr>
        <p:spPr>
          <a:xfrm rot="17207410">
            <a:off x="7264747" y="2725192"/>
            <a:ext cx="6752009" cy="1425589"/>
          </a:xfrm>
          <a:custGeom>
            <a:avLst/>
            <a:gdLst>
              <a:gd name="connsiteX0" fmla="*/ 6565637 w 7187062"/>
              <a:gd name="connsiteY0" fmla="*/ 0 h 3485125"/>
              <a:gd name="connsiteX1" fmla="*/ 7187062 w 7187062"/>
              <a:gd name="connsiteY1" fmla="*/ 2059536 h 3485125"/>
              <a:gd name="connsiteX2" fmla="*/ 7184213 w 7187062"/>
              <a:gd name="connsiteY2" fmla="*/ 2061489 h 3485125"/>
              <a:gd name="connsiteX3" fmla="*/ 5630930 w 7187062"/>
              <a:gd name="connsiteY3" fmla="*/ 2808636 h 3485125"/>
              <a:gd name="connsiteX4" fmla="*/ 1885690 w 7187062"/>
              <a:gd name="connsiteY4" fmla="*/ 3484378 h 3485125"/>
              <a:gd name="connsiteX5" fmla="*/ 600668 w 7187062"/>
              <a:gd name="connsiteY5" fmla="*/ 3438254 h 3485125"/>
              <a:gd name="connsiteX6" fmla="*/ 435053 w 7187062"/>
              <a:gd name="connsiteY6" fmla="*/ 3422914 h 3485125"/>
              <a:gd name="connsiteX7" fmla="*/ 0 w 7187062"/>
              <a:gd name="connsiteY7" fmla="*/ 1981053 h 3485125"/>
              <a:gd name="connsiteX0" fmla="*/ 6565637 w 7187062"/>
              <a:gd name="connsiteY0" fmla="*/ 0 h 3485125"/>
              <a:gd name="connsiteX1" fmla="*/ 7187062 w 7187062"/>
              <a:gd name="connsiteY1" fmla="*/ 2059536 h 3485125"/>
              <a:gd name="connsiteX2" fmla="*/ 7184213 w 7187062"/>
              <a:gd name="connsiteY2" fmla="*/ 2061489 h 3485125"/>
              <a:gd name="connsiteX3" fmla="*/ 5630930 w 7187062"/>
              <a:gd name="connsiteY3" fmla="*/ 2808636 h 3485125"/>
              <a:gd name="connsiteX4" fmla="*/ 1885690 w 7187062"/>
              <a:gd name="connsiteY4" fmla="*/ 3484378 h 3485125"/>
              <a:gd name="connsiteX5" fmla="*/ 600668 w 7187062"/>
              <a:gd name="connsiteY5" fmla="*/ 3438254 h 3485125"/>
              <a:gd name="connsiteX6" fmla="*/ 435053 w 7187062"/>
              <a:gd name="connsiteY6" fmla="*/ 3422914 h 3485125"/>
              <a:gd name="connsiteX7" fmla="*/ 0 w 7187062"/>
              <a:gd name="connsiteY7" fmla="*/ 1981053 h 3485125"/>
              <a:gd name="connsiteX8" fmla="*/ 6657077 w 7187062"/>
              <a:gd name="connsiteY8" fmla="*/ 91440 h 3485125"/>
              <a:gd name="connsiteX0" fmla="*/ 6565637 w 7187062"/>
              <a:gd name="connsiteY0" fmla="*/ 0 h 3485125"/>
              <a:gd name="connsiteX1" fmla="*/ 7187062 w 7187062"/>
              <a:gd name="connsiteY1" fmla="*/ 2059536 h 3485125"/>
              <a:gd name="connsiteX2" fmla="*/ 7184213 w 7187062"/>
              <a:gd name="connsiteY2" fmla="*/ 2061489 h 3485125"/>
              <a:gd name="connsiteX3" fmla="*/ 5630930 w 7187062"/>
              <a:gd name="connsiteY3" fmla="*/ 2808636 h 3485125"/>
              <a:gd name="connsiteX4" fmla="*/ 1885690 w 7187062"/>
              <a:gd name="connsiteY4" fmla="*/ 3484378 h 3485125"/>
              <a:gd name="connsiteX5" fmla="*/ 600668 w 7187062"/>
              <a:gd name="connsiteY5" fmla="*/ 3438254 h 3485125"/>
              <a:gd name="connsiteX6" fmla="*/ 435053 w 7187062"/>
              <a:gd name="connsiteY6" fmla="*/ 3422914 h 3485125"/>
              <a:gd name="connsiteX7" fmla="*/ 0 w 7187062"/>
              <a:gd name="connsiteY7" fmla="*/ 1981053 h 3485125"/>
              <a:gd name="connsiteX0" fmla="*/ 7187062 w 7187062"/>
              <a:gd name="connsiteY0" fmla="*/ 78483 h 1504072"/>
              <a:gd name="connsiteX1" fmla="*/ 7184213 w 7187062"/>
              <a:gd name="connsiteY1" fmla="*/ 80436 h 1504072"/>
              <a:gd name="connsiteX2" fmla="*/ 5630930 w 7187062"/>
              <a:gd name="connsiteY2" fmla="*/ 827583 h 1504072"/>
              <a:gd name="connsiteX3" fmla="*/ 1885690 w 7187062"/>
              <a:gd name="connsiteY3" fmla="*/ 1503325 h 1504072"/>
              <a:gd name="connsiteX4" fmla="*/ 600668 w 7187062"/>
              <a:gd name="connsiteY4" fmla="*/ 1457201 h 1504072"/>
              <a:gd name="connsiteX5" fmla="*/ 435053 w 7187062"/>
              <a:gd name="connsiteY5" fmla="*/ 1441861 h 1504072"/>
              <a:gd name="connsiteX6" fmla="*/ 0 w 7187062"/>
              <a:gd name="connsiteY6" fmla="*/ 0 h 1504072"/>
              <a:gd name="connsiteX0" fmla="*/ 6752009 w 6752009"/>
              <a:gd name="connsiteY0" fmla="*/ 0 h 1425589"/>
              <a:gd name="connsiteX1" fmla="*/ 6749160 w 6752009"/>
              <a:gd name="connsiteY1" fmla="*/ 1953 h 1425589"/>
              <a:gd name="connsiteX2" fmla="*/ 5195877 w 6752009"/>
              <a:gd name="connsiteY2" fmla="*/ 749100 h 1425589"/>
              <a:gd name="connsiteX3" fmla="*/ 1450637 w 6752009"/>
              <a:gd name="connsiteY3" fmla="*/ 1424842 h 1425589"/>
              <a:gd name="connsiteX4" fmla="*/ 165615 w 6752009"/>
              <a:gd name="connsiteY4" fmla="*/ 1378718 h 1425589"/>
              <a:gd name="connsiteX5" fmla="*/ 0 w 6752009"/>
              <a:gd name="connsiteY5" fmla="*/ 1363378 h 142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2009" h="1425589">
                <a:moveTo>
                  <a:pt x="6752009" y="0"/>
                </a:moveTo>
                <a:lnTo>
                  <a:pt x="6749160" y="1953"/>
                </a:lnTo>
                <a:cubicBezTo>
                  <a:pt x="6332169" y="272246"/>
                  <a:pt x="5831038" y="520979"/>
                  <a:pt x="5195877" y="749100"/>
                </a:cubicBezTo>
                <a:cubicBezTo>
                  <a:pt x="4179620" y="1114095"/>
                  <a:pt x="2883339" y="1410034"/>
                  <a:pt x="1450637" y="1424842"/>
                </a:cubicBezTo>
                <a:cubicBezTo>
                  <a:pt x="1002918" y="1429469"/>
                  <a:pt x="570644" y="1412442"/>
                  <a:pt x="165615" y="1378718"/>
                </a:cubicBezTo>
                <a:lnTo>
                  <a:pt x="0" y="1363378"/>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a:p>
        </p:txBody>
      </p:sp>
      <p:sp>
        <p:nvSpPr>
          <p:cNvPr id="3" name="Freihandform: Form 2">
            <a:extLst>
              <a:ext uri="{FF2B5EF4-FFF2-40B4-BE49-F238E27FC236}">
                <a16:creationId xmlns:a16="http://schemas.microsoft.com/office/drawing/2014/main" id="{B62084C0-A14B-F04A-60D4-14B09AEAB446}"/>
              </a:ext>
            </a:extLst>
          </p:cNvPr>
          <p:cNvSpPr/>
          <p:nvPr/>
        </p:nvSpPr>
        <p:spPr bwMode="auto">
          <a:xfrm>
            <a:off x="10299241" y="786921"/>
            <a:ext cx="1741954" cy="1634778"/>
          </a:xfrm>
          <a:custGeom>
            <a:avLst/>
            <a:gdLst>
              <a:gd name="connsiteX0" fmla="*/ 944887 w 2404657"/>
              <a:gd name="connsiteY0" fmla="*/ 292 h 2346900"/>
              <a:gd name="connsiteX1" fmla="*/ 1040225 w 2404657"/>
              <a:gd name="connsiteY1" fmla="*/ 5661 h 2346900"/>
              <a:gd name="connsiteX2" fmla="*/ 1537828 w 2404657"/>
              <a:gd name="connsiteY2" fmla="*/ 93280 h 2346900"/>
              <a:gd name="connsiteX3" fmla="*/ 2034621 w 2404657"/>
              <a:gd name="connsiteY3" fmla="*/ 309757 h 2346900"/>
              <a:gd name="connsiteX4" fmla="*/ 2327605 w 2404657"/>
              <a:gd name="connsiteY4" fmla="*/ 579026 h 2346900"/>
              <a:gd name="connsiteX5" fmla="*/ 2403437 w 2404657"/>
              <a:gd name="connsiteY5" fmla="*/ 900389 h 2346900"/>
              <a:gd name="connsiteX6" fmla="*/ 2282652 w 2404657"/>
              <a:gd name="connsiteY6" fmla="*/ 1335359 h 2346900"/>
              <a:gd name="connsiteX7" fmla="*/ 1899094 w 2404657"/>
              <a:gd name="connsiteY7" fmla="*/ 1887796 h 2346900"/>
              <a:gd name="connsiteX8" fmla="*/ 1412340 w 2404657"/>
              <a:gd name="connsiteY8" fmla="*/ 2260003 h 2346900"/>
              <a:gd name="connsiteX9" fmla="*/ 1100120 w 2404657"/>
              <a:gd name="connsiteY9" fmla="*/ 2345369 h 2346900"/>
              <a:gd name="connsiteX10" fmla="*/ 993653 w 2404657"/>
              <a:gd name="connsiteY10" fmla="*/ 2343268 h 2346900"/>
              <a:gd name="connsiteX11" fmla="*/ 554265 w 2404657"/>
              <a:gd name="connsiteY11" fmla="*/ 2097466 h 2346900"/>
              <a:gd name="connsiteX12" fmla="*/ 147514 w 2404657"/>
              <a:gd name="connsiteY12" fmla="*/ 1463801 h 2346900"/>
              <a:gd name="connsiteX13" fmla="*/ 731 w 2404657"/>
              <a:gd name="connsiteY13" fmla="*/ 760501 h 2346900"/>
              <a:gd name="connsiteX14" fmla="*/ 197201 w 2404657"/>
              <a:gd name="connsiteY14" fmla="*/ 248289 h 2346900"/>
              <a:gd name="connsiteX15" fmla="*/ 675013 w 2404657"/>
              <a:gd name="connsiteY15" fmla="*/ 22628 h 2346900"/>
              <a:gd name="connsiteX16" fmla="*/ 944887 w 2404657"/>
              <a:gd name="connsiteY16" fmla="*/ 292 h 234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4657" h="2346900">
                <a:moveTo>
                  <a:pt x="944887" y="292"/>
                </a:moveTo>
                <a:cubicBezTo>
                  <a:pt x="973426" y="949"/>
                  <a:pt x="1004274" y="2717"/>
                  <a:pt x="1040225" y="5661"/>
                </a:cubicBezTo>
                <a:cubicBezTo>
                  <a:pt x="1184028" y="17436"/>
                  <a:pt x="1363276" y="36456"/>
                  <a:pt x="1537828" y="93280"/>
                </a:cubicBezTo>
                <a:cubicBezTo>
                  <a:pt x="1781984" y="171522"/>
                  <a:pt x="1902992" y="228799"/>
                  <a:pt x="2034621" y="309757"/>
                </a:cubicBezTo>
                <a:cubicBezTo>
                  <a:pt x="2166251" y="390715"/>
                  <a:pt x="2271490" y="496650"/>
                  <a:pt x="2327605" y="579026"/>
                </a:cubicBezTo>
                <a:cubicBezTo>
                  <a:pt x="2383719" y="661402"/>
                  <a:pt x="2410929" y="774333"/>
                  <a:pt x="2403437" y="900389"/>
                </a:cubicBezTo>
                <a:cubicBezTo>
                  <a:pt x="2395945" y="1026444"/>
                  <a:pt x="2364033" y="1162761"/>
                  <a:pt x="2282652" y="1335359"/>
                </a:cubicBezTo>
                <a:cubicBezTo>
                  <a:pt x="2201272" y="1507957"/>
                  <a:pt x="2076271" y="1706918"/>
                  <a:pt x="1899094" y="1887796"/>
                </a:cubicBezTo>
                <a:cubicBezTo>
                  <a:pt x="1721918" y="2068674"/>
                  <a:pt x="1536796" y="2202077"/>
                  <a:pt x="1412340" y="2260003"/>
                </a:cubicBezTo>
                <a:cubicBezTo>
                  <a:pt x="1318998" y="2303447"/>
                  <a:pt x="1208222" y="2337849"/>
                  <a:pt x="1100120" y="2345369"/>
                </a:cubicBezTo>
                <a:cubicBezTo>
                  <a:pt x="1064086" y="2347875"/>
                  <a:pt x="1028349" y="2347395"/>
                  <a:pt x="993653" y="2343268"/>
                </a:cubicBezTo>
                <a:cubicBezTo>
                  <a:pt x="854873" y="2326758"/>
                  <a:pt x="695289" y="2244044"/>
                  <a:pt x="554265" y="2097466"/>
                </a:cubicBezTo>
                <a:cubicBezTo>
                  <a:pt x="413241" y="1950888"/>
                  <a:pt x="239769" y="1686628"/>
                  <a:pt x="147514" y="1463801"/>
                </a:cubicBezTo>
                <a:cubicBezTo>
                  <a:pt x="55258" y="1240973"/>
                  <a:pt x="-7550" y="963086"/>
                  <a:pt x="731" y="760501"/>
                </a:cubicBezTo>
                <a:cubicBezTo>
                  <a:pt x="9013" y="557916"/>
                  <a:pt x="84820" y="371268"/>
                  <a:pt x="197201" y="248289"/>
                </a:cubicBezTo>
                <a:cubicBezTo>
                  <a:pt x="309580" y="125310"/>
                  <a:pt x="515769" y="44326"/>
                  <a:pt x="675013" y="22628"/>
                </a:cubicBezTo>
                <a:cubicBezTo>
                  <a:pt x="794445" y="6353"/>
                  <a:pt x="859272" y="-1678"/>
                  <a:pt x="944887" y="292"/>
                </a:cubicBezTo>
                <a:close/>
              </a:path>
            </a:pathLst>
          </a:custGeom>
          <a:solidFill>
            <a:schemeClr val="accent2"/>
          </a:solidFill>
          <a:ln w="6350" cap="flat" cmpd="sng" algn="ctr">
            <a:noFill/>
            <a:prstDash val="solid"/>
            <a:round/>
            <a:headEnd type="none" w="med" len="med"/>
            <a:tailEnd type="none" w="med" len="med"/>
          </a:ln>
          <a:effectLst>
            <a:outerShdw blurRad="63500" dist="38100" dir="2700000">
              <a:srgbClr val="000000">
                <a:alpha val="40000"/>
              </a:srgbClr>
            </a:outerShdw>
          </a:effectLst>
        </p:spPr>
        <p:txBody>
          <a:bodyPr vert="horz" wrap="square" lIns="122400" tIns="122400" rIns="122400" bIns="122400" numCol="1" rtlCol="0" anchor="ctr" anchorCtr="0" compatLnSpc="1">
            <a:prstTxWarp prst="textNoShape">
              <a:avLst/>
            </a:prstTxWarp>
            <a:noAutofit/>
          </a:bodyPr>
          <a:lstStyle/>
          <a:p>
            <a:r>
              <a:rPr lang="en-US" sz="2000" b="1" kern="0">
                <a:solidFill>
                  <a:schemeClr val="bg1"/>
                </a:solidFill>
              </a:rPr>
              <a:t>Scratch</a:t>
            </a:r>
          </a:p>
          <a:p>
            <a:r>
              <a:rPr lang="en-US" sz="2000" b="1" kern="0">
                <a:solidFill>
                  <a:schemeClr val="bg1"/>
                </a:solidFill>
              </a:rPr>
              <a:t>resistance</a:t>
            </a:r>
          </a:p>
          <a:p>
            <a:endParaRPr lang="en-US" sz="2000" b="1" kern="0">
              <a:solidFill>
                <a:schemeClr val="bg1"/>
              </a:solidFill>
            </a:endParaRPr>
          </a:p>
        </p:txBody>
      </p:sp>
      <p:pic>
        <p:nvPicPr>
          <p:cNvPr id="2" name="Grafik 1">
            <a:extLst>
              <a:ext uri="{FF2B5EF4-FFF2-40B4-BE49-F238E27FC236}">
                <a16:creationId xmlns:a16="http://schemas.microsoft.com/office/drawing/2014/main" id="{97B741C1-310D-835F-4EA8-DE778F2C7D9B}"/>
              </a:ext>
            </a:extLst>
          </p:cNvPr>
          <p:cNvPicPr>
            <a:picLocks noChangeAspect="1"/>
          </p:cNvPicPr>
          <p:nvPr/>
        </p:nvPicPr>
        <p:blipFill>
          <a:blip r:embed="rId6"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6274452" y="1604310"/>
            <a:ext cx="1888511" cy="3892299"/>
          </a:xfrm>
          <a:prstGeom prst="rect">
            <a:avLst/>
          </a:prstGeom>
          <a:ln>
            <a:noFill/>
          </a:ln>
          <a:effectLst>
            <a:outerShdw blurRad="292100" dist="139700" dir="2700000" algn="tl" rotWithShape="0">
              <a:srgbClr val="333333">
                <a:alpha val="65000"/>
              </a:srgbClr>
            </a:outerShdw>
          </a:effectLst>
        </p:spPr>
      </p:pic>
      <p:pic>
        <p:nvPicPr>
          <p:cNvPr id="9" name="Grafik 8">
            <a:extLst>
              <a:ext uri="{FF2B5EF4-FFF2-40B4-BE49-F238E27FC236}">
                <a16:creationId xmlns:a16="http://schemas.microsoft.com/office/drawing/2014/main" id="{01F0BC48-E194-5649-F665-94746566306F}"/>
              </a:ext>
            </a:extLst>
          </p:cNvPr>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333498" y="1604310"/>
            <a:ext cx="1902596" cy="3892299"/>
          </a:xfrm>
          <a:prstGeom prst="rect">
            <a:avLst/>
          </a:prstGeom>
          <a:ln>
            <a:noFill/>
          </a:ln>
          <a:effectLst>
            <a:outerShdw blurRad="292100" dist="139700" dir="2700000" algn="tl" rotWithShape="0">
              <a:srgbClr val="333333">
                <a:alpha val="65000"/>
              </a:srgbClr>
            </a:outerShdw>
          </a:effectLst>
        </p:spPr>
      </p:pic>
      <p:pic>
        <p:nvPicPr>
          <p:cNvPr id="63502" name="Grafik 63501">
            <a:extLst>
              <a:ext uri="{FF2B5EF4-FFF2-40B4-BE49-F238E27FC236}">
                <a16:creationId xmlns:a16="http://schemas.microsoft.com/office/drawing/2014/main" id="{B837251A-13AC-57A5-8736-3FD11DB2C7BD}"/>
              </a:ext>
            </a:extLst>
          </p:cNvPr>
          <p:cNvPicPr>
            <a:picLocks noChangeAspect="1"/>
          </p:cNvPicPr>
          <p:nvPr/>
        </p:nvPicPr>
        <p:blipFill>
          <a:blip r:embed="rId8" cstate="screen">
            <a:duotone>
              <a:prstClr val="black"/>
              <a:schemeClr val="accent1">
                <a:tint val="45000"/>
                <a:satMod val="400000"/>
              </a:schemeClr>
            </a:duotone>
            <a:extLst>
              <a:ext uri="{BEBA8EAE-BF5A-486C-A8C5-ECC9F3942E4B}">
                <a14:imgProps xmlns:a14="http://schemas.microsoft.com/office/drawing/2010/main">
                  <a14:imgLayer r:embed="rId9">
                    <a14:imgEffect>
                      <a14:saturation sat="200000"/>
                    </a14:imgEffect>
                  </a14:imgLayer>
                </a14:imgProps>
              </a:ext>
              <a:ext uri="{28A0092B-C50C-407E-A947-70E740481C1C}">
                <a14:useLocalDpi xmlns:a14="http://schemas.microsoft.com/office/drawing/2010/main"/>
              </a:ext>
            </a:extLst>
          </a:blip>
          <a:srcRect/>
          <a:stretch>
            <a:fillRect/>
          </a:stretch>
        </p:blipFill>
        <p:spPr bwMode="auto">
          <a:xfrm>
            <a:off x="8201321" y="1604310"/>
            <a:ext cx="1900585" cy="3892299"/>
          </a:xfrm>
          <a:prstGeom prst="rect">
            <a:avLst/>
          </a:prstGeom>
          <a:ln>
            <a:noFill/>
          </a:ln>
          <a:effectLst>
            <a:outerShdw blurRad="292100" dist="139700" dir="2700000" algn="tl" rotWithShape="0">
              <a:srgbClr val="333333">
                <a:alpha val="65000"/>
              </a:srgbClr>
            </a:outerShdw>
          </a:effectLst>
        </p:spPr>
      </p:pic>
      <p:pic>
        <p:nvPicPr>
          <p:cNvPr id="63497" name="Grafik 63496">
            <a:extLst>
              <a:ext uri="{FF2B5EF4-FFF2-40B4-BE49-F238E27FC236}">
                <a16:creationId xmlns:a16="http://schemas.microsoft.com/office/drawing/2014/main" id="{4C3FEF2E-229E-430F-7A41-EEEEBC1BA76A}"/>
              </a:ext>
            </a:extLst>
          </p:cNvPr>
          <p:cNvPicPr>
            <a:picLocks noChangeAspect="1"/>
          </p:cNvPicPr>
          <p:nvPr/>
        </p:nvPicPr>
        <p:blipFill>
          <a:blip r:embed="rId10"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2394555" y="1604310"/>
            <a:ext cx="1900585" cy="3892299"/>
          </a:xfrm>
          <a:prstGeom prst="rect">
            <a:avLst/>
          </a:prstGeom>
          <a:ln>
            <a:noFill/>
          </a:ln>
          <a:effectLst>
            <a:outerShdw blurRad="292100" dist="139700" dir="2700000" algn="tl" rotWithShape="0">
              <a:srgbClr val="333333">
                <a:alpha val="65000"/>
              </a:srgbClr>
            </a:outerShdw>
          </a:effectLst>
        </p:spPr>
      </p:pic>
      <p:pic>
        <p:nvPicPr>
          <p:cNvPr id="14" name="Grafik 13">
            <a:extLst>
              <a:ext uri="{FF2B5EF4-FFF2-40B4-BE49-F238E27FC236}">
                <a16:creationId xmlns:a16="http://schemas.microsoft.com/office/drawing/2014/main" id="{DA3C109D-7A8B-7BAD-6B03-3EAD5805C5D4}"/>
              </a:ext>
            </a:extLst>
          </p:cNvPr>
          <p:cNvPicPr>
            <a:picLocks noChangeAspect="1"/>
          </p:cNvPicPr>
          <p:nvPr/>
        </p:nvPicPr>
        <p:blipFill>
          <a:blip r:embed="rId11"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55612" y="1604310"/>
            <a:ext cx="1900585" cy="3892299"/>
          </a:xfrm>
          <a:prstGeom prst="rect">
            <a:avLst/>
          </a:prstGeom>
          <a:ln>
            <a:noFill/>
          </a:ln>
          <a:effectLst>
            <a:outerShdw blurRad="292100" dist="139700" dir="2700000" algn="tl" rotWithShape="0">
              <a:srgbClr val="333333">
                <a:alpha val="65000"/>
              </a:srgbClr>
            </a:outerShdw>
          </a:effectLst>
        </p:spPr>
      </p:pic>
      <p:grpSp>
        <p:nvGrpSpPr>
          <p:cNvPr id="15" name="Gruppieren 14">
            <a:extLst>
              <a:ext uri="{FF2B5EF4-FFF2-40B4-BE49-F238E27FC236}">
                <a16:creationId xmlns:a16="http://schemas.microsoft.com/office/drawing/2014/main" id="{330343BA-9077-7322-C901-D71C35F980A1}"/>
              </a:ext>
            </a:extLst>
          </p:cNvPr>
          <p:cNvGrpSpPr/>
          <p:nvPr/>
        </p:nvGrpSpPr>
        <p:grpSpPr>
          <a:xfrm>
            <a:off x="442738" y="1060855"/>
            <a:ext cx="9693672" cy="587140"/>
            <a:chOff x="351167" y="1294453"/>
            <a:chExt cx="11078771" cy="605987"/>
          </a:xfrm>
        </p:grpSpPr>
        <p:sp>
          <p:nvSpPr>
            <p:cNvPr id="24" name="Textfeld 23">
              <a:extLst>
                <a:ext uri="{FF2B5EF4-FFF2-40B4-BE49-F238E27FC236}">
                  <a16:creationId xmlns:a16="http://schemas.microsoft.com/office/drawing/2014/main" id="{574DE57C-D8F5-5920-3A9B-F060B08395A3}"/>
                </a:ext>
              </a:extLst>
            </p:cNvPr>
            <p:cNvSpPr txBox="1"/>
            <p:nvPr/>
          </p:nvSpPr>
          <p:spPr>
            <a:xfrm>
              <a:off x="351167" y="1294453"/>
              <a:ext cx="2204894" cy="598083"/>
            </a:xfrm>
            <a:prstGeom prst="rect">
              <a:avLst/>
            </a:prstGeom>
            <a:noFill/>
          </p:spPr>
          <p:txBody>
            <a:bodyPr wrap="none" rtlCol="0">
              <a:noAutofit/>
            </a:bodyPr>
            <a:lstStyle/>
            <a:p>
              <a:r>
                <a:rPr lang="en-US" b="1" dirty="0"/>
                <a:t>Control</a:t>
              </a:r>
            </a:p>
            <a:p>
              <a:endParaRPr lang="en-US" b="1" dirty="0"/>
            </a:p>
          </p:txBody>
        </p:sp>
        <p:sp>
          <p:nvSpPr>
            <p:cNvPr id="29" name="Textfeld 28">
              <a:extLst>
                <a:ext uri="{FF2B5EF4-FFF2-40B4-BE49-F238E27FC236}">
                  <a16:creationId xmlns:a16="http://schemas.microsoft.com/office/drawing/2014/main" id="{5D9B31EF-FE0E-4169-BD6C-3AE73EAFAC48}"/>
                </a:ext>
              </a:extLst>
            </p:cNvPr>
            <p:cNvSpPr txBox="1"/>
            <p:nvPr/>
          </p:nvSpPr>
          <p:spPr>
            <a:xfrm>
              <a:off x="2570403" y="1302357"/>
              <a:ext cx="2204894" cy="598083"/>
            </a:xfrm>
            <a:prstGeom prst="rect">
              <a:avLst/>
            </a:prstGeom>
            <a:noFill/>
          </p:spPr>
          <p:txBody>
            <a:bodyPr wrap="none" lIns="91440" tIns="45720" rIns="91440" bIns="45720" rtlCol="0" anchor="t">
              <a:noAutofit/>
            </a:bodyPr>
            <a:lstStyle/>
            <a:p>
              <a:r>
                <a:rPr lang="en-US" b="1" dirty="0">
                  <a:solidFill>
                    <a:schemeClr val="accent1">
                      <a:lumMod val="60000"/>
                      <a:lumOff val="40000"/>
                    </a:schemeClr>
                  </a:solidFill>
                  <a:latin typeface="Arial"/>
                  <a:cs typeface="Arial"/>
                </a:rPr>
                <a:t>2.0 % </a:t>
              </a:r>
            </a:p>
            <a:p>
              <a:r>
                <a:rPr lang="en-US" b="1" dirty="0">
                  <a:solidFill>
                    <a:schemeClr val="accent1">
                      <a:lumMod val="60000"/>
                      <a:lumOff val="40000"/>
                    </a:schemeClr>
                  </a:solidFill>
                  <a:latin typeface="Arial"/>
                  <a:cs typeface="Arial"/>
                </a:rPr>
                <a:t>PTFE/WAX </a:t>
              </a:r>
            </a:p>
          </p:txBody>
        </p:sp>
        <p:sp>
          <p:nvSpPr>
            <p:cNvPr id="30" name="Textfeld 29">
              <a:extLst>
                <a:ext uri="{FF2B5EF4-FFF2-40B4-BE49-F238E27FC236}">
                  <a16:creationId xmlns:a16="http://schemas.microsoft.com/office/drawing/2014/main" id="{E319F372-CAD7-C1C7-4BEE-3214AE05AFCD}"/>
                </a:ext>
              </a:extLst>
            </p:cNvPr>
            <p:cNvSpPr txBox="1"/>
            <p:nvPr/>
          </p:nvSpPr>
          <p:spPr>
            <a:xfrm>
              <a:off x="4770566" y="1294453"/>
              <a:ext cx="2204894" cy="598083"/>
            </a:xfrm>
            <a:prstGeom prst="rect">
              <a:avLst/>
            </a:prstGeom>
            <a:noFill/>
          </p:spPr>
          <p:txBody>
            <a:bodyPr wrap="none" rtlCol="0">
              <a:noAutofit/>
            </a:bodyPr>
            <a:lstStyle/>
            <a:p>
              <a:r>
                <a:rPr lang="en-US" b="1" dirty="0"/>
                <a:t>0.3 % </a:t>
              </a:r>
            </a:p>
            <a:p>
              <a:r>
                <a:rPr lang="en-US" b="1" dirty="0"/>
                <a:t>Slip/Scratch Add.</a:t>
              </a:r>
            </a:p>
          </p:txBody>
        </p:sp>
        <p:sp>
          <p:nvSpPr>
            <p:cNvPr id="63495" name="Textfeld 63494">
              <a:extLst>
                <a:ext uri="{FF2B5EF4-FFF2-40B4-BE49-F238E27FC236}">
                  <a16:creationId xmlns:a16="http://schemas.microsoft.com/office/drawing/2014/main" id="{8D502ED3-0877-2916-220C-A67EAC3F8CF7}"/>
                </a:ext>
              </a:extLst>
            </p:cNvPr>
            <p:cNvSpPr txBox="1"/>
            <p:nvPr/>
          </p:nvSpPr>
          <p:spPr>
            <a:xfrm>
              <a:off x="9225044" y="1294453"/>
              <a:ext cx="2204894" cy="598083"/>
            </a:xfrm>
            <a:prstGeom prst="rect">
              <a:avLst/>
            </a:prstGeom>
            <a:noFill/>
          </p:spPr>
          <p:txBody>
            <a:bodyPr wrap="none" lIns="91440" tIns="45720" rIns="91440" bIns="45720" rtlCol="0" anchor="t">
              <a:noAutofit/>
            </a:bodyPr>
            <a:lstStyle/>
            <a:p>
              <a:r>
                <a:rPr lang="en-US" b="1" dirty="0">
                  <a:latin typeface="Arial"/>
                  <a:cs typeface="Arial"/>
                </a:rPr>
                <a:t>1.0 % </a:t>
              </a:r>
            </a:p>
            <a:p>
              <a:r>
                <a:rPr lang="en-US" b="1" dirty="0">
                  <a:latin typeface="Arial"/>
                  <a:cs typeface="Arial"/>
                </a:rPr>
                <a:t>R&amp;D sample</a:t>
              </a:r>
            </a:p>
          </p:txBody>
        </p:sp>
        <p:sp>
          <p:nvSpPr>
            <p:cNvPr id="63496" name="Textfeld 63495">
              <a:extLst>
                <a:ext uri="{FF2B5EF4-FFF2-40B4-BE49-F238E27FC236}">
                  <a16:creationId xmlns:a16="http://schemas.microsoft.com/office/drawing/2014/main" id="{7ABEC936-5CE4-C17F-A174-B556C5203C89}"/>
                </a:ext>
              </a:extLst>
            </p:cNvPr>
            <p:cNvSpPr txBox="1"/>
            <p:nvPr/>
          </p:nvSpPr>
          <p:spPr>
            <a:xfrm>
              <a:off x="7025992" y="1301185"/>
              <a:ext cx="2204894" cy="598083"/>
            </a:xfrm>
            <a:prstGeom prst="rect">
              <a:avLst/>
            </a:prstGeom>
            <a:noFill/>
          </p:spPr>
          <p:txBody>
            <a:bodyPr wrap="none" lIns="91440" tIns="45720" rIns="91440" bIns="45720" rtlCol="0" anchor="t">
              <a:noAutofit/>
            </a:bodyPr>
            <a:lstStyle/>
            <a:p>
              <a:r>
                <a:rPr lang="en-US" b="1" dirty="0">
                  <a:latin typeface="Arial"/>
                  <a:cs typeface="Arial"/>
                </a:rPr>
                <a:t>2.0 % </a:t>
              </a:r>
            </a:p>
            <a:p>
              <a:r>
                <a:rPr lang="en-US" b="1" dirty="0">
                  <a:latin typeface="Arial"/>
                  <a:cs typeface="Arial"/>
                </a:rPr>
                <a:t>Modified PE-WAX</a:t>
              </a:r>
            </a:p>
          </p:txBody>
        </p:sp>
      </p:grpSp>
      <p:sp>
        <p:nvSpPr>
          <p:cNvPr id="1024" name="Stern: 10 Zacken 1023">
            <a:extLst>
              <a:ext uri="{FF2B5EF4-FFF2-40B4-BE49-F238E27FC236}">
                <a16:creationId xmlns:a16="http://schemas.microsoft.com/office/drawing/2014/main" id="{5A9DDD4F-E3CA-FB19-2189-C687F65347FF}"/>
              </a:ext>
            </a:extLst>
          </p:cNvPr>
          <p:cNvSpPr/>
          <p:nvPr/>
        </p:nvSpPr>
        <p:spPr bwMode="auto">
          <a:xfrm>
            <a:off x="2842214" y="1727091"/>
            <a:ext cx="917569" cy="858597"/>
          </a:xfrm>
          <a:prstGeom prst="star10">
            <a:avLst/>
          </a:prstGeom>
          <a:solidFill>
            <a:srgbClr val="7EB61C"/>
          </a:solidFill>
          <a:ln w="28575" cap="flat" cmpd="sng" algn="ctr">
            <a:solidFill>
              <a:schemeClr val="accent2"/>
            </a:solidFill>
            <a:prstDash val="solid"/>
            <a:round/>
            <a:headEnd type="none" w="med" len="med"/>
            <a:tailEnd type="none" w="med" len="med"/>
          </a:ln>
          <a:effectLst/>
        </p:spPr>
        <p:txBody>
          <a:bodyPr vert="horz" wrap="none" lIns="108000" tIns="108000" rIns="108000" bIns="10800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
                <a:schemeClr val="accent2"/>
              </a:buClr>
              <a:buSzPct val="150000"/>
              <a:tabLst/>
            </a:pPr>
            <a:r>
              <a:rPr kumimoji="0" lang="de-DE" sz="2000" b="0" i="0" u="none" strike="noStrike" cap="none" normalizeH="0" baseline="0">
                <a:ln>
                  <a:noFill/>
                </a:ln>
                <a:solidFill>
                  <a:schemeClr val="tx1"/>
                </a:solidFill>
                <a:effectLst/>
                <a:latin typeface="Arial" charset="0"/>
              </a:rPr>
              <a:t>80 %</a:t>
            </a:r>
          </a:p>
        </p:txBody>
      </p:sp>
      <p:sp>
        <p:nvSpPr>
          <p:cNvPr id="1025" name="Stern: 10 Zacken 1024">
            <a:extLst>
              <a:ext uri="{FF2B5EF4-FFF2-40B4-BE49-F238E27FC236}">
                <a16:creationId xmlns:a16="http://schemas.microsoft.com/office/drawing/2014/main" id="{BAF5EBBC-D237-AF2F-5B32-53FC47A930E8}"/>
              </a:ext>
            </a:extLst>
          </p:cNvPr>
          <p:cNvSpPr/>
          <p:nvPr/>
        </p:nvSpPr>
        <p:spPr bwMode="auto">
          <a:xfrm>
            <a:off x="6699882" y="1727090"/>
            <a:ext cx="917569" cy="858597"/>
          </a:xfrm>
          <a:prstGeom prst="star10">
            <a:avLst/>
          </a:prstGeom>
          <a:solidFill>
            <a:srgbClr val="7EB61C"/>
          </a:solidFill>
          <a:ln w="28575" cap="flat" cmpd="sng" algn="ctr">
            <a:solidFill>
              <a:schemeClr val="accent2"/>
            </a:solidFill>
            <a:prstDash val="solid"/>
            <a:round/>
            <a:headEnd type="none" w="med" len="med"/>
            <a:tailEnd type="none" w="med" len="med"/>
          </a:ln>
          <a:effectLst/>
        </p:spPr>
        <p:txBody>
          <a:bodyPr vert="horz" wrap="none" lIns="108000" tIns="108000" rIns="108000" bIns="10800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
                <a:schemeClr val="accent2"/>
              </a:buClr>
              <a:buSzPct val="150000"/>
              <a:tabLst/>
            </a:pPr>
            <a:r>
              <a:rPr lang="de-DE" sz="2000"/>
              <a:t>80 </a:t>
            </a:r>
            <a:r>
              <a:rPr kumimoji="0" lang="de-DE" sz="2000" b="0" i="0" u="none" strike="noStrike" cap="none" normalizeH="0" baseline="0">
                <a:ln>
                  <a:noFill/>
                </a:ln>
                <a:solidFill>
                  <a:schemeClr val="tx1"/>
                </a:solidFill>
                <a:effectLst/>
                <a:latin typeface="Arial" charset="0"/>
              </a:rPr>
              <a:t>%</a:t>
            </a:r>
          </a:p>
        </p:txBody>
      </p:sp>
      <p:sp>
        <p:nvSpPr>
          <p:cNvPr id="1027" name="Stern: 10 Zacken 1026">
            <a:extLst>
              <a:ext uri="{FF2B5EF4-FFF2-40B4-BE49-F238E27FC236}">
                <a16:creationId xmlns:a16="http://schemas.microsoft.com/office/drawing/2014/main" id="{65F3D80E-9F39-698F-CF65-D03C941E2D5F}"/>
              </a:ext>
            </a:extLst>
          </p:cNvPr>
          <p:cNvSpPr/>
          <p:nvPr/>
        </p:nvSpPr>
        <p:spPr bwMode="auto">
          <a:xfrm>
            <a:off x="890591" y="1681071"/>
            <a:ext cx="917569" cy="858597"/>
          </a:xfrm>
          <a:prstGeom prst="star10">
            <a:avLst/>
          </a:prstGeom>
          <a:solidFill>
            <a:srgbClr val="7EB61C"/>
          </a:solidFill>
          <a:ln w="28575" cap="flat" cmpd="sng" algn="ctr">
            <a:solidFill>
              <a:schemeClr val="accent2"/>
            </a:solidFill>
            <a:prstDash val="solid"/>
            <a:round/>
            <a:headEnd type="none" w="med" len="med"/>
            <a:tailEnd type="none" w="med" len="med"/>
          </a:ln>
          <a:effectLst/>
        </p:spPr>
        <p:txBody>
          <a:bodyPr vert="horz" wrap="none" lIns="108000" tIns="108000" rIns="108000" bIns="10800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
                <a:schemeClr val="accent2"/>
              </a:buClr>
              <a:buSzPct val="150000"/>
              <a:tabLst/>
            </a:pPr>
            <a:r>
              <a:rPr kumimoji="0" lang="de-DE" sz="2000" b="0" i="0" u="none" strike="noStrike" cap="none" normalizeH="0" baseline="0">
                <a:ln>
                  <a:noFill/>
                </a:ln>
                <a:solidFill>
                  <a:schemeClr val="tx1"/>
                </a:solidFill>
                <a:effectLst/>
                <a:latin typeface="Arial" charset="0"/>
              </a:rPr>
              <a:t>65 %</a:t>
            </a:r>
          </a:p>
        </p:txBody>
      </p:sp>
      <p:sp>
        <p:nvSpPr>
          <p:cNvPr id="1028" name="Stern: 10 Zacken 1027">
            <a:extLst>
              <a:ext uri="{FF2B5EF4-FFF2-40B4-BE49-F238E27FC236}">
                <a16:creationId xmlns:a16="http://schemas.microsoft.com/office/drawing/2014/main" id="{AC4CC7D7-C1B4-C587-5738-8DD5B8F6D192}"/>
              </a:ext>
            </a:extLst>
          </p:cNvPr>
          <p:cNvSpPr/>
          <p:nvPr/>
        </p:nvSpPr>
        <p:spPr bwMode="auto">
          <a:xfrm>
            <a:off x="8637289" y="1727090"/>
            <a:ext cx="917569" cy="858597"/>
          </a:xfrm>
          <a:prstGeom prst="star10">
            <a:avLst/>
          </a:prstGeom>
          <a:solidFill>
            <a:srgbClr val="7EB61C"/>
          </a:solidFill>
          <a:ln w="28575" cap="flat" cmpd="sng" algn="ctr">
            <a:solidFill>
              <a:schemeClr val="accent2"/>
            </a:solidFill>
            <a:prstDash val="solid"/>
            <a:round/>
            <a:headEnd type="none" w="med" len="med"/>
            <a:tailEnd type="none" w="med" len="med"/>
          </a:ln>
          <a:effectLst/>
        </p:spPr>
        <p:txBody>
          <a:bodyPr vert="horz" wrap="none" lIns="108000" tIns="108000" rIns="108000" bIns="10800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
                <a:schemeClr val="accent2"/>
              </a:buClr>
              <a:buSzPct val="150000"/>
              <a:tabLst/>
            </a:pPr>
            <a:r>
              <a:rPr kumimoji="0" lang="de-DE" sz="2000" b="0" i="0" u="none" strike="noStrike" cap="none" normalizeH="0" baseline="0">
                <a:ln>
                  <a:noFill/>
                </a:ln>
                <a:solidFill>
                  <a:schemeClr val="tx1"/>
                </a:solidFill>
                <a:effectLst/>
                <a:latin typeface="Arial" charset="0"/>
              </a:rPr>
              <a:t>85 %</a:t>
            </a:r>
          </a:p>
        </p:txBody>
      </p:sp>
      <p:sp>
        <p:nvSpPr>
          <p:cNvPr id="12" name="Stern: 10 Zacken 11">
            <a:extLst>
              <a:ext uri="{FF2B5EF4-FFF2-40B4-BE49-F238E27FC236}">
                <a16:creationId xmlns:a16="http://schemas.microsoft.com/office/drawing/2014/main" id="{9C73BC64-06E4-1EF3-0F70-5CC57B4DA7D9}"/>
              </a:ext>
            </a:extLst>
          </p:cNvPr>
          <p:cNvSpPr/>
          <p:nvPr/>
        </p:nvSpPr>
        <p:spPr bwMode="auto">
          <a:xfrm>
            <a:off x="4775196" y="1727089"/>
            <a:ext cx="917569" cy="858597"/>
          </a:xfrm>
          <a:prstGeom prst="star10">
            <a:avLst/>
          </a:prstGeom>
          <a:solidFill>
            <a:srgbClr val="7EB61C"/>
          </a:solidFill>
          <a:ln w="28575" cap="flat" cmpd="sng" algn="ctr">
            <a:solidFill>
              <a:schemeClr val="accent2"/>
            </a:solidFill>
            <a:prstDash val="solid"/>
            <a:round/>
            <a:headEnd type="none" w="med" len="med"/>
            <a:tailEnd type="none" w="med" len="med"/>
          </a:ln>
          <a:effectLst/>
        </p:spPr>
        <p:txBody>
          <a:bodyPr vert="horz" wrap="none" lIns="108000" tIns="108000" rIns="108000" bIns="10800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
                <a:schemeClr val="accent2"/>
              </a:buClr>
              <a:buSzPct val="150000"/>
              <a:tabLst/>
            </a:pPr>
            <a:r>
              <a:rPr kumimoji="0" lang="de-DE" sz="2000" b="0" i="0" u="none" strike="noStrike" cap="none" normalizeH="0" baseline="0">
                <a:ln>
                  <a:noFill/>
                </a:ln>
                <a:solidFill>
                  <a:schemeClr val="tx1"/>
                </a:solidFill>
                <a:effectLst/>
                <a:latin typeface="Arial" charset="0"/>
              </a:rPr>
              <a:t>70 %</a:t>
            </a:r>
          </a:p>
        </p:txBody>
      </p:sp>
      <p:sp>
        <p:nvSpPr>
          <p:cNvPr id="13" name="Textfeld 12">
            <a:extLst>
              <a:ext uri="{FF2B5EF4-FFF2-40B4-BE49-F238E27FC236}">
                <a16:creationId xmlns:a16="http://schemas.microsoft.com/office/drawing/2014/main" id="{896AD88F-21A1-2523-46EC-88F9235FFC58}"/>
              </a:ext>
            </a:extLst>
          </p:cNvPr>
          <p:cNvSpPr txBox="1"/>
          <p:nvPr/>
        </p:nvSpPr>
        <p:spPr>
          <a:xfrm>
            <a:off x="455612" y="5534612"/>
            <a:ext cx="1900585" cy="738664"/>
          </a:xfrm>
          <a:prstGeom prst="rect">
            <a:avLst/>
          </a:prstGeom>
          <a:noFill/>
          <a:ln w="19050">
            <a:solidFill>
              <a:schemeClr val="accent2"/>
            </a:solidFill>
          </a:ln>
        </p:spPr>
        <p:txBody>
          <a:bodyPr wrap="square" rtlCol="0">
            <a:spAutoFit/>
          </a:bodyPr>
          <a:lstStyle/>
          <a:p>
            <a:endParaRPr lang="en-US" sz="1400"/>
          </a:p>
          <a:p>
            <a:r>
              <a:rPr lang="en-US" sz="1400"/>
              <a:t>Deep scratches</a:t>
            </a:r>
          </a:p>
          <a:p>
            <a:endParaRPr lang="en-US" sz="1400"/>
          </a:p>
        </p:txBody>
      </p:sp>
      <p:sp>
        <p:nvSpPr>
          <p:cNvPr id="57344" name="Textfeld 57343">
            <a:extLst>
              <a:ext uri="{FF2B5EF4-FFF2-40B4-BE49-F238E27FC236}">
                <a16:creationId xmlns:a16="http://schemas.microsoft.com/office/drawing/2014/main" id="{9EE445BA-9F07-5F1D-27D2-04A135829F14}"/>
              </a:ext>
            </a:extLst>
          </p:cNvPr>
          <p:cNvSpPr txBox="1"/>
          <p:nvPr/>
        </p:nvSpPr>
        <p:spPr>
          <a:xfrm>
            <a:off x="2394555" y="5534612"/>
            <a:ext cx="1900585" cy="738664"/>
          </a:xfrm>
          <a:prstGeom prst="rect">
            <a:avLst/>
          </a:prstGeom>
          <a:noFill/>
          <a:ln w="19050">
            <a:solidFill>
              <a:schemeClr val="accent2"/>
            </a:solidFill>
          </a:ln>
        </p:spPr>
        <p:txBody>
          <a:bodyPr wrap="square" rtlCol="0">
            <a:spAutoFit/>
          </a:bodyPr>
          <a:lstStyle/>
          <a:p>
            <a:r>
              <a:rPr lang="en-US" sz="1400"/>
              <a:t>Lubricating film (wax)</a:t>
            </a:r>
          </a:p>
          <a:p>
            <a:r>
              <a:rPr lang="en-US" sz="1400"/>
              <a:t>Lower gloss</a:t>
            </a:r>
          </a:p>
          <a:p>
            <a:r>
              <a:rPr lang="en-US" sz="1400"/>
              <a:t>Surface slip + 10 %</a:t>
            </a:r>
          </a:p>
        </p:txBody>
      </p:sp>
      <p:sp>
        <p:nvSpPr>
          <p:cNvPr id="57345" name="Textfeld 57344">
            <a:extLst>
              <a:ext uri="{FF2B5EF4-FFF2-40B4-BE49-F238E27FC236}">
                <a16:creationId xmlns:a16="http://schemas.microsoft.com/office/drawing/2014/main" id="{4A4FC5B2-76AD-5639-8DF3-A68BCCCA45CA}"/>
              </a:ext>
            </a:extLst>
          </p:cNvPr>
          <p:cNvSpPr txBox="1"/>
          <p:nvPr/>
        </p:nvSpPr>
        <p:spPr>
          <a:xfrm>
            <a:off x="4334055" y="5534612"/>
            <a:ext cx="1902039" cy="738664"/>
          </a:xfrm>
          <a:prstGeom prst="rect">
            <a:avLst/>
          </a:prstGeom>
          <a:noFill/>
          <a:ln w="19050">
            <a:solidFill>
              <a:schemeClr val="accent2"/>
            </a:solidFill>
          </a:ln>
        </p:spPr>
        <p:txBody>
          <a:bodyPr wrap="square" rtlCol="0">
            <a:spAutoFit/>
          </a:bodyPr>
          <a:lstStyle/>
          <a:p>
            <a:r>
              <a:rPr lang="en-US" sz="1400"/>
              <a:t>Nearly no scratch</a:t>
            </a:r>
          </a:p>
          <a:p>
            <a:r>
              <a:rPr lang="en-US" sz="1400"/>
              <a:t>High gloss</a:t>
            </a:r>
          </a:p>
          <a:p>
            <a:r>
              <a:rPr lang="en-US" sz="1400"/>
              <a:t>Surface slip </a:t>
            </a:r>
            <a:r>
              <a:rPr lang="en-US" sz="1400" b="1"/>
              <a:t>+ 40 %</a:t>
            </a:r>
          </a:p>
        </p:txBody>
      </p:sp>
      <p:sp>
        <p:nvSpPr>
          <p:cNvPr id="57347" name="Textfeld 57346">
            <a:extLst>
              <a:ext uri="{FF2B5EF4-FFF2-40B4-BE49-F238E27FC236}">
                <a16:creationId xmlns:a16="http://schemas.microsoft.com/office/drawing/2014/main" id="{5B674B34-7569-3B68-FB97-EAB181CE75EC}"/>
              </a:ext>
            </a:extLst>
          </p:cNvPr>
          <p:cNvSpPr txBox="1"/>
          <p:nvPr/>
        </p:nvSpPr>
        <p:spPr>
          <a:xfrm>
            <a:off x="6283058" y="5534612"/>
            <a:ext cx="1870577" cy="738664"/>
          </a:xfrm>
          <a:prstGeom prst="rect">
            <a:avLst/>
          </a:prstGeom>
          <a:noFill/>
          <a:ln w="19050">
            <a:solidFill>
              <a:schemeClr val="accent2"/>
            </a:solidFill>
          </a:ln>
        </p:spPr>
        <p:txBody>
          <a:bodyPr wrap="square" rtlCol="0">
            <a:spAutoFit/>
          </a:bodyPr>
          <a:lstStyle/>
          <a:p>
            <a:r>
              <a:rPr lang="en-US" sz="1400"/>
              <a:t>Lubricating film (wax)</a:t>
            </a:r>
          </a:p>
          <a:p>
            <a:r>
              <a:rPr lang="en-US" sz="1400"/>
              <a:t>Lower gloss</a:t>
            </a:r>
          </a:p>
          <a:p>
            <a:r>
              <a:rPr lang="en-US" sz="1400"/>
              <a:t>Surface slip + 10 %</a:t>
            </a:r>
          </a:p>
        </p:txBody>
      </p:sp>
      <p:sp>
        <p:nvSpPr>
          <p:cNvPr id="57348" name="Textfeld 57347">
            <a:extLst>
              <a:ext uri="{FF2B5EF4-FFF2-40B4-BE49-F238E27FC236}">
                <a16:creationId xmlns:a16="http://schemas.microsoft.com/office/drawing/2014/main" id="{B0A38ECA-FBD3-42D3-5E6D-7C8819896EE1}"/>
              </a:ext>
            </a:extLst>
          </p:cNvPr>
          <p:cNvSpPr txBox="1"/>
          <p:nvPr/>
        </p:nvSpPr>
        <p:spPr>
          <a:xfrm>
            <a:off x="8201321" y="5539521"/>
            <a:ext cx="1900585" cy="738664"/>
          </a:xfrm>
          <a:prstGeom prst="rect">
            <a:avLst/>
          </a:prstGeom>
          <a:noFill/>
          <a:ln w="19050">
            <a:solidFill>
              <a:schemeClr val="accent2"/>
            </a:solidFill>
          </a:ln>
        </p:spPr>
        <p:txBody>
          <a:bodyPr wrap="square" rtlCol="0">
            <a:spAutoFit/>
          </a:bodyPr>
          <a:lstStyle/>
          <a:p>
            <a:r>
              <a:rPr lang="en-US" sz="1400" b="1"/>
              <a:t>Nearly no scratch</a:t>
            </a:r>
          </a:p>
          <a:p>
            <a:r>
              <a:rPr lang="en-US" sz="1400" b="1"/>
              <a:t>High gloss</a:t>
            </a:r>
          </a:p>
          <a:p>
            <a:r>
              <a:rPr lang="en-US" sz="1400" b="1"/>
              <a:t>Surface slip + 40 %</a:t>
            </a:r>
          </a:p>
        </p:txBody>
      </p:sp>
      <p:sp>
        <p:nvSpPr>
          <p:cNvPr id="57352" name="Textfeld 57351">
            <a:extLst>
              <a:ext uri="{FF2B5EF4-FFF2-40B4-BE49-F238E27FC236}">
                <a16:creationId xmlns:a16="http://schemas.microsoft.com/office/drawing/2014/main" id="{DA0A0774-A639-3EEE-B0C7-BE614D23E661}"/>
              </a:ext>
            </a:extLst>
          </p:cNvPr>
          <p:cNvSpPr txBox="1"/>
          <p:nvPr/>
        </p:nvSpPr>
        <p:spPr>
          <a:xfrm>
            <a:off x="7894571" y="576351"/>
            <a:ext cx="2176942" cy="412421"/>
          </a:xfrm>
          <a:prstGeom prst="rect">
            <a:avLst/>
          </a:prstGeom>
          <a:solidFill>
            <a:srgbClr val="7EB61C"/>
          </a:solidFill>
          <a:ln w="28575">
            <a:solidFill>
              <a:schemeClr val="accent2"/>
            </a:solidFill>
          </a:ln>
        </p:spPr>
        <p:txBody>
          <a:bodyPr wrap="square">
            <a:spAutoFit/>
          </a:bodyPr>
          <a:lstStyle/>
          <a:p>
            <a:pPr marR="0" algn="ctr" defTabSz="914400" rtl="0" eaLnBrk="1" fontAlgn="base" latinLnBrk="0" hangingPunct="1">
              <a:lnSpc>
                <a:spcPct val="80000"/>
              </a:lnSpc>
              <a:spcBef>
                <a:spcPct val="0"/>
              </a:spcBef>
              <a:spcAft>
                <a:spcPct val="0"/>
              </a:spcAft>
              <a:buClr>
                <a:schemeClr val="accent2"/>
              </a:buClr>
              <a:buSzPct val="150000"/>
              <a:tabLst/>
            </a:pPr>
            <a:r>
              <a:rPr kumimoji="0" lang="en-US" sz="1300" b="1" i="0" u="none" strike="noStrike" cap="none" normalizeH="0" baseline="0" dirty="0">
                <a:ln>
                  <a:noFill/>
                </a:ln>
                <a:solidFill>
                  <a:schemeClr val="tx1"/>
                </a:solidFill>
                <a:effectLst/>
                <a:latin typeface="Arial" charset="0"/>
              </a:rPr>
              <a:t>Martindale </a:t>
            </a:r>
            <a:br>
              <a:rPr kumimoji="0" lang="en-US" sz="1300" b="1" i="0" u="none" strike="noStrike" cap="none" normalizeH="0" baseline="0" dirty="0">
                <a:ln>
                  <a:noFill/>
                </a:ln>
                <a:solidFill>
                  <a:schemeClr val="tx1"/>
                </a:solidFill>
                <a:effectLst/>
                <a:latin typeface="Arial" charset="0"/>
              </a:rPr>
            </a:br>
            <a:r>
              <a:rPr kumimoji="0" lang="en-US" sz="1300" b="1" i="0" u="none" strike="noStrike" cap="none" normalizeH="0" baseline="0" dirty="0">
                <a:ln>
                  <a:noFill/>
                </a:ln>
                <a:solidFill>
                  <a:schemeClr val="tx1"/>
                </a:solidFill>
                <a:effectLst/>
                <a:latin typeface="Arial" charset="0"/>
              </a:rPr>
              <a:t>gloss retention [%]</a:t>
            </a:r>
          </a:p>
        </p:txBody>
      </p:sp>
      <p:sp>
        <p:nvSpPr>
          <p:cNvPr id="5" name="Fußzeilenplatzhalter 3">
            <a:extLst>
              <a:ext uri="{FF2B5EF4-FFF2-40B4-BE49-F238E27FC236}">
                <a16:creationId xmlns:a16="http://schemas.microsoft.com/office/drawing/2014/main" id="{71D30126-6513-D86F-A599-76E1F91551D9}"/>
              </a:ext>
            </a:extLst>
          </p:cNvPr>
          <p:cNvSpPr>
            <a:spLocks noGrp="1"/>
          </p:cNvSpPr>
          <p:nvPr>
            <p:ph type="ftr" sz="quarter" idx="11"/>
          </p:nvPr>
        </p:nvSpPr>
        <p:spPr>
          <a:xfrm>
            <a:off x="1992796" y="6523884"/>
            <a:ext cx="8207660" cy="123111"/>
          </a:xfrm>
        </p:spPr>
        <p:txBody>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5B99BA4E-C290-CD45-FD82-90CF30CFA017}"/>
              </a:ext>
            </a:extLst>
          </p:cNvPr>
          <p:cNvSpPr>
            <a:spLocks noGrp="1"/>
          </p:cNvSpPr>
          <p:nvPr>
            <p:ph type="sldNum" sz="quarter" idx="12"/>
          </p:nvPr>
        </p:nvSpPr>
        <p:spPr/>
        <p:txBody>
          <a:bodyPr/>
          <a:lstStyle/>
          <a:p>
            <a:r>
              <a:rPr lang="en-US"/>
              <a:t>Page </a:t>
            </a:r>
            <a:fld id="{F833201C-4142-4F26-B8B7-249C87787C9A}" type="slidenum">
              <a:rPr lang="en-US" smtClean="0"/>
              <a:pPr/>
              <a:t>8</a:t>
            </a:fld>
            <a:endParaRPr lang="en-US"/>
          </a:p>
        </p:txBody>
      </p:sp>
      <p:pic>
        <p:nvPicPr>
          <p:cNvPr id="57349" name="Grafik 57348">
            <a:extLst>
              <a:ext uri="{FF2B5EF4-FFF2-40B4-BE49-F238E27FC236}">
                <a16:creationId xmlns:a16="http://schemas.microsoft.com/office/drawing/2014/main" id="{51BDD02E-7BD5-5EBF-0C06-B24445077BC0}"/>
              </a:ext>
            </a:extLst>
          </p:cNvPr>
          <p:cNvPicPr>
            <a:picLocks noChangeAspect="1"/>
          </p:cNvPicPr>
          <p:nvPr/>
        </p:nvPicPr>
        <p:blipFill>
          <a:blip r:embed="rId12" cstate="screen">
            <a:alphaModFix amt="67000"/>
            <a:extLst>
              <a:ext uri="{28A0092B-C50C-407E-A947-70E740481C1C}">
                <a14:useLocalDpi xmlns:a14="http://schemas.microsoft.com/office/drawing/2010/main"/>
              </a:ext>
            </a:extLst>
          </a:blip>
          <a:srcRect/>
          <a:stretch/>
        </p:blipFill>
        <p:spPr>
          <a:xfrm>
            <a:off x="10195858" y="4252050"/>
            <a:ext cx="1911743" cy="1547270"/>
          </a:xfrm>
          <a:prstGeom prst="rect">
            <a:avLst/>
          </a:prstGeom>
          <a:ln>
            <a:noFill/>
          </a:ln>
          <a:effectLst>
            <a:softEdge rad="112500"/>
          </a:effectLst>
        </p:spPr>
      </p:pic>
      <p:sp>
        <p:nvSpPr>
          <p:cNvPr id="4" name="Datumsplatzhalter 3">
            <a:extLst>
              <a:ext uri="{FF2B5EF4-FFF2-40B4-BE49-F238E27FC236}">
                <a16:creationId xmlns:a16="http://schemas.microsoft.com/office/drawing/2014/main" id="{48864C0C-1372-E603-FEF2-100B30E503E3}"/>
              </a:ext>
            </a:extLst>
          </p:cNvPr>
          <p:cNvSpPr>
            <a:spLocks noGrp="1"/>
          </p:cNvSpPr>
          <p:nvPr>
            <p:ph type="dt" sz="half" idx="10"/>
          </p:nvPr>
        </p:nvSpPr>
        <p:spPr/>
        <p:txBody>
          <a:bodyPr/>
          <a:lstStyle/>
          <a:p>
            <a:r>
              <a:rPr lang="en-US"/>
              <a:t>September 2025</a:t>
            </a:r>
            <a:endParaRPr lang="en-US" dirty="0"/>
          </a:p>
        </p:txBody>
      </p:sp>
    </p:spTree>
    <p:extLst>
      <p:ext uri="{BB962C8B-B14F-4D97-AF65-F5344CB8AC3E}">
        <p14:creationId xmlns:p14="http://schemas.microsoft.com/office/powerpoint/2010/main" val="1753339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3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734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734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734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7352"/>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250"/>
                                  </p:stCondLst>
                                  <p:childTnLst>
                                    <p:set>
                                      <p:cBhvr>
                                        <p:cTn id="25" dur="1" fill="hold">
                                          <p:stCondLst>
                                            <p:cond delay="0"/>
                                          </p:stCondLst>
                                        </p:cTn>
                                        <p:tgtEl>
                                          <p:spTgt spid="1027"/>
                                        </p:tgtEl>
                                        <p:attrNameLst>
                                          <p:attrName>style.visibility</p:attrName>
                                        </p:attrNameLst>
                                      </p:cBhvr>
                                      <p:to>
                                        <p:strVal val="visible"/>
                                      </p:to>
                                    </p:set>
                                  </p:childTnLst>
                                </p:cTn>
                              </p:par>
                            </p:childTnLst>
                          </p:cTn>
                        </p:par>
                        <p:par>
                          <p:cTn id="26" fill="hold">
                            <p:stCondLst>
                              <p:cond delay="250"/>
                            </p:stCondLst>
                            <p:childTnLst>
                              <p:par>
                                <p:cTn id="27" presetID="1" presetClass="entr" presetSubtype="0" fill="hold" grpId="0" nodeType="afterEffect">
                                  <p:stCondLst>
                                    <p:cond delay="250"/>
                                  </p:stCondLst>
                                  <p:childTnLst>
                                    <p:set>
                                      <p:cBhvr>
                                        <p:cTn id="28" dur="1" fill="hold">
                                          <p:stCondLst>
                                            <p:cond delay="0"/>
                                          </p:stCondLst>
                                        </p:cTn>
                                        <p:tgtEl>
                                          <p:spTgt spid="1024"/>
                                        </p:tgtEl>
                                        <p:attrNameLst>
                                          <p:attrName>style.visibility</p:attrName>
                                        </p:attrNameLst>
                                      </p:cBhvr>
                                      <p:to>
                                        <p:strVal val="visible"/>
                                      </p:to>
                                    </p:set>
                                  </p:childTnLst>
                                </p:cTn>
                              </p:par>
                            </p:childTnLst>
                          </p:cTn>
                        </p:par>
                        <p:par>
                          <p:cTn id="29" fill="hold">
                            <p:stCondLst>
                              <p:cond delay="500"/>
                            </p:stCondLst>
                            <p:childTnLst>
                              <p:par>
                                <p:cTn id="30" presetID="1" presetClass="entr" presetSubtype="0" fill="hold" grpId="0" nodeType="afterEffect">
                                  <p:stCondLst>
                                    <p:cond delay="250"/>
                                  </p:stCondLst>
                                  <p:childTnLst>
                                    <p:set>
                                      <p:cBhvr>
                                        <p:cTn id="31" dur="1" fill="hold">
                                          <p:stCondLst>
                                            <p:cond delay="0"/>
                                          </p:stCondLst>
                                        </p:cTn>
                                        <p:tgtEl>
                                          <p:spTgt spid="12"/>
                                        </p:tgtEl>
                                        <p:attrNameLst>
                                          <p:attrName>style.visibility</p:attrName>
                                        </p:attrNameLst>
                                      </p:cBhvr>
                                      <p:to>
                                        <p:strVal val="visible"/>
                                      </p:to>
                                    </p:set>
                                  </p:childTnLst>
                                </p:cTn>
                              </p:par>
                            </p:childTnLst>
                          </p:cTn>
                        </p:par>
                        <p:par>
                          <p:cTn id="32" fill="hold">
                            <p:stCondLst>
                              <p:cond delay="750"/>
                            </p:stCondLst>
                            <p:childTnLst>
                              <p:par>
                                <p:cTn id="33" presetID="1" presetClass="entr" presetSubtype="0" fill="hold" grpId="0" nodeType="afterEffect">
                                  <p:stCondLst>
                                    <p:cond delay="250"/>
                                  </p:stCondLst>
                                  <p:childTnLst>
                                    <p:set>
                                      <p:cBhvr>
                                        <p:cTn id="34" dur="1" fill="hold">
                                          <p:stCondLst>
                                            <p:cond delay="0"/>
                                          </p:stCondLst>
                                        </p:cTn>
                                        <p:tgtEl>
                                          <p:spTgt spid="1025"/>
                                        </p:tgtEl>
                                        <p:attrNameLst>
                                          <p:attrName>style.visibility</p:attrName>
                                        </p:attrNameLst>
                                      </p:cBhvr>
                                      <p:to>
                                        <p:strVal val="visible"/>
                                      </p:to>
                                    </p:set>
                                  </p:childTnLst>
                                </p:cTn>
                              </p:par>
                            </p:childTnLst>
                          </p:cTn>
                        </p:par>
                        <p:par>
                          <p:cTn id="35" fill="hold">
                            <p:stCondLst>
                              <p:cond delay="1000"/>
                            </p:stCondLst>
                            <p:childTnLst>
                              <p:par>
                                <p:cTn id="36" presetID="1" presetClass="entr" presetSubtype="0" fill="hold" grpId="0" nodeType="afterEffect">
                                  <p:stCondLst>
                                    <p:cond delay="250"/>
                                  </p:stCondLst>
                                  <p:childTnLst>
                                    <p:set>
                                      <p:cBhvr>
                                        <p:cTn id="37" dur="1" fill="hold">
                                          <p:stCondLst>
                                            <p:cond delay="0"/>
                                          </p:stCondLst>
                                        </p:cTn>
                                        <p:tgtEl>
                                          <p:spTgt spid="10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 grpId="0" animBg="1"/>
      <p:bldP spid="1025" grpId="0" animBg="1"/>
      <p:bldP spid="1027" grpId="0" animBg="1"/>
      <p:bldP spid="1028" grpId="0" animBg="1"/>
      <p:bldP spid="12" grpId="0" animBg="1"/>
      <p:bldP spid="57344" grpId="0" animBg="1"/>
      <p:bldP spid="57345" grpId="0" animBg="1"/>
      <p:bldP spid="57347" grpId="0" animBg="1"/>
      <p:bldP spid="57348" grpId="0" animBg="1"/>
      <p:bldP spid="5735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D5430-6E44-896A-7AD5-3EC23A4931BF}"/>
              </a:ext>
            </a:extLst>
          </p:cNvPr>
          <p:cNvSpPr>
            <a:spLocks noGrp="1"/>
          </p:cNvSpPr>
          <p:nvPr>
            <p:ph type="title"/>
          </p:nvPr>
        </p:nvSpPr>
        <p:spPr>
          <a:xfrm>
            <a:off x="407987" y="188913"/>
            <a:ext cx="11376026" cy="1008062"/>
          </a:xfrm>
        </p:spPr>
        <p:txBody>
          <a:bodyPr wrap="square" anchor="t">
            <a:normAutofit/>
          </a:bodyPr>
          <a:lstStyle/>
          <a:p>
            <a:r>
              <a:rPr lang="en-US" dirty="0"/>
              <a:t>PTFE-Free Alternatives – Race to the Finish</a:t>
            </a:r>
            <a:br>
              <a:rPr lang="en-US" dirty="0"/>
            </a:br>
            <a:endParaRPr lang="en-US" dirty="0"/>
          </a:p>
        </p:txBody>
      </p:sp>
      <p:sp>
        <p:nvSpPr>
          <p:cNvPr id="4" name="Date Placeholder 3">
            <a:extLst>
              <a:ext uri="{FF2B5EF4-FFF2-40B4-BE49-F238E27FC236}">
                <a16:creationId xmlns:a16="http://schemas.microsoft.com/office/drawing/2014/main" id="{B89FDB47-576C-1540-1CDF-E7C63D5FE949}"/>
              </a:ext>
            </a:extLst>
          </p:cNvPr>
          <p:cNvSpPr>
            <a:spLocks noGrp="1"/>
          </p:cNvSpPr>
          <p:nvPr>
            <p:ph type="dt" sz="half" idx="10"/>
          </p:nvPr>
        </p:nvSpPr>
        <p:spPr>
          <a:xfrm>
            <a:off x="1127448" y="6513439"/>
            <a:ext cx="792088" cy="144000"/>
          </a:xfrm>
        </p:spPr>
        <p:txBody>
          <a:bodyPr wrap="square" anchor="t">
            <a:normAutofit/>
          </a:bodyPr>
          <a:lstStyle/>
          <a:p>
            <a:r>
              <a:rPr lang="en-US"/>
              <a:t>September 2025</a:t>
            </a:r>
            <a:endParaRPr lang="en-US" dirty="0"/>
          </a:p>
        </p:txBody>
      </p:sp>
      <p:sp>
        <p:nvSpPr>
          <p:cNvPr id="5" name="Footer Placeholder 4">
            <a:extLst>
              <a:ext uri="{FF2B5EF4-FFF2-40B4-BE49-F238E27FC236}">
                <a16:creationId xmlns:a16="http://schemas.microsoft.com/office/drawing/2014/main" id="{E5E81206-31C7-D49C-912D-BA2045687C28}"/>
              </a:ext>
            </a:extLst>
          </p:cNvPr>
          <p:cNvSpPr>
            <a:spLocks noGrp="1"/>
          </p:cNvSpPr>
          <p:nvPr>
            <p:ph type="ftr" sz="quarter" idx="11"/>
          </p:nvPr>
        </p:nvSpPr>
        <p:spPr>
          <a:xfrm>
            <a:off x="1992796" y="6513440"/>
            <a:ext cx="8207660" cy="144000"/>
          </a:xfrm>
        </p:spPr>
        <p:txBody>
          <a:bodyPr wrap="square" anchor="t">
            <a:normAutofit/>
          </a:bodyPr>
          <a:lstStyle/>
          <a:p>
            <a:r>
              <a:rPr lang="en-US"/>
              <a:t>Achieving robust textures with PTFE-free additives</a:t>
            </a:r>
            <a:endParaRPr lang="en-US" dirty="0"/>
          </a:p>
        </p:txBody>
      </p:sp>
      <p:sp>
        <p:nvSpPr>
          <p:cNvPr id="6" name="Slide Number Placeholder 5">
            <a:extLst>
              <a:ext uri="{FF2B5EF4-FFF2-40B4-BE49-F238E27FC236}">
                <a16:creationId xmlns:a16="http://schemas.microsoft.com/office/drawing/2014/main" id="{C2ABB15F-83C7-66EF-A8E6-EC369BD35669}"/>
              </a:ext>
            </a:extLst>
          </p:cNvPr>
          <p:cNvSpPr>
            <a:spLocks noGrp="1"/>
          </p:cNvSpPr>
          <p:nvPr>
            <p:ph type="sldNum" sz="quarter" idx="12"/>
          </p:nvPr>
        </p:nvSpPr>
        <p:spPr>
          <a:xfrm>
            <a:off x="407368" y="6513439"/>
            <a:ext cx="620466" cy="144000"/>
          </a:xfrm>
        </p:spPr>
        <p:txBody>
          <a:bodyPr wrap="square" anchor="t">
            <a:normAutofit/>
          </a:bodyPr>
          <a:lstStyle/>
          <a:p>
            <a:pPr>
              <a:spcAft>
                <a:spcPts val="600"/>
              </a:spcAft>
            </a:pPr>
            <a:r>
              <a:rPr lang="de-DE"/>
              <a:t>Page </a:t>
            </a:r>
            <a:fld id="{8F63C9D9-3015-4EB3-9DF0-04DE0400ED04}" type="slidenum">
              <a:rPr smtClean="0"/>
              <a:pPr>
                <a:spcAft>
                  <a:spcPts val="600"/>
                </a:spcAft>
              </a:pPr>
              <a:t>9</a:t>
            </a:fld>
            <a:endParaRPr lang="en-US"/>
          </a:p>
        </p:txBody>
      </p:sp>
      <p:graphicFrame>
        <p:nvGraphicFramePr>
          <p:cNvPr id="9" name="Content Placeholder 6">
            <a:extLst>
              <a:ext uri="{FF2B5EF4-FFF2-40B4-BE49-F238E27FC236}">
                <a16:creationId xmlns:a16="http://schemas.microsoft.com/office/drawing/2014/main" id="{0CC29444-FFC1-8EFE-EF39-752CB75CFAC4}"/>
              </a:ext>
            </a:extLst>
          </p:cNvPr>
          <p:cNvGraphicFramePr>
            <a:graphicFrameLocks noGrp="1"/>
          </p:cNvGraphicFramePr>
          <p:nvPr>
            <p:ph idx="1"/>
            <p:extLst>
              <p:ext uri="{D42A27DB-BD31-4B8C-83A1-F6EECF244321}">
                <p14:modId xmlns:p14="http://schemas.microsoft.com/office/powerpoint/2010/main" val="1099403659"/>
              </p:ext>
            </p:extLst>
          </p:nvPr>
        </p:nvGraphicFramePr>
        <p:xfrm>
          <a:off x="407988" y="1202400"/>
          <a:ext cx="11376026" cy="5106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57830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TANA">
  <a:themeElements>
    <a:clrScheme name="Altana 2015-04-19">
      <a:dk1>
        <a:srgbClr val="000000"/>
      </a:dk1>
      <a:lt1>
        <a:srgbClr val="FFFFFF"/>
      </a:lt1>
      <a:dk2>
        <a:srgbClr val="CCCCCC"/>
      </a:dk2>
      <a:lt2>
        <a:srgbClr val="999999"/>
      </a:lt2>
      <a:accent1>
        <a:srgbClr val="004DA0"/>
      </a:accent1>
      <a:accent2>
        <a:srgbClr val="00A6EB"/>
      </a:accent2>
      <a:accent3>
        <a:srgbClr val="F49D00"/>
      </a:accent3>
      <a:accent4>
        <a:srgbClr val="B70064"/>
      </a:accent4>
      <a:accent5>
        <a:srgbClr val="7EB61C"/>
      </a:accent5>
      <a:accent6>
        <a:srgbClr val="C49F64"/>
      </a:accent6>
      <a:hlink>
        <a:srgbClr val="000000"/>
      </a:hlink>
      <a:folHlink>
        <a:srgbClr val="000000"/>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objectDefaults>
  <a:extraClrSchemeLst/>
  <a:custClrLst>
    <a:custClr name="Brand Color 1">
      <a:srgbClr val="004DA0"/>
    </a:custClr>
    <a:custClr name="Brand Color 2">
      <a:srgbClr val="00A6EB"/>
    </a:custClr>
    <a:custClr name="Design Color 1">
      <a:srgbClr val="F49D00"/>
    </a:custClr>
    <a:custClr name="Design Color 2">
      <a:srgbClr val="B70064"/>
    </a:custClr>
    <a:custClr name="Design Color 3">
      <a:srgbClr val="7EB61C"/>
    </a:custClr>
    <a:custClr name="Design Color 4">
      <a:srgbClr val="C49F64"/>
    </a:custClr>
    <a:custClr name="Design Color 5">
      <a:srgbClr val="6B1D7C"/>
    </a:custClr>
    <a:custClr name="Design Color 6">
      <a:srgbClr val="007C96"/>
    </a:custClr>
    <a:custClr name="Function Color 1">
      <a:srgbClr val="999999"/>
    </a:custClr>
    <a:custClr name="Function Color 2">
      <a:srgbClr val="CCCCCC"/>
    </a:custClr>
    <a:custClr name="Brand Color 1 (20%)">
      <a:srgbClr val="CCDBEC"/>
    </a:custClr>
    <a:custClr name="Brand Color 2 (20%)">
      <a:srgbClr val="CCEDFB"/>
    </a:custClr>
    <a:custClr name="Design Color 1 (20%)">
      <a:srgbClr val="FDEBCC"/>
    </a:custClr>
    <a:custClr name="Design Color 2 (20%)">
      <a:srgbClr val="F1CCE0"/>
    </a:custClr>
    <a:custClr name="Design Color 3 (20%)">
      <a:srgbClr val="E5F0D2"/>
    </a:custClr>
    <a:custClr name="Design Color 4 (20%)">
      <a:srgbClr val="F3ECE0"/>
    </a:custClr>
    <a:custClr name="Design Color 5 (20%)">
      <a:srgbClr val="E1D2E5"/>
    </a:custClr>
    <a:custClr name="Design Color 6 (20%)">
      <a:srgbClr val="CCE5EA"/>
    </a:custClr>
    <a:custClr name="Function Color 1 (20%)">
      <a:srgbClr val="EBEBEB"/>
    </a:custClr>
    <a:custClr name="Function Color 2 (20%)">
      <a:srgbClr val="F5F5F5"/>
    </a:custClr>
  </a:custClrLst>
  <a:extLst>
    <a:ext uri="{05A4C25C-085E-4340-85A3-A5531E510DB2}">
      <thm15:themeFamily xmlns:thm15="http://schemas.microsoft.com/office/thememl/2012/main" name="BYK-Company-Presentation-2019-DE.pptx.potx" id="{6CF66CE3-DACF-46E7-BC9D-598429124819}" vid="{FE4CE820-58EC-4F26-B9F6-396110E03460}"/>
    </a:ext>
  </a:extLst>
</a:theme>
</file>

<file path=ppt/theme/theme2.xml><?xml version="1.0" encoding="utf-8"?>
<a:theme xmlns:a="http://schemas.openxmlformats.org/drawingml/2006/main" name="Larissa">
  <a:themeElements>
    <a:clrScheme name="Altana PPT 2012-07-08">
      <a:dk1>
        <a:srgbClr val="000000"/>
      </a:dk1>
      <a:lt1>
        <a:srgbClr val="FFFFFF"/>
      </a:lt1>
      <a:dk2>
        <a:srgbClr val="CCCCCC"/>
      </a:dk2>
      <a:lt2>
        <a:srgbClr val="999999"/>
      </a:lt2>
      <a:accent1>
        <a:srgbClr val="004DA0"/>
      </a:accent1>
      <a:accent2>
        <a:srgbClr val="00A6EB"/>
      </a:accent2>
      <a:accent3>
        <a:srgbClr val="6B1D7C"/>
      </a:accent3>
      <a:accent4>
        <a:srgbClr val="B70064"/>
      </a:accent4>
      <a:accent5>
        <a:srgbClr val="007C96"/>
      </a:accent5>
      <a:accent6>
        <a:srgbClr val="7EB61C"/>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Altana PPT 2012-07-08">
      <a:dk1>
        <a:srgbClr val="000000"/>
      </a:dk1>
      <a:lt1>
        <a:srgbClr val="FFFFFF"/>
      </a:lt1>
      <a:dk2>
        <a:srgbClr val="CCCCCC"/>
      </a:dk2>
      <a:lt2>
        <a:srgbClr val="999999"/>
      </a:lt2>
      <a:accent1>
        <a:srgbClr val="004DA0"/>
      </a:accent1>
      <a:accent2>
        <a:srgbClr val="00A6EB"/>
      </a:accent2>
      <a:accent3>
        <a:srgbClr val="6B1D7C"/>
      </a:accent3>
      <a:accent4>
        <a:srgbClr val="B70064"/>
      </a:accent4>
      <a:accent5>
        <a:srgbClr val="007C96"/>
      </a:accent5>
      <a:accent6>
        <a:srgbClr val="7EB61C"/>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LTANA Colours">
    <a:dk1>
      <a:srgbClr val="000000"/>
    </a:dk1>
    <a:lt1>
      <a:srgbClr val="FFFFFF"/>
    </a:lt1>
    <a:dk2>
      <a:srgbClr val="CCCCCC"/>
    </a:dk2>
    <a:lt2>
      <a:srgbClr val="999999"/>
    </a:lt2>
    <a:accent1>
      <a:srgbClr val="004DA0"/>
    </a:accent1>
    <a:accent2>
      <a:srgbClr val="00A6EB"/>
    </a:accent2>
    <a:accent3>
      <a:srgbClr val="F49D00"/>
    </a:accent3>
    <a:accent4>
      <a:srgbClr val="B70064"/>
    </a:accent4>
    <a:accent5>
      <a:srgbClr val="7EB61C"/>
    </a:accent5>
    <a:accent6>
      <a:srgbClr val="C49F64"/>
    </a:accent6>
    <a:hlink>
      <a:srgbClr val="00A6EB"/>
    </a:hlink>
    <a:folHlink>
      <a:srgbClr val="6B1D7C"/>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024e1bdf-2a7e-4036-bad9-d23023b7075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0433A701F5D954996E527210120F624" ma:contentTypeVersion="13" ma:contentTypeDescription="Create a new document." ma:contentTypeScope="" ma:versionID="f34e42983a42f1ce634a012a09566a6f">
  <xsd:schema xmlns:xsd="http://www.w3.org/2001/XMLSchema" xmlns:xs="http://www.w3.org/2001/XMLSchema" xmlns:p="http://schemas.microsoft.com/office/2006/metadata/properties" xmlns:ns3="024e1bdf-2a7e-4036-bad9-d23023b70753" xmlns:ns4="9d80a741-1b1f-43ad-ad20-0837ecbacf36" targetNamespace="http://schemas.microsoft.com/office/2006/metadata/properties" ma:root="true" ma:fieldsID="eba5ba09e6a8fea3506c4974f77ca2d3" ns3:_="" ns4:_="">
    <xsd:import namespace="024e1bdf-2a7e-4036-bad9-d23023b70753"/>
    <xsd:import namespace="9d80a741-1b1f-43ad-ad20-0837ecbacf3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_activity" minOccurs="0"/>
                <xsd:element ref="ns3:MediaServiceObjectDetectorVersions" minOccurs="0"/>
                <xsd:element ref="ns3:MediaServiceDateTaken" minOccurs="0"/>
                <xsd:element ref="ns3:MediaServiceSystemTags" minOccurs="0"/>
                <xsd:element ref="ns3:MediaServiceGenerationTime" minOccurs="0"/>
                <xsd:element ref="ns3:MediaServiceEventHashCode" minOccurs="0"/>
                <xsd:element ref="ns3:MediaLengthInSecond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4e1bdf-2a7e-4036-bad9-d23023b707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activity" ma:index="13" nillable="true" ma:displayName="_activity" ma:hidden="true" ma:internalName="_activity">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SystemTags" ma:index="16" nillable="true" ma:displayName="MediaServiceSystemTags" ma:hidden="true" ma:internalName="MediaServiceSystemTags" ma:readOnly="true">
      <xsd:simpleType>
        <xsd:restriction base="dms:Note"/>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d80a741-1b1f-43ad-ad20-0837ecbacf3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FFDAD2-1721-40CB-B763-7EF7AF35CEC6}">
  <ds:schemaRefs>
    <ds:schemaRef ds:uri="http://schemas.microsoft.com/office/infopath/2007/PartnerControls"/>
    <ds:schemaRef ds:uri="http://purl.org/dc/elements/1.1/"/>
    <ds:schemaRef ds:uri="http://schemas.microsoft.com/office/2006/metadata/properties"/>
    <ds:schemaRef ds:uri="024e1bdf-2a7e-4036-bad9-d23023b70753"/>
    <ds:schemaRef ds:uri="http://purl.org/dc/terms/"/>
    <ds:schemaRef ds:uri="http://schemas.openxmlformats.org/package/2006/metadata/core-properties"/>
    <ds:schemaRef ds:uri="http://schemas.microsoft.com/office/2006/documentManagement/types"/>
    <ds:schemaRef ds:uri="9d80a741-1b1f-43ad-ad20-0837ecbacf36"/>
    <ds:schemaRef ds:uri="http://www.w3.org/XML/1998/namespace"/>
    <ds:schemaRef ds:uri="http://purl.org/dc/dcmitype/"/>
  </ds:schemaRefs>
</ds:datastoreItem>
</file>

<file path=customXml/itemProps2.xml><?xml version="1.0" encoding="utf-8"?>
<ds:datastoreItem xmlns:ds="http://schemas.openxmlformats.org/officeDocument/2006/customXml" ds:itemID="{4DED891A-D9DB-4BA3-A831-C98B69AA00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4e1bdf-2a7e-4036-bad9-d23023b70753"/>
    <ds:schemaRef ds:uri="9d80a741-1b1f-43ad-ad20-0837ecbacf3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E7ACF50-64C9-4493-8ED5-07674BC962A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027</Words>
  <Application>Microsoft Office PowerPoint</Application>
  <PresentationFormat>Widescreen</PresentationFormat>
  <Paragraphs>1042</Paragraphs>
  <Slides>35</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2" baseType="lpstr">
      <vt:lpstr>Arial</vt:lpstr>
      <vt:lpstr>Arial Black</vt:lpstr>
      <vt:lpstr>Calibri</vt:lpstr>
      <vt:lpstr>Wingdings</vt:lpstr>
      <vt:lpstr>ヒラギノ角ゴ Pro W3</vt:lpstr>
      <vt:lpstr>ALTANA</vt:lpstr>
      <vt:lpstr>think-cell Folie</vt:lpstr>
      <vt:lpstr>PowerPoint Presentation</vt:lpstr>
      <vt:lpstr>Table of Contents</vt:lpstr>
      <vt:lpstr>The Transition  </vt:lpstr>
      <vt:lpstr>Regulatory Pressures and PFAS Concerns</vt:lpstr>
      <vt:lpstr>California </vt:lpstr>
      <vt:lpstr>BYK will stops supplying PFAS-containing additives by end of 2025</vt:lpstr>
      <vt:lpstr>Functional Role of PTFE in Powder Coatings </vt:lpstr>
      <vt:lpstr>Our current PTFE-free solutions Slip/Scratch Additive and Modified PE/WAX</vt:lpstr>
      <vt:lpstr>PTFE-Free Alternatives – Race to the Finish </vt:lpstr>
      <vt:lpstr>Experience of other PTFE-free solutions in the market Who will be the 1st to offer a good match?</vt:lpstr>
      <vt:lpstr>PTFE-free Solutions in the Market    </vt:lpstr>
      <vt:lpstr>Formulation Strategies for PTFE-Free Powder Coatings </vt:lpstr>
      <vt:lpstr>PTFE-Free Replacement in PE-Epoxy Hybrid </vt:lpstr>
      <vt:lpstr>Case Study Part – 1  A complete look into PTFE- free options</vt:lpstr>
      <vt:lpstr>Formulation Case Study I – Texture Effects </vt:lpstr>
      <vt:lpstr>Textures</vt:lpstr>
      <vt:lpstr>Gloss &amp; DFT</vt:lpstr>
      <vt:lpstr>Flexibility – 1/8th Inch conical Mandrel bend test</vt:lpstr>
      <vt:lpstr>Scratch Mar Evaluation – ERICHSEN Scratch Tester – 14 newtons</vt:lpstr>
      <vt:lpstr>Case Study 1 on PTFE-Fee Additives – Pellet flow test</vt:lpstr>
      <vt:lpstr>Case Study Summary on Texture Effects</vt:lpstr>
      <vt:lpstr>PowerPoint Presentation</vt:lpstr>
      <vt:lpstr>Salt Spray PTFE vs PTFE-free additives in PRIMID Powder Coatings</vt:lpstr>
      <vt:lpstr>Salt Spray B-117 – 376 hours</vt:lpstr>
      <vt:lpstr>Salt Spray B-117 – 376 hours</vt:lpstr>
      <vt:lpstr>Case Study II - Abrasion and Scratch Evaluation</vt:lpstr>
      <vt:lpstr>Formulation</vt:lpstr>
      <vt:lpstr>Coefficient of friction data - ASTM D 1894 &amp; ASTM C 1028   </vt:lpstr>
      <vt:lpstr>Scratch Performance – ASTM D 3363 / Gloss 60º - ASTM D 523 </vt:lpstr>
      <vt:lpstr>Summary &amp; Conclusion Case Study II</vt:lpstr>
      <vt:lpstr>Summary of PTFE-free solutions in Powder Coatings </vt:lpstr>
      <vt:lpstr>PowerPoint Presentation</vt:lpstr>
      <vt:lpstr>PowerPoint Presentation</vt:lpstr>
      <vt:lpstr>PowerPoint Presentation</vt:lpstr>
      <vt:lpstr>Disclaimer</vt:lpstr>
    </vt:vector>
  </TitlesOfParts>
  <Company>ALTANA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ing Customer Value</dc:title>
  <dc:creator>ALTANA AG</dc:creator>
  <cp:lastModifiedBy>Forcha, Derick</cp:lastModifiedBy>
  <cp:revision>629</cp:revision>
  <cp:lastPrinted>2024-07-18T14:02:07Z</cp:lastPrinted>
  <dcterms:created xsi:type="dcterms:W3CDTF">2007-04-16T09:22:58Z</dcterms:created>
  <dcterms:modified xsi:type="dcterms:W3CDTF">2025-08-29T19:5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433A701F5D954996E527210120F624</vt:lpwstr>
  </property>
</Properties>
</file>